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11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2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13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17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notesSlides/notesSlide21.xml" ContentType="application/vnd.openxmlformats-officedocument.presentationml.notesSlid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notesSlides/notesSlide25.xml" ContentType="application/vnd.openxmlformats-officedocument.presentationml.notesSlid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notesSlides/notesSlide26.xml" ContentType="application/vnd.openxmlformats-officedocument.presentationml.notesSlid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notesSlides/notesSlide30.xml" ContentType="application/vnd.openxmlformats-officedocument.presentationml.notesSlid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notesSlides/notesSlide31.xml" ContentType="application/vnd.openxmlformats-officedocument.presentationml.notesSlid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notesSlides/notesSlide36.xml" ContentType="application/vnd.openxmlformats-officedocument.presentationml.notesSlide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notesSlides/notesSlide37.xml" ContentType="application/vnd.openxmlformats-officedocument.presentationml.notesSlide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notesSlides/notesSlide38.xml" ContentType="application/vnd.openxmlformats-officedocument.presentationml.notesSlide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76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charts/chart77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78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rts/chart79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80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charts/chart81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notesSlides/notesSlide42.xml" ContentType="application/vnd.openxmlformats-officedocument.presentationml.notesSlide+xml"/>
  <Override PartName="/ppt/charts/chart82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charts/chart83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84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charts/chart85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86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charts/chart87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8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charts/chart8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9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charts/chart91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92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charts/chart93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notesSlides/notesSlide48.xml" ContentType="application/vnd.openxmlformats-officedocument.presentationml.notesSlide+xml"/>
  <Override PartName="/ppt/charts/chart94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charts/chart95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96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notesSlides/notesSlide49.xml" ContentType="application/vnd.openxmlformats-officedocument.presentationml.notesSlide+xml"/>
  <Override PartName="/ppt/charts/chart97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98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charts/chart99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charts/chart100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charts/chart101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charts/chart102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notesSlides/notesSlide53.xml" ContentType="application/vnd.openxmlformats-officedocument.presentationml.notesSlide+xml"/>
  <Override PartName="/ppt/charts/chart103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104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charts/chart105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notesSlides/notesSlide5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6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6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06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charts/chart107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108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charts/chart109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charts/chart110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charts/chart111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4"/>
  </p:sldMasterIdLst>
  <p:notesMasterIdLst>
    <p:notesMasterId r:id="rId114"/>
  </p:notesMasterIdLst>
  <p:handoutMasterIdLst>
    <p:handoutMasterId r:id="rId115"/>
  </p:handoutMasterIdLst>
  <p:sldIdLst>
    <p:sldId id="292" r:id="rId5"/>
    <p:sldId id="9397" r:id="rId6"/>
    <p:sldId id="2134808558" r:id="rId7"/>
    <p:sldId id="2134808559" r:id="rId8"/>
    <p:sldId id="2134808560" r:id="rId9"/>
    <p:sldId id="2134808561" r:id="rId10"/>
    <p:sldId id="2134808562" r:id="rId11"/>
    <p:sldId id="2134808563" r:id="rId12"/>
    <p:sldId id="2134808613" r:id="rId13"/>
    <p:sldId id="2134808496" r:id="rId14"/>
    <p:sldId id="2134808614" r:id="rId15"/>
    <p:sldId id="2134808530" r:id="rId16"/>
    <p:sldId id="2134808512" r:id="rId17"/>
    <p:sldId id="2134808513" r:id="rId18"/>
    <p:sldId id="2134808459" r:id="rId19"/>
    <p:sldId id="2134808461" r:id="rId20"/>
    <p:sldId id="2134808462" r:id="rId21"/>
    <p:sldId id="2134808463" r:id="rId22"/>
    <p:sldId id="2134808615" r:id="rId23"/>
    <p:sldId id="2134808531" r:id="rId24"/>
    <p:sldId id="2134808517" r:id="rId25"/>
    <p:sldId id="2134808472" r:id="rId26"/>
    <p:sldId id="2134808474" r:id="rId27"/>
    <p:sldId id="2134808475" r:id="rId28"/>
    <p:sldId id="2134808476" r:id="rId29"/>
    <p:sldId id="2134808477" r:id="rId30"/>
    <p:sldId id="2134808616" r:id="rId31"/>
    <p:sldId id="2134808533" r:id="rId32"/>
    <p:sldId id="2134808515" r:id="rId33"/>
    <p:sldId id="2134808522" r:id="rId34"/>
    <p:sldId id="2134808465" r:id="rId35"/>
    <p:sldId id="2134808466" r:id="rId36"/>
    <p:sldId id="2134808617" r:id="rId37"/>
    <p:sldId id="2134808534" r:id="rId38"/>
    <p:sldId id="2134808516" r:id="rId39"/>
    <p:sldId id="2134808528" r:id="rId40"/>
    <p:sldId id="2134808470" r:id="rId41"/>
    <p:sldId id="2134808471" r:id="rId42"/>
    <p:sldId id="2134808618" r:id="rId43"/>
    <p:sldId id="2134808535" r:id="rId44"/>
    <p:sldId id="2134808518" r:id="rId45"/>
    <p:sldId id="2134808473" r:id="rId46"/>
    <p:sldId id="2134808479" r:id="rId47"/>
    <p:sldId id="2134808480" r:id="rId48"/>
    <p:sldId id="2134808481" r:id="rId49"/>
    <p:sldId id="2134808619" r:id="rId50"/>
    <p:sldId id="2134808590" r:id="rId51"/>
    <p:sldId id="2134808564" r:id="rId52"/>
    <p:sldId id="2134808565" r:id="rId53"/>
    <p:sldId id="2134808492" r:id="rId54"/>
    <p:sldId id="2134808493" r:id="rId55"/>
    <p:sldId id="2134808494" r:id="rId56"/>
    <p:sldId id="2134808620" r:id="rId57"/>
    <p:sldId id="2134808569" r:id="rId58"/>
    <p:sldId id="2134808567" r:id="rId59"/>
    <p:sldId id="2134808568" r:id="rId60"/>
    <p:sldId id="2134808591" r:id="rId61"/>
    <p:sldId id="2134808592" r:id="rId62"/>
    <p:sldId id="2134808593" r:id="rId63"/>
    <p:sldId id="2134808594" r:id="rId64"/>
    <p:sldId id="2134808621" r:id="rId65"/>
    <p:sldId id="2134808572" r:id="rId66"/>
    <p:sldId id="2134808570" r:id="rId67"/>
    <p:sldId id="2134808571" r:id="rId68"/>
    <p:sldId id="2134808595" r:id="rId69"/>
    <p:sldId id="2134808596" r:id="rId70"/>
    <p:sldId id="2134808622" r:id="rId71"/>
    <p:sldId id="2134808588" r:id="rId72"/>
    <p:sldId id="2134808584" r:id="rId73"/>
    <p:sldId id="2134808608" r:id="rId74"/>
    <p:sldId id="2134808623" r:id="rId75"/>
    <p:sldId id="2134808599" r:id="rId76"/>
    <p:sldId id="2134808597" r:id="rId77"/>
    <p:sldId id="2134808609" r:id="rId78"/>
    <p:sldId id="2134808600" r:id="rId79"/>
    <p:sldId id="2134808601" r:id="rId80"/>
    <p:sldId id="2134808602" r:id="rId81"/>
    <p:sldId id="2134808624" r:id="rId82"/>
    <p:sldId id="2134808604" r:id="rId83"/>
    <p:sldId id="2134808577" r:id="rId84"/>
    <p:sldId id="2134808578" r:id="rId85"/>
    <p:sldId id="2134808605" r:id="rId86"/>
    <p:sldId id="2134808606" r:id="rId87"/>
    <p:sldId id="2134808468" r:id="rId88"/>
    <p:sldId id="2134808579" r:id="rId89"/>
    <p:sldId id="2134808603" r:id="rId90"/>
    <p:sldId id="2134808580" r:id="rId91"/>
    <p:sldId id="2134808587" r:id="rId92"/>
    <p:sldId id="2134808589" r:id="rId93"/>
    <p:sldId id="2134808582" r:id="rId94"/>
    <p:sldId id="2134808610" r:id="rId95"/>
    <p:sldId id="2134808611" r:id="rId96"/>
    <p:sldId id="2134808612" r:id="rId97"/>
    <p:sldId id="2134808557" r:id="rId98"/>
    <p:sldId id="2134808573" r:id="rId99"/>
    <p:sldId id="2134808574" r:id="rId100"/>
    <p:sldId id="2134808575" r:id="rId101"/>
    <p:sldId id="2134808576" r:id="rId102"/>
    <p:sldId id="2134808490" r:id="rId103"/>
    <p:sldId id="2134808511" r:id="rId104"/>
    <p:sldId id="2134808460" r:id="rId105"/>
    <p:sldId id="498" r:id="rId106"/>
    <p:sldId id="2134808491" r:id="rId107"/>
    <p:sldId id="2134808478" r:id="rId108"/>
    <p:sldId id="2134808464" r:id="rId109"/>
    <p:sldId id="2134808469" r:id="rId110"/>
    <p:sldId id="2134808529" r:id="rId111"/>
    <p:sldId id="2134808482" r:id="rId112"/>
    <p:sldId id="2134808488" r:id="rId113"/>
  </p:sldIdLst>
  <p:sldSz cx="9906000" cy="6858000" type="A4"/>
  <p:notesSz cx="6797675" cy="9872663"/>
  <p:custDataLst>
    <p:tags r:id="rId1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F4FB"/>
    <a:srgbClr val="7213EA"/>
    <a:srgbClr val="F2F2F2"/>
    <a:srgbClr val="1E49E2"/>
    <a:srgbClr val="7F7F7F"/>
    <a:srgbClr val="FFCCCC"/>
    <a:srgbClr val="009CFF"/>
    <a:srgbClr val="2272FF"/>
    <a:srgbClr val="404040"/>
    <a:srgbClr val="C8D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971AB6-F910-4DE5-A004-BA70A54E7E64}" v="3" dt="2023-10-24T04:32:36.578"/>
    <p1510:client id="{B3B4C0D7-F6F2-4F12-BB5F-663F77E65B34}" v="4" dt="2023-10-24T07:44:28.2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117" Type="http://schemas.openxmlformats.org/officeDocument/2006/relationships/presProps" Target="presProps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18" Type="http://schemas.openxmlformats.org/officeDocument/2006/relationships/viewProps" Target="viewProps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notesMaster" Target="notesMasters/notesMaster1.xml"/><Relationship Id="rId119" Type="http://schemas.openxmlformats.org/officeDocument/2006/relationships/theme" Target="theme/theme1.xml"/><Relationship Id="rId44" Type="http://schemas.openxmlformats.org/officeDocument/2006/relationships/slide" Target="slides/slide40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tableStyles" Target="tableStyle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handoutMaster" Target="handoutMasters/handoutMaster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, Seung-Suk (KR/Deal Adv1)" userId="8b4a2bdd-5e82-4178-838e-5b67af7f1bb6" providerId="ADAL" clId="{B3B4C0D7-F6F2-4F12-BB5F-663F77E65B34}"/>
    <pc:docChg chg="modSld">
      <pc:chgData name="Ko, Seung-Suk (KR/Deal Adv1)" userId="8b4a2bdd-5e82-4178-838e-5b67af7f1bb6" providerId="ADAL" clId="{B3B4C0D7-F6F2-4F12-BB5F-663F77E65B34}" dt="2023-10-24T07:35:14.738" v="3" actId="27918"/>
      <pc:docMkLst>
        <pc:docMk/>
      </pc:docMkLst>
      <pc:sldChg chg="mod">
        <pc:chgData name="Ko, Seung-Suk (KR/Deal Adv1)" userId="8b4a2bdd-5e82-4178-838e-5b67af7f1bb6" providerId="ADAL" clId="{B3B4C0D7-F6F2-4F12-BB5F-663F77E65B34}" dt="2023-10-24T07:35:14.738" v="3" actId="27918"/>
        <pc:sldMkLst>
          <pc:docMk/>
          <pc:sldMk cId="4200979221" sldId="2134808470"/>
        </pc:sldMkLst>
      </pc:sldChg>
    </pc:docChg>
  </pc:docChgLst>
  <pc:docChgLst>
    <pc:chgData name="Jung, Sang-Jee (KR/Deal Adv1)" userId="c925635e-544b-4309-8409-1400987e2ebe" providerId="ADAL" clId="{8C971AB6-F910-4DE5-A004-BA70A54E7E64}"/>
    <pc:docChg chg="modSld">
      <pc:chgData name="Jung, Sang-Jee (KR/Deal Adv1)" userId="c925635e-544b-4309-8409-1400987e2ebe" providerId="ADAL" clId="{8C971AB6-F910-4DE5-A004-BA70A54E7E64}" dt="2023-10-24T04:32:36.578" v="2" actId="14100"/>
      <pc:docMkLst>
        <pc:docMk/>
      </pc:docMkLst>
      <pc:sldChg chg="modSp mod">
        <pc:chgData name="Jung, Sang-Jee (KR/Deal Adv1)" userId="c925635e-544b-4309-8409-1400987e2ebe" providerId="ADAL" clId="{8C971AB6-F910-4DE5-A004-BA70A54E7E64}" dt="2023-10-24T04:32:36.578" v="2" actId="14100"/>
        <pc:sldMkLst>
          <pc:docMk/>
          <pc:sldMk cId="4221251784" sldId="2134808477"/>
        </pc:sldMkLst>
        <pc:graphicFrameChg chg="mod">
          <ac:chgData name="Jung, Sang-Jee (KR/Deal Adv1)" userId="c925635e-544b-4309-8409-1400987e2ebe" providerId="ADAL" clId="{8C971AB6-F910-4DE5-A004-BA70A54E7E64}" dt="2023-10-24T04:32:36.578" v="2" actId="14100"/>
          <ac:graphicFrameMkLst>
            <pc:docMk/>
            <pc:sldMk cId="4221251784" sldId="2134808477"/>
            <ac:graphicFrameMk id="10" creationId="{2CB98E62-C4D9-D174-4236-129C20DEA089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8.xlsx"/><Relationship Id="rId2" Type="http://schemas.microsoft.com/office/2011/relationships/chartColorStyle" Target="colors100.xml"/><Relationship Id="rId1" Type="http://schemas.microsoft.com/office/2011/relationships/chartStyle" Target="style100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101.xml"/><Relationship Id="rId1" Type="http://schemas.microsoft.com/office/2011/relationships/chartStyle" Target="style101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102.xml"/><Relationship Id="rId1" Type="http://schemas.microsoft.com/office/2011/relationships/chartStyle" Target="style102.xml"/></Relationships>
</file>

<file path=ppt/charts/_rels/chart10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103.xml"/><Relationship Id="rId1" Type="http://schemas.microsoft.com/office/2011/relationships/chartStyle" Target="style103.xml"/></Relationships>
</file>

<file path=ppt/charts/_rels/chart10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2.xlsx"/><Relationship Id="rId2" Type="http://schemas.microsoft.com/office/2011/relationships/chartColorStyle" Target="colors104.xml"/><Relationship Id="rId1" Type="http://schemas.microsoft.com/office/2011/relationships/chartStyle" Target="style104.xml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3.xlsx"/><Relationship Id="rId2" Type="http://schemas.microsoft.com/office/2011/relationships/chartColorStyle" Target="colors105.xml"/><Relationship Id="rId1" Type="http://schemas.microsoft.com/office/2011/relationships/chartStyle" Target="style105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jyu24_kr_kpmg_com/Documents/&#49437;&#50976;&#54868;&#54617;%20&#47532;&#49436;&#52824;/02%20WP/&#49437;&#50976;&#54868;&#54617;_&#51104;&#51116;&#51201;&#47588;&#47932;_v2.xlsx" TargetMode="External"/><Relationship Id="rId2" Type="http://schemas.microsoft.com/office/2011/relationships/chartColorStyle" Target="colors106.xml"/><Relationship Id="rId1" Type="http://schemas.microsoft.com/office/2011/relationships/chartStyle" Target="style106.xml"/></Relationships>
</file>

<file path=ppt/charts/_rels/chart107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jyu24_kr_kpmg_com/Documents/&#49437;&#50976;&#54868;&#54617;%20&#47532;&#49436;&#52824;/02%20WP/&#49437;&#50976;&#54868;&#54617;_&#51104;&#51116;&#51201;&#47588;&#47932;_v2.xlsx" TargetMode="External"/><Relationship Id="rId2" Type="http://schemas.microsoft.com/office/2011/relationships/chartColorStyle" Target="colors107.xml"/><Relationship Id="rId1" Type="http://schemas.microsoft.com/office/2011/relationships/chartStyle" Target="style107.xml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jyu24_kr_kpmg_com/Documents/&#49437;&#50976;&#54868;&#54617;%20&#47532;&#49436;&#52824;/02%20WP/&#49437;&#50976;&#54868;&#54617;_&#51104;&#51116;&#51201;&#47588;&#47932;_v2.xlsx" TargetMode="External"/><Relationship Id="rId2" Type="http://schemas.microsoft.com/office/2011/relationships/chartColorStyle" Target="colors108.xml"/><Relationship Id="rId1" Type="http://schemas.microsoft.com/office/2011/relationships/chartStyle" Target="style108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109.xml"/><Relationship Id="rId1" Type="http://schemas.microsoft.com/office/2011/relationships/chartStyle" Target="style10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5.xlsx"/><Relationship Id="rId2" Type="http://schemas.microsoft.com/office/2011/relationships/chartColorStyle" Target="colors110.xml"/><Relationship Id="rId1" Type="http://schemas.microsoft.com/office/2011/relationships/chartStyle" Target="style110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6.xlsx"/><Relationship Id="rId2" Type="http://schemas.microsoft.com/office/2011/relationships/chartColorStyle" Target="colors111.xml"/><Relationship Id="rId1" Type="http://schemas.microsoft.com/office/2011/relationships/chartStyle" Target="style1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jehongpark_kr_kpmg_com/Documents/&#44592;&#50629;&#51665;&#45800;&#48516;&#49437;/1.%20WP/&#44277;&#49884;&#45824;&#49345;&#44592;&#50629;&#51665;&#45800;_&#51116;&#47924;&#54788;&#54889;_230821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76.xml"/><Relationship Id="rId1" Type="http://schemas.microsoft.com/office/2011/relationships/chartStyle" Target="style76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79.xml"/><Relationship Id="rId1" Type="http://schemas.microsoft.com/office/2011/relationships/chartStyle" Target="style79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8.xlsx"/><Relationship Id="rId2" Type="http://schemas.microsoft.com/office/2011/relationships/chartColorStyle" Target="colors80.xml"/><Relationship Id="rId1" Type="http://schemas.microsoft.com/office/2011/relationships/chartStyle" Target="style80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9.xlsx"/><Relationship Id="rId2" Type="http://schemas.microsoft.com/office/2011/relationships/chartColorStyle" Target="colors81.xml"/><Relationship Id="rId1" Type="http://schemas.microsoft.com/office/2011/relationships/chartStyle" Target="style81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0.xlsx"/><Relationship Id="rId2" Type="http://schemas.microsoft.com/office/2011/relationships/chartColorStyle" Target="colors82.xml"/><Relationship Id="rId1" Type="http://schemas.microsoft.com/office/2011/relationships/chartStyle" Target="style82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1.xlsx"/><Relationship Id="rId2" Type="http://schemas.microsoft.com/office/2011/relationships/chartColorStyle" Target="colors83.xml"/><Relationship Id="rId1" Type="http://schemas.microsoft.com/office/2011/relationships/chartStyle" Target="style83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2.xlsx"/><Relationship Id="rId2" Type="http://schemas.microsoft.com/office/2011/relationships/chartColorStyle" Target="colors84.xml"/><Relationship Id="rId1" Type="http://schemas.microsoft.com/office/2011/relationships/chartStyle" Target="style84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85.xml"/><Relationship Id="rId1" Type="http://schemas.microsoft.com/office/2011/relationships/chartStyle" Target="style85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86.xml"/><Relationship Id="rId1" Type="http://schemas.microsoft.com/office/2011/relationships/chartStyle" Target="style86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87.xml"/><Relationship Id="rId1" Type="http://schemas.microsoft.com/office/2011/relationships/chartStyle" Target="style87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6.xlsx"/><Relationship Id="rId2" Type="http://schemas.microsoft.com/office/2011/relationships/chartColorStyle" Target="colors88.xml"/><Relationship Id="rId1" Type="http://schemas.microsoft.com/office/2011/relationships/chartStyle" Target="style88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7.xlsx"/><Relationship Id="rId2" Type="http://schemas.microsoft.com/office/2011/relationships/chartColorStyle" Target="colors89.xml"/><Relationship Id="rId1" Type="http://schemas.microsoft.com/office/2011/relationships/chartStyle" Target="style8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9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9.xlsx"/><Relationship Id="rId2" Type="http://schemas.microsoft.com/office/2011/relationships/chartColorStyle" Target="colors91.xml"/><Relationship Id="rId1" Type="http://schemas.microsoft.com/office/2011/relationships/chartStyle" Target="style91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92.xml"/><Relationship Id="rId1" Type="http://schemas.microsoft.com/office/2011/relationships/chartStyle" Target="style92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93.xml"/><Relationship Id="rId1" Type="http://schemas.microsoft.com/office/2011/relationships/chartStyle" Target="style93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94.xml"/><Relationship Id="rId1" Type="http://schemas.microsoft.com/office/2011/relationships/chartStyle" Target="style94.xml"/></Relationships>
</file>

<file path=ppt/charts/_rels/chart9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95.xml"/><Relationship Id="rId1" Type="http://schemas.microsoft.com/office/2011/relationships/chartStyle" Target="style95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4.xlsx"/><Relationship Id="rId2" Type="http://schemas.microsoft.com/office/2011/relationships/chartColorStyle" Target="colors96.xml"/><Relationship Id="rId1" Type="http://schemas.microsoft.com/office/2011/relationships/chartStyle" Target="style96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97.xml"/><Relationship Id="rId1" Type="http://schemas.microsoft.com/office/2011/relationships/chartStyle" Target="style97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98.xml"/><Relationship Id="rId1" Type="http://schemas.microsoft.com/office/2011/relationships/chartStyle" Target="style98.xml"/></Relationships>
</file>

<file path=ppt/charts/_rels/chart9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99.xml"/><Relationship Id="rId1" Type="http://schemas.microsoft.com/office/2011/relationships/chartStyle" Target="style9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6069946269425"/>
          <c:y val="0.19683740840105324"/>
          <c:w val="0.75574888999710443"/>
          <c:h val="0.68744993999011017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91713.056120890004</c:v>
                </c:pt>
                <c:pt idx="1">
                  <c:v>137390.86278515001</c:v>
                </c:pt>
                <c:pt idx="2">
                  <c:v>162966.09822524001</c:v>
                </c:pt>
                <c:pt idx="3">
                  <c:v>68985.85948307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CF-4FA6-AAD6-DA6EB016431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067.43632531</c:v>
                </c:pt>
                <c:pt idx="1">
                  <c:v>9761.011304059999</c:v>
                </c:pt>
                <c:pt idx="2">
                  <c:v>-6080.7228020699995</c:v>
                </c:pt>
                <c:pt idx="3">
                  <c:v>-207.1859902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CF-4FA6-AAD6-DA6EB01643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5.0954964447733342E-2"/>
                  <c:y val="-8.1209242765474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CF-4FA6-AAD6-DA6EB0164316}"/>
                </c:ext>
              </c:extLst>
            </c:dLbl>
            <c:dLbl>
              <c:idx val="2"/>
              <c:layout>
                <c:manualLayout>
                  <c:x val="-5.677765355040057E-2"/>
                  <c:y val="0.207441226338750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CF-4FA6-AAD6-DA6EB0164316}"/>
                </c:ext>
              </c:extLst>
            </c:dLbl>
            <c:dLbl>
              <c:idx val="3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CF-4FA6-AAD6-DA6EB01643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2.2542442840252145E-2</c:v>
                </c:pt>
                <c:pt idx="1">
                  <c:v>7.1045563774675025E-2</c:v>
                </c:pt>
                <c:pt idx="2">
                  <c:v>-3.7312808420225309E-2</c:v>
                </c:pt>
                <c:pt idx="3">
                  <c:v>-3.003310993911963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3CF-4FA6-AAD6-DA6EB016431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5732903542357066"/>
          <c:y val="0"/>
          <c:w val="0.51194841703934879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14901.27807699</c:v>
                </c:pt>
                <c:pt idx="1">
                  <c:v>106045.74671430999</c:v>
                </c:pt>
                <c:pt idx="2">
                  <c:v>112890.88650677</c:v>
                </c:pt>
                <c:pt idx="3">
                  <c:v>105285.33073070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0584.4483896</c:v>
                </c:pt>
                <c:pt idx="1">
                  <c:v>15740.160445610001</c:v>
                </c:pt>
                <c:pt idx="2">
                  <c:v>11664.406010070001</c:v>
                </c:pt>
                <c:pt idx="3">
                  <c:v>7063.49229469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5965530729184807</c:v>
                </c:pt>
                <c:pt idx="1">
                  <c:v>1.483281079057541</c:v>
                </c:pt>
                <c:pt idx="2">
                  <c:v>1.6686306732045257</c:v>
                </c:pt>
                <c:pt idx="3">
                  <c:v>1.53596966105325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6102.6553729100006</c:v>
                </c:pt>
                <c:pt idx="1">
                  <c:v>6895.5278629499999</c:v>
                </c:pt>
                <c:pt idx="2">
                  <c:v>7796.6578562300001</c:v>
                </c:pt>
                <c:pt idx="3">
                  <c:v>10350.03331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270.6710477899996</c:v>
                </c:pt>
                <c:pt idx="1">
                  <c:v>3821.18986369</c:v>
                </c:pt>
                <c:pt idx="2">
                  <c:v>2141.5274019899998</c:v>
                </c:pt>
                <c:pt idx="3">
                  <c:v>3645.93115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2.7892374769487347</c:v>
                </c:pt>
                <c:pt idx="1">
                  <c:v>2.3002882648455771</c:v>
                </c:pt>
                <c:pt idx="2">
                  <c:v>2.3233207868170007</c:v>
                </c:pt>
                <c:pt idx="3">
                  <c:v>2.3961314627670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9.5382942619698508</c:v>
                </c:pt>
                <c:pt idx="1">
                  <c:v>9.7293839769129473</c:v>
                </c:pt>
                <c:pt idx="2">
                  <c:v>5.5203024874651492</c:v>
                </c:pt>
                <c:pt idx="3">
                  <c:v>1.9723274889721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1481.38415287</c:v>
                </c:pt>
                <c:pt idx="1">
                  <c:v>24376.799442540003</c:v>
                </c:pt>
                <c:pt idx="2">
                  <c:v>25183.589236259999</c:v>
                </c:pt>
                <c:pt idx="3">
                  <c:v>16103.27477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084.0420518800001</c:v>
                </c:pt>
                <c:pt idx="1">
                  <c:v>1918.4757040100001</c:v>
                </c:pt>
                <c:pt idx="2">
                  <c:v>1262.6450805499999</c:v>
                </c:pt>
                <c:pt idx="3">
                  <c:v>852.70764572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9.7016190253343765E-2</c:v>
                </c:pt>
                <c:pt idx="1">
                  <c:v>7.8700885591324363E-2</c:v>
                </c:pt>
                <c:pt idx="2">
                  <c:v>5.0137614170263307E-2</c:v>
                </c:pt>
                <c:pt idx="3">
                  <c:v>5.295243716341871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2794.9753285700003</c:v>
                </c:pt>
                <c:pt idx="1">
                  <c:v>2796.6945103499997</c:v>
                </c:pt>
                <c:pt idx="2">
                  <c:v>2398.2202027499998</c:v>
                </c:pt>
                <c:pt idx="3">
                  <c:v>2023.72730680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10.01692524000001</c:v>
                </c:pt>
                <c:pt idx="1">
                  <c:v>26.286225349999999</c:v>
                </c:pt>
                <c:pt idx="2">
                  <c:v>719.35347938000007</c:v>
                </c:pt>
                <c:pt idx="3">
                  <c:v>224.82171923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04730348106164</c:v>
                </c:pt>
                <c:pt idx="1">
                  <c:v>1.0123146733104824</c:v>
                </c:pt>
                <c:pt idx="2">
                  <c:v>0.73232927509775292</c:v>
                </c:pt>
                <c:pt idx="3">
                  <c:v>0.634977165305812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7.6404106896797446</c:v>
                </c:pt>
                <c:pt idx="1">
                  <c:v>26.232455898578753</c:v>
                </c:pt>
                <c:pt idx="2">
                  <c:v>20.012194511144141</c:v>
                </c:pt>
                <c:pt idx="3">
                  <c:v>3.20327612049400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7568.4175076499996</c:v>
                </c:pt>
                <c:pt idx="1">
                  <c:v>9098.4056812500003</c:v>
                </c:pt>
                <c:pt idx="2">
                  <c:v>10126.38772139</c:v>
                </c:pt>
                <c:pt idx="3">
                  <c:v>4238.9929975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503.58561542000001</c:v>
                </c:pt>
                <c:pt idx="1">
                  <c:v>1407.59732082</c:v>
                </c:pt>
                <c:pt idx="2">
                  <c:v>1433.4842365800002</c:v>
                </c:pt>
                <c:pt idx="3">
                  <c:v>107.03221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6.6537768947205422E-2</c:v>
                </c:pt>
                <c:pt idx="1">
                  <c:v>0.15470812910890283</c:v>
                </c:pt>
                <c:pt idx="2">
                  <c:v>0.14155928807190021</c:v>
                </c:pt>
                <c:pt idx="3">
                  <c:v>2.52494427219781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PT!$M$109</c:f>
              <c:strCache>
                <c:ptCount val="1"/>
                <c:pt idx="0">
                  <c:v>CAPA 증설(좌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PT!$N$108:$T$108</c:f>
              <c:strCach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  <c:pt idx="6">
                  <c:v>2025E</c:v>
                </c:pt>
              </c:strCache>
            </c:strRef>
          </c:cat>
          <c:val>
            <c:numRef>
              <c:f>PPT!$N$109:$T$109</c:f>
              <c:numCache>
                <c:formatCode>#,##0.0;[Red]\(#,##0.0\);"-"</c:formatCode>
                <c:ptCount val="7"/>
                <c:pt idx="0">
                  <c:v>5.4</c:v>
                </c:pt>
                <c:pt idx="1">
                  <c:v>11.4</c:v>
                </c:pt>
                <c:pt idx="2">
                  <c:v>11.2</c:v>
                </c:pt>
                <c:pt idx="3">
                  <c:v>10.3</c:v>
                </c:pt>
                <c:pt idx="4">
                  <c:v>11</c:v>
                </c:pt>
                <c:pt idx="5">
                  <c:v>4.2</c:v>
                </c:pt>
                <c:pt idx="6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CE-429C-9452-AEC00B58551F}"/>
            </c:ext>
          </c:extLst>
        </c:ser>
        <c:ser>
          <c:idx val="1"/>
          <c:order val="1"/>
          <c:tx>
            <c:strRef>
              <c:f>PPT!$M$110</c:f>
              <c:strCache>
                <c:ptCount val="1"/>
                <c:pt idx="0">
                  <c:v>수요증가(좌)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PPT!$N$108:$T$108</c:f>
              <c:strCach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  <c:pt idx="6">
                  <c:v>2025E</c:v>
                </c:pt>
              </c:strCache>
            </c:strRef>
          </c:cat>
          <c:val>
            <c:numRef>
              <c:f>PPT!$N$110:$T$110</c:f>
              <c:numCache>
                <c:formatCode>#,##0.0;[Red]\(#,##0.0\);"-"</c:formatCode>
                <c:ptCount val="7"/>
                <c:pt idx="0">
                  <c:v>3.8</c:v>
                </c:pt>
                <c:pt idx="1">
                  <c:v>6.1</c:v>
                </c:pt>
                <c:pt idx="2">
                  <c:v>8.6999999999999993</c:v>
                </c:pt>
                <c:pt idx="3">
                  <c:v>3.9</c:v>
                </c:pt>
                <c:pt idx="4">
                  <c:v>5</c:v>
                </c:pt>
                <c:pt idx="5">
                  <c:v>6.1</c:v>
                </c:pt>
                <c:pt idx="6">
                  <c:v>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CE-429C-9452-AEC00B585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141544112"/>
        <c:axId val="2141555344"/>
      </c:barChart>
      <c:lineChart>
        <c:grouping val="standard"/>
        <c:varyColors val="0"/>
        <c:ser>
          <c:idx val="2"/>
          <c:order val="2"/>
          <c:tx>
            <c:strRef>
              <c:f>PPT!$M$111</c:f>
              <c:strCache>
                <c:ptCount val="1"/>
                <c:pt idx="0">
                  <c:v>가동률(우)</c:v>
                </c:pt>
              </c:strCache>
            </c:strRef>
          </c:tx>
          <c:spPr>
            <a:ln w="9525" cap="rnd">
              <a:solidFill>
                <a:srgbClr val="00C0AE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rgbClr val="00C0AE"/>
                </a:solidFill>
              </a:ln>
              <a:effectLst/>
            </c:spPr>
          </c:marker>
          <c:cat>
            <c:strRef>
              <c:f>PPT!$N$108:$T$108</c:f>
              <c:strCach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  <c:pt idx="6">
                  <c:v>2025E</c:v>
                </c:pt>
              </c:strCache>
            </c:strRef>
          </c:cat>
          <c:val>
            <c:numRef>
              <c:f>PPT!$N$111:$T$111</c:f>
              <c:numCache>
                <c:formatCode>General</c:formatCode>
                <c:ptCount val="7"/>
                <c:pt idx="0">
                  <c:v>0.89500000000000002</c:v>
                </c:pt>
                <c:pt idx="1">
                  <c:v>0.87599999999999989</c:v>
                </c:pt>
                <c:pt idx="2">
                  <c:v>0.86799999999999999</c:v>
                </c:pt>
                <c:pt idx="3">
                  <c:v>0.84</c:v>
                </c:pt>
                <c:pt idx="4">
                  <c:v>0.82200000000000006</c:v>
                </c:pt>
                <c:pt idx="5">
                  <c:v>0.83799999999999997</c:v>
                </c:pt>
                <c:pt idx="6">
                  <c:v>0.857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CE-429C-9452-AEC00B585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6420720"/>
        <c:axId val="1126417808"/>
      </c:lineChart>
      <c:catAx>
        <c:axId val="2141544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2141555344"/>
        <c:crosses val="autoZero"/>
        <c:auto val="1"/>
        <c:lblAlgn val="ctr"/>
        <c:lblOffset val="100"/>
        <c:noMultiLvlLbl val="0"/>
      </c:catAx>
      <c:valAx>
        <c:axId val="2141555344"/>
        <c:scaling>
          <c:orientation val="minMax"/>
        </c:scaling>
        <c:delete val="0"/>
        <c:axPos val="l"/>
        <c:numFmt formatCode="#,##0.0;[Red]\(#,##0.0\);&quot;-&quot;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2141544112"/>
        <c:crosses val="autoZero"/>
        <c:crossBetween val="between"/>
      </c:valAx>
      <c:valAx>
        <c:axId val="1126417808"/>
        <c:scaling>
          <c:orientation val="minMax"/>
          <c:min val="0.8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1126420720"/>
        <c:crosses val="max"/>
        <c:crossBetween val="between"/>
        <c:majorUnit val="2.0000000000000004E-2"/>
      </c:valAx>
      <c:catAx>
        <c:axId val="11264207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264178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Light" panose="00000300000000000000" pitchFamily="2" charset="-127"/>
          <a:ea typeface="KoPub돋움체 Light" panose="00000300000000000000" pitchFamily="2" charset="-127"/>
        </a:defRPr>
      </a:pPr>
      <a:endParaRPr lang="ko-KR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PPT!$M$145</c:f>
              <c:strCache>
                <c:ptCount val="1"/>
                <c:pt idx="0">
                  <c:v>중국 에틸렌 CAPA(좌)</c:v>
                </c:pt>
              </c:strCache>
            </c:strRef>
          </c:tx>
          <c:spPr>
            <a:solidFill>
              <a:srgbClr val="00338D"/>
            </a:solidFill>
            <a:ln>
              <a:noFill/>
            </a:ln>
            <a:effectLst/>
          </c:spPr>
          <c:invertIfNegative val="0"/>
          <c:cat>
            <c:numRef>
              <c:f>PPT!$N$144:$R$144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PPT!$N$145:$R$145</c:f>
              <c:numCache>
                <c:formatCode>#,##0;[Red]\(#,##0\);"-"</c:formatCode>
                <c:ptCount val="5"/>
                <c:pt idx="0">
                  <c:v>27</c:v>
                </c:pt>
                <c:pt idx="1">
                  <c:v>30</c:v>
                </c:pt>
                <c:pt idx="2">
                  <c:v>38</c:v>
                </c:pt>
                <c:pt idx="3">
                  <c:v>42</c:v>
                </c:pt>
                <c:pt idx="4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5C-4D0B-A316-99632EC0AD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68818911"/>
        <c:axId val="368810591"/>
      </c:barChart>
      <c:lineChart>
        <c:grouping val="standard"/>
        <c:varyColors val="0"/>
        <c:ser>
          <c:idx val="2"/>
          <c:order val="1"/>
          <c:tx>
            <c:strRef>
              <c:f>PPT!$M$146</c:f>
              <c:strCache>
                <c:ptCount val="1"/>
                <c:pt idx="0">
                  <c:v>중국 점유율(우)</c:v>
                </c:pt>
              </c:strCache>
            </c:strRef>
          </c:tx>
          <c:spPr>
            <a:ln w="12700" cap="rnd">
              <a:solidFill>
                <a:srgbClr val="1E49E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rgbClr val="1E49E2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A5C-4D0B-A316-99632EC0AD7B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A5C-4D0B-A316-99632EC0AD7B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A5C-4D0B-A316-99632EC0AD7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PT!$N$144:$R$144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PPT!$N$146:$R$146</c:f>
              <c:numCache>
                <c:formatCode>0.0%</c:formatCode>
                <c:ptCount val="5"/>
                <c:pt idx="0">
                  <c:v>0.15</c:v>
                </c:pt>
                <c:pt idx="1">
                  <c:v>0.16800000000000001</c:v>
                </c:pt>
                <c:pt idx="2">
                  <c:v>0.19</c:v>
                </c:pt>
                <c:pt idx="3">
                  <c:v>0.20699999999999999</c:v>
                </c:pt>
                <c:pt idx="4">
                  <c:v>0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5C-4D0B-A316-99632EC0AD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3525551"/>
        <c:axId val="193514319"/>
      </c:lineChart>
      <c:catAx>
        <c:axId val="3688189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368810591"/>
        <c:crosses val="autoZero"/>
        <c:auto val="1"/>
        <c:lblAlgn val="ctr"/>
        <c:lblOffset val="100"/>
        <c:noMultiLvlLbl val="0"/>
      </c:catAx>
      <c:valAx>
        <c:axId val="368810591"/>
        <c:scaling>
          <c:orientation val="minMax"/>
        </c:scaling>
        <c:delete val="0"/>
        <c:axPos val="l"/>
        <c:numFmt formatCode="#,##0;[Red]\(#,##0\);&quot;-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368818911"/>
        <c:crosses val="autoZero"/>
        <c:crossBetween val="between"/>
      </c:valAx>
      <c:valAx>
        <c:axId val="193514319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193525551"/>
        <c:crosses val="max"/>
        <c:crossBetween val="between"/>
      </c:valAx>
      <c:catAx>
        <c:axId val="1935255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351431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Light" panose="00000300000000000000" pitchFamily="2" charset="-127"/>
          <a:ea typeface="KoPub돋움체 Light" panose="00000300000000000000" pitchFamily="2" charset="-127"/>
        </a:defRPr>
      </a:pPr>
      <a:endParaRPr lang="ko-KR"/>
    </a:p>
  </c:txPr>
  <c:externalData r:id="rId3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PPT!$D$10</c:f>
              <c:strCache>
                <c:ptCount val="1"/>
                <c:pt idx="0">
                  <c:v>LG화학</c:v>
                </c:pt>
              </c:strCache>
            </c:strRef>
          </c:tx>
          <c:spPr>
            <a:ln w="6350" cap="rnd">
              <a:solidFill>
                <a:srgbClr val="00B8F5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rgbClr val="00B8F5"/>
                </a:solidFill>
              </a:ln>
              <a:effectLst/>
            </c:spPr>
          </c:marker>
          <c:cat>
            <c:numRef>
              <c:f>PPT!$Q$7:$T$7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3</c:v>
                </c:pt>
              </c:numCache>
            </c:numRef>
          </c:cat>
          <c:val>
            <c:numRef>
              <c:f>PPT!$Q$10:$T$10</c:f>
              <c:numCache>
                <c:formatCode>0.0%;[Red]\(0.0\)%;"-"</c:formatCode>
                <c:ptCount val="4"/>
                <c:pt idx="0">
                  <c:v>0.14334765067701566</c:v>
                </c:pt>
                <c:pt idx="1">
                  <c:v>0.20229870974150221</c:v>
                </c:pt>
                <c:pt idx="2">
                  <c:v>5.0800244239671652E-2</c:v>
                </c:pt>
                <c:pt idx="3">
                  <c:v>-1.148544258533588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05-4E7D-8A7E-BB2449C9EF15}"/>
            </c:ext>
          </c:extLst>
        </c:ser>
        <c:ser>
          <c:idx val="4"/>
          <c:order val="1"/>
          <c:tx>
            <c:strRef>
              <c:f>PPT!$D$13</c:f>
              <c:strCache>
                <c:ptCount val="1"/>
                <c:pt idx="0">
                  <c:v>롯데케미칼</c:v>
                </c:pt>
              </c:strCache>
            </c:strRef>
          </c:tx>
          <c:spPr>
            <a:ln w="6350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chemeClr val="accent5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numRef>
              <c:f>PPT!$Q$7:$T$7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3</c:v>
                </c:pt>
              </c:numCache>
            </c:numRef>
          </c:cat>
          <c:val>
            <c:numRef>
              <c:f>PPT!$Q$13:$T$13</c:f>
              <c:numCache>
                <c:formatCode>0.0%;[Red]\(0.0\)%;"-"</c:formatCode>
                <c:ptCount val="4"/>
                <c:pt idx="0">
                  <c:v>1.8184169114577001E-2</c:v>
                </c:pt>
                <c:pt idx="1">
                  <c:v>8.8003205981729962E-2</c:v>
                </c:pt>
                <c:pt idx="2">
                  <c:v>-5.050863268959873E-2</c:v>
                </c:pt>
                <c:pt idx="3">
                  <c:v>-5.530825733819097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05-4E7D-8A7E-BB2449C9EF15}"/>
            </c:ext>
          </c:extLst>
        </c:ser>
        <c:ser>
          <c:idx val="8"/>
          <c:order val="2"/>
          <c:tx>
            <c:strRef>
              <c:f>PPT!$D$17</c:f>
              <c:strCache>
                <c:ptCount val="1"/>
                <c:pt idx="0">
                  <c:v>한화솔루션</c:v>
                </c:pt>
              </c:strCache>
            </c:strRef>
          </c:tx>
          <c:spPr>
            <a:ln w="6350" cap="rnd">
              <a:solidFill>
                <a:srgbClr val="1E49E2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rgbClr val="1E49E2"/>
                </a:solidFill>
              </a:ln>
              <a:effectLst/>
            </c:spPr>
          </c:marker>
          <c:cat>
            <c:numRef>
              <c:f>PPT!$Q$7:$T$7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3</c:v>
                </c:pt>
              </c:numCache>
            </c:numRef>
          </c:cat>
          <c:val>
            <c:numRef>
              <c:f>PPT!$Q$17:$T$17</c:f>
              <c:numCache>
                <c:formatCode>0.0%;[Red]\(0.0\)%;"-"</c:formatCode>
                <c:ptCount val="4"/>
                <c:pt idx="0">
                  <c:v>0.11459491958514956</c:v>
                </c:pt>
                <c:pt idx="1">
                  <c:v>0.19515287099179715</c:v>
                </c:pt>
                <c:pt idx="2">
                  <c:v>9.9658160157043249E-2</c:v>
                </c:pt>
                <c:pt idx="3">
                  <c:v>2.500927643784786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D05-4E7D-8A7E-BB2449C9EF15}"/>
            </c:ext>
          </c:extLst>
        </c:ser>
        <c:ser>
          <c:idx val="6"/>
          <c:order val="3"/>
          <c:tx>
            <c:strRef>
              <c:f>PPT!$D$15</c:f>
              <c:strCache>
                <c:ptCount val="1"/>
                <c:pt idx="0">
                  <c:v>금호석유화학</c:v>
                </c:pt>
              </c:strCache>
            </c:strRef>
          </c:tx>
          <c:spPr>
            <a:ln w="6350" cap="rnd">
              <a:solidFill>
                <a:srgbClr val="00338D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D05-4E7D-8A7E-BB2449C9EF15}"/>
                </c:ext>
              </c:extLst>
            </c:dLbl>
            <c:dLbl>
              <c:idx val="1"/>
              <c:layout>
                <c:manualLayout>
                  <c:x val="-0.10204315886134067"/>
                  <c:y val="-4.207013013399131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D05-4E7D-8A7E-BB2449C9EF1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D05-4E7D-8A7E-BB2449C9EF15}"/>
                </c:ext>
              </c:extLst>
            </c:dLbl>
            <c:dLbl>
              <c:idx val="3"/>
              <c:layout>
                <c:manualLayout>
                  <c:x val="-3.4986225895316803E-2"/>
                  <c:y val="-6.0767965749098603E-2"/>
                </c:manualLayout>
              </c:layout>
              <c:tx>
                <c:rich>
                  <a:bodyPr/>
                  <a:lstStyle/>
                  <a:p>
                    <a:fld id="{456FA6AC-EAF2-43D3-90C2-652BEAD0B1E1}" type="SERIESNAME">
                      <a:rPr lang="ko-KR" altLang="en-US" dirty="0"/>
                      <a:pPr/>
                      <a:t>[계열 이름]</a:t>
                    </a:fld>
                    <a:r>
                      <a:rPr lang="en-US" altLang="ko-KR" baseline="0"/>
                      <a:t>, </a:t>
                    </a:r>
                  </a:p>
                  <a:p>
                    <a:fld id="{059C5278-996E-4331-9AA3-4D68DFB2B0AC}" type="VALUE">
                      <a:rPr lang="en-US" altLang="ko-KR" baseline="0" smtClean="0"/>
                      <a:pPr/>
                      <a:t>[값]</a:t>
                    </a:fld>
                    <a:endParaRPr lang="ko-KR" altLang="en-US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4D05-4E7D-8A7E-BB2449C9E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PT!$Q$7:$T$7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3</c:v>
                </c:pt>
              </c:numCache>
            </c:numRef>
          </c:cat>
          <c:val>
            <c:numRef>
              <c:f>PPT!$Q$15:$T$15</c:f>
              <c:numCache>
                <c:formatCode>0.0%;[Red]\(0.0\)%;"-"</c:formatCode>
                <c:ptCount val="4"/>
                <c:pt idx="0">
                  <c:v>0.15431010392686528</c:v>
                </c:pt>
                <c:pt idx="1">
                  <c:v>0.28443396655645031</c:v>
                </c:pt>
                <c:pt idx="2">
                  <c:v>0.14390669773131287</c:v>
                </c:pt>
                <c:pt idx="3">
                  <c:v>7.561915507097428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D05-4E7D-8A7E-BB2449C9EF15}"/>
            </c:ext>
          </c:extLst>
        </c:ser>
        <c:ser>
          <c:idx val="0"/>
          <c:order val="4"/>
          <c:tx>
            <c:strRef>
              <c:f>PPT!$D$9</c:f>
              <c:strCache>
                <c:ptCount val="1"/>
                <c:pt idx="0">
                  <c:v>SK지오센트릭</c:v>
                </c:pt>
              </c:strCache>
            </c:strRef>
          </c:tx>
          <c:spPr>
            <a:ln w="6350" cap="rnd">
              <a:solidFill>
                <a:srgbClr val="FD349C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rgbClr val="FD349C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D05-4E7D-8A7E-BB2449C9EF1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D05-4E7D-8A7E-BB2449C9EF1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D05-4E7D-8A7E-BB2449C9EF15}"/>
                </c:ext>
              </c:extLst>
            </c:dLbl>
            <c:dLbl>
              <c:idx val="3"/>
              <c:layout>
                <c:manualLayout>
                  <c:x val="0"/>
                  <c:y val="1.4023376711330447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D05-4E7D-8A7E-BB2449C9E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PPT!$Q$9:$T$9</c:f>
              <c:numCache>
                <c:formatCode>0.0%;[Red]\(0.0\)%;"-"</c:formatCode>
                <c:ptCount val="4"/>
                <c:pt idx="0">
                  <c:v>-6.3152924838968507E-3</c:v>
                </c:pt>
                <c:pt idx="1">
                  <c:v>1.8213588351412159E-2</c:v>
                </c:pt>
                <c:pt idx="2">
                  <c:v>6.3178017811645797E-3</c:v>
                </c:pt>
                <c:pt idx="3">
                  <c:v>2.368653626586683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4D05-4E7D-8A7E-BB2449C9EF15}"/>
            </c:ext>
          </c:extLst>
        </c:ser>
        <c:ser>
          <c:idx val="2"/>
          <c:order val="5"/>
          <c:tx>
            <c:strRef>
              <c:f>PPT!$D$18</c:f>
              <c:strCache>
                <c:ptCount val="1"/>
                <c:pt idx="0">
                  <c:v>여천NCC</c:v>
                </c:pt>
              </c:strCache>
            </c:strRef>
          </c:tx>
          <c:spPr>
            <a:ln w="63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dPt>
            <c:idx val="0"/>
            <c:marker>
              <c:symbol val="circle"/>
              <c:size val="4"/>
              <c:spPr>
                <a:solidFill>
                  <a:schemeClr val="bg1"/>
                </a:solidFill>
                <a:ln w="9525">
                  <a:solidFill>
                    <a:schemeClr val="bg1">
                      <a:lumMod val="50000"/>
                    </a:schemeClr>
                  </a:solidFill>
                </a:ln>
                <a:effectLst/>
              </c:spPr>
            </c:marker>
            <c:bubble3D val="0"/>
            <c:spPr>
              <a:ln w="6350" cap="rnd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4D05-4E7D-8A7E-BB2449C9EF15}"/>
              </c:ext>
            </c:extLst>
          </c:dPt>
          <c:val>
            <c:numRef>
              <c:f>PPT!$Q$18:$T$18</c:f>
              <c:numCache>
                <c:formatCode>0.0%;[Red]\(0.0\)%;"-"</c:formatCode>
                <c:ptCount val="4"/>
                <c:pt idx="0">
                  <c:v>7.6295939869596652E-2</c:v>
                </c:pt>
                <c:pt idx="1">
                  <c:v>5.9818083566079511E-2</c:v>
                </c:pt>
                <c:pt idx="2">
                  <c:v>-5.6400877860897765E-2</c:v>
                </c:pt>
                <c:pt idx="3">
                  <c:v>-3.02663485547950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4D05-4E7D-8A7E-BB2449C9EF15}"/>
            </c:ext>
          </c:extLst>
        </c:ser>
        <c:ser>
          <c:idx val="3"/>
          <c:order val="6"/>
          <c:tx>
            <c:strRef>
              <c:f>PPT!$D$19</c:f>
              <c:strCache>
                <c:ptCount val="1"/>
                <c:pt idx="0">
                  <c:v>효성화학</c:v>
                </c:pt>
              </c:strCache>
            </c:strRef>
          </c:tx>
          <c:spPr>
            <a:ln w="6350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chemeClr val="accent6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D05-4E7D-8A7E-BB2449C9EF1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D05-4E7D-8A7E-BB2449C9EF1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D05-4E7D-8A7E-BB2449C9EF15}"/>
                </c:ext>
              </c:extLst>
            </c:dLbl>
            <c:dLbl>
              <c:idx val="3"/>
              <c:layout>
                <c:manualLayout>
                  <c:x val="-1.0690112197147366E-16"/>
                  <c:y val="5.141904794154496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7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  <a:cs typeface="+mn-cs"/>
                      </a:defRPr>
                    </a:pPr>
                    <a:fld id="{00A1FE9D-3C8D-44C0-9F24-0B26A3B11E06}" type="SERIESNAME">
                      <a:rPr lang="ko-KR" altLang="en-US" sz="7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rPr>
                      <a:pPr>
                        <a:defRPr sz="700"/>
                      </a:pPr>
                      <a:t>[계열 이름]</a:t>
                    </a:fld>
                    <a:r>
                      <a:rPr lang="en-US" altLang="ko-KR" sz="700" baseline="0"/>
                      <a:t>, </a:t>
                    </a:r>
                    <a:fld id="{CE5A3007-EE3E-4DE7-8C5E-79F3FD326BDE}" type="VALUE">
                      <a:rPr lang="en-US" altLang="ko-KR" sz="700" baseline="0"/>
                      <a:pPr>
                        <a:defRPr sz="700"/>
                      </a:pPr>
                      <a:t>[값]</a:t>
                    </a:fld>
                    <a:endParaRPr lang="en-US" altLang="ko-KR" sz="700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KoPub돋움체 Light" panose="00000300000000000000" pitchFamily="2" charset="-127"/>
                      <a:ea typeface="KoPub돋움체 Light" panose="00000300000000000000" pitchFamily="2" charset="-127"/>
                      <a:cs typeface="+mn-cs"/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4D05-4E7D-8A7E-BB2449C9EF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Light" panose="00000300000000000000" pitchFamily="2" charset="-127"/>
                    <a:ea typeface="KoPub돋움체 Light" panose="000003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PPT!$Q$19:$T$19</c:f>
              <c:numCache>
                <c:formatCode>0.0%;[Red]\(0.0\)%;"-"</c:formatCode>
                <c:ptCount val="4"/>
                <c:pt idx="0">
                  <c:v>3.3528442025896756E-2</c:v>
                </c:pt>
                <c:pt idx="1">
                  <c:v>5.4196790223133465E-2</c:v>
                </c:pt>
                <c:pt idx="2">
                  <c:v>-0.11697774327993547</c:v>
                </c:pt>
                <c:pt idx="3">
                  <c:v>-6.76118916943932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4D05-4E7D-8A7E-BB2449C9EF15}"/>
            </c:ext>
          </c:extLst>
        </c:ser>
        <c:ser>
          <c:idx val="5"/>
          <c:order val="7"/>
          <c:tx>
            <c:strRef>
              <c:f>PPT!$D$20</c:f>
              <c:strCache>
                <c:ptCount val="1"/>
                <c:pt idx="0">
                  <c:v>DL케미칼</c:v>
                </c:pt>
              </c:strCache>
            </c:strRef>
          </c:tx>
          <c:spPr>
            <a:ln w="6350" cap="rnd">
              <a:solidFill>
                <a:srgbClr val="00C0AE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bg1"/>
              </a:solidFill>
              <a:ln w="9525">
                <a:solidFill>
                  <a:srgbClr val="00C0AE"/>
                </a:solidFill>
              </a:ln>
              <a:effectLst/>
            </c:spPr>
          </c:marker>
          <c:val>
            <c:numRef>
              <c:f>PPT!$Q$20:$T$20</c:f>
              <c:numCache>
                <c:formatCode>0.0%;[Red]\(0.0\)%;"-"</c:formatCode>
                <c:ptCount val="4"/>
                <c:pt idx="1">
                  <c:v>7.5054722883382344E-2</c:v>
                </c:pt>
                <c:pt idx="2">
                  <c:v>4.189223949499845E-2</c:v>
                </c:pt>
                <c:pt idx="3">
                  <c:v>1.647748667505192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4D05-4E7D-8A7E-BB2449C9EF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7989424"/>
        <c:axId val="1117992336"/>
      </c:lineChart>
      <c:catAx>
        <c:axId val="111798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1117992336"/>
        <c:crosses val="autoZero"/>
        <c:auto val="1"/>
        <c:lblAlgn val="ctr"/>
        <c:lblOffset val="100"/>
        <c:noMultiLvlLbl val="0"/>
      </c:catAx>
      <c:valAx>
        <c:axId val="1117992336"/>
        <c:scaling>
          <c:orientation val="minMax"/>
          <c:max val="0.4"/>
        </c:scaling>
        <c:delete val="0"/>
        <c:axPos val="l"/>
        <c:numFmt formatCode="0%;[Red]\(0\)%;&quot;-&quot;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defRPr>
            </a:pPr>
            <a:endParaRPr lang="ko-KR"/>
          </a:p>
        </c:txPr>
        <c:crossAx val="1117989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7714876033057858E-2"/>
          <c:y val="0.85160470125422727"/>
          <c:w val="0.93873921028466489"/>
          <c:h val="0.120348545323111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KoPub돋움체 Light" panose="00000300000000000000" pitchFamily="2" charset="-127"/>
          <a:ea typeface="KoPub돋움체 Light" panose="00000300000000000000" pitchFamily="2" charset="-127"/>
        </a:defRPr>
      </a:pPr>
      <a:endParaRPr lang="ko-KR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2371.4019680000001</c:v>
                </c:pt>
                <c:pt idx="1">
                  <c:v>2114.661118</c:v>
                </c:pt>
                <c:pt idx="2">
                  <c:v>2774.661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371.94522282999998</c:v>
                </c:pt>
                <c:pt idx="1">
                  <c:v>136.65610321</c:v>
                </c:pt>
                <c:pt idx="2">
                  <c:v>243.4950235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0.45492097371426465</c:v>
                </c:pt>
                <c:pt idx="1">
                  <c:v>0.39302112640051579</c:v>
                </c:pt>
                <c:pt idx="2">
                  <c:v>0.46916192153541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86493356069625"/>
          <c:y val="0.19683740840105324"/>
          <c:w val="0.76596413403687136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87080.837593009986</c:v>
                </c:pt>
                <c:pt idx="1">
                  <c:v>84082.029940349996</c:v>
                </c:pt>
                <c:pt idx="2">
                  <c:v>88144.170148380013</c:v>
                </c:pt>
                <c:pt idx="3">
                  <c:v>42661.60703645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6A-4891-ACBC-93F06787E72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1340.0810819000001</c:v>
                </c:pt>
                <c:pt idx="1">
                  <c:v>860.93962595000005</c:v>
                </c:pt>
                <c:pt idx="2">
                  <c:v>3375.9930307199998</c:v>
                </c:pt>
                <c:pt idx="3">
                  <c:v>1660.84898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6A-4891-ACBC-93F06787E7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4.5202454875969286E-2"/>
                  <c:y val="0.1232865706232331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A51-4BEC-8A8C-0A293AADD4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1.5388931927402231E-2</c:v>
                </c:pt>
                <c:pt idx="1">
                  <c:v>1.0239282122003633E-2</c:v>
                </c:pt>
                <c:pt idx="2">
                  <c:v>3.8300809061301788E-2</c:v>
                </c:pt>
                <c:pt idx="3">
                  <c:v>3.893076465077777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6A-4891-ACBC-93F06787E72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0213454361185297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0_);[Red]\(#,##0.0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-1.7870102466439066</c:v>
                </c:pt>
                <c:pt idx="1">
                  <c:v>-0.7818398376028346</c:v>
                </c:pt>
                <c:pt idx="2">
                  <c:v>-1.3112785630431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7329075641067"/>
          <c:y val="0.19683740840105324"/>
          <c:w val="0.72510315787780311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4.201507530000001</c:v>
                </c:pt>
                <c:pt idx="1">
                  <c:v>52.616555719999994</c:v>
                </c:pt>
                <c:pt idx="2">
                  <c:v>131.45107822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84-4FC2-8104-7E0BBA85DE4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-97.484125210000002</c:v>
                </c:pt>
                <c:pt idx="1">
                  <c:v>-76.789181490000004</c:v>
                </c:pt>
                <c:pt idx="2">
                  <c:v>-148.09843658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84-4FC2-8104-7E0BBA85D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E84-4FC2-8104-7E0BBA85DE40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84-4FC2-8104-7E0BBA85DE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-1.5184086629811262</c:v>
                </c:pt>
                <c:pt idx="1">
                  <c:v>-1.4594110245192615</c:v>
                </c:pt>
                <c:pt idx="2">
                  <c:v>-1.1266429958994977</c:v>
                </c:pt>
                <c:pt idx="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E84-4FC2-8104-7E0BBA85DE4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200"/>
          <c:min val="-20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7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0.13921914829222823</c:v>
                </c:pt>
                <c:pt idx="1">
                  <c:v>0.12920503602187053</c:v>
                </c:pt>
                <c:pt idx="2">
                  <c:v>0.29937894162186907</c:v>
                </c:pt>
                <c:pt idx="3">
                  <c:v>0.65716649077468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4.7713102401438299</c:v>
                </c:pt>
                <c:pt idx="1">
                  <c:v>52.430778733788422</c:v>
                </c:pt>
                <c:pt idx="2">
                  <c:v>11.14182325960687</c:v>
                </c:pt>
                <c:pt idx="3">
                  <c:v>43.9870266455775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87193140503845"/>
          <c:y val="0.19683740840105324"/>
          <c:w val="0.76596413403687136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5837.1107893099997</c:v>
                </c:pt>
                <c:pt idx="1">
                  <c:v>5684.5834580000001</c:v>
                </c:pt>
                <c:pt idx="2">
                  <c:v>5897.5923676000002</c:v>
                </c:pt>
                <c:pt idx="3">
                  <c:v>3103.10101869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5E-41AD-B848-1B02235DC8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26.06245632</c:v>
                </c:pt>
                <c:pt idx="1">
                  <c:v>245.20811236</c:v>
                </c:pt>
                <c:pt idx="2">
                  <c:v>375.45912406000002</c:v>
                </c:pt>
                <c:pt idx="3">
                  <c:v>329.09168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5E-41AD-B848-1B02235DC8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5E-41AD-B848-1B02235DC8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3.8728484772639148E-2</c:v>
                </c:pt>
                <c:pt idx="1">
                  <c:v>4.3135634153618582E-2</c:v>
                </c:pt>
                <c:pt idx="2">
                  <c:v>6.3663118889444634E-2</c:v>
                </c:pt>
                <c:pt idx="3">
                  <c:v>0.106052519868956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5E-41AD-B848-1B02235DC89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5831838583057172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38.99726328999998</c:v>
                </c:pt>
                <c:pt idx="1">
                  <c:v>30.117881910000001</c:v>
                </c:pt>
                <c:pt idx="2">
                  <c:v>246.41331785999998</c:v>
                </c:pt>
                <c:pt idx="3">
                  <c:v>182.1512450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914.1719235700001</c:v>
                </c:pt>
                <c:pt idx="1">
                  <c:v>945.09834268000009</c:v>
                </c:pt>
                <c:pt idx="2">
                  <c:v>1065.70815498</c:v>
                </c:pt>
                <c:pt idx="3">
                  <c:v>664.45137594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30153531621413709</c:v>
                </c:pt>
                <c:pt idx="1">
                  <c:v>0.24269303499616704</c:v>
                </c:pt>
                <c:pt idx="2">
                  <c:v>0.32534342911855801</c:v>
                </c:pt>
                <c:pt idx="3">
                  <c:v>0.33115857363591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64.76857616000001</c:v>
                </c:pt>
                <c:pt idx="1">
                  <c:v>2020.2781823899998</c:v>
                </c:pt>
                <c:pt idx="2">
                  <c:v>1850.7260231600001</c:v>
                </c:pt>
                <c:pt idx="3">
                  <c:v>1980.2921428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12.77575870999999</c:v>
                </c:pt>
                <c:pt idx="1">
                  <c:v>197.50149318999999</c:v>
                </c:pt>
                <c:pt idx="2">
                  <c:v>574.72212629000001</c:v>
                </c:pt>
                <c:pt idx="3">
                  <c:v>304.71653644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22855083103266619</c:v>
                </c:pt>
                <c:pt idx="1">
                  <c:v>0.62039720433449674</c:v>
                </c:pt>
                <c:pt idx="2">
                  <c:v>0.52402502791387107</c:v>
                </c:pt>
                <c:pt idx="3">
                  <c:v>0.485189505482220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7.5105254046926158</c:v>
                </c:pt>
                <c:pt idx="1">
                  <c:v>18.439898619853775</c:v>
                </c:pt>
                <c:pt idx="2">
                  <c:v>7.2526190334602463</c:v>
                </c:pt>
                <c:pt idx="3">
                  <c:v>3.51653787907627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31812039509667"/>
          <c:y val="0.19683740840105324"/>
          <c:w val="0.76851794504681326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7181.0000662600005</c:v>
                </c:pt>
                <c:pt idx="1">
                  <c:v>11163.12988328</c:v>
                </c:pt>
                <c:pt idx="2">
                  <c:v>17127.797898609999</c:v>
                </c:pt>
                <c:pt idx="3">
                  <c:v>7341.22915164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BA-463D-B946-C162440405A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554.99437792999993</c:v>
                </c:pt>
                <c:pt idx="1">
                  <c:v>903.64772918999995</c:v>
                </c:pt>
                <c:pt idx="2">
                  <c:v>905.23568941000008</c:v>
                </c:pt>
                <c:pt idx="3">
                  <c:v>202.20669537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BA-463D-B946-C162440405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FBA-463D-B946-C162440405AA}"/>
                </c:ext>
              </c:extLst>
            </c:dLbl>
            <c:dLbl>
              <c:idx val="1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BA-463D-B946-C162440405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7.7286502271131638E-2</c:v>
                </c:pt>
                <c:pt idx="1">
                  <c:v>8.094931606443749E-2</c:v>
                </c:pt>
                <c:pt idx="2">
                  <c:v>5.2851843229856428E-2</c:v>
                </c:pt>
                <c:pt idx="3">
                  <c:v>2.754398360314803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FBA-463D-B946-C162440405A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5831838583057172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6263.2848595100004</c:v>
                </c:pt>
                <c:pt idx="1">
                  <c:v>6777.5916140299996</c:v>
                </c:pt>
                <c:pt idx="2">
                  <c:v>6624.4081202299994</c:v>
                </c:pt>
                <c:pt idx="3">
                  <c:v>6814.34806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873.47274990000005</c:v>
                </c:pt>
                <c:pt idx="1">
                  <c:v>2848.91014868</c:v>
                </c:pt>
                <c:pt idx="2">
                  <c:v>1953.40563195</c:v>
                </c:pt>
                <c:pt idx="3">
                  <c:v>3890.28761997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4.295788232847416</c:v>
                </c:pt>
                <c:pt idx="1">
                  <c:v>5.8666661503736055</c:v>
                </c:pt>
                <c:pt idx="2">
                  <c:v>4.3096326719257894</c:v>
                </c:pt>
                <c:pt idx="3">
                  <c:v>4.99383360421049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965117979200479E-2"/>
          <c:y val="0.19658914172912087"/>
          <c:w val="0.93606976404159903"/>
          <c:h val="0.61716851347486978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5.4500640560828796E-2"/>
                  <c:y val="0.18445731864794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61-4B1E-8A8C-817873469234}"/>
                </c:ext>
              </c:extLst>
            </c:dLbl>
            <c:dLbl>
              <c:idx val="3"/>
              <c:layout>
                <c:manualLayout>
                  <c:x val="-5.0489784776595404E-3"/>
                  <c:y val="-1.77964907249519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961-4B1E-8A8C-817873469234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롯데!$K$71:$N$71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롯데!$K$78:$N$78</c:f>
              <c:numCache>
                <c:formatCode>0.00</c:formatCode>
                <c:ptCount val="4"/>
                <c:pt idx="0">
                  <c:v>1.76522054999999</c:v>
                </c:pt>
                <c:pt idx="1">
                  <c:v>5.794246761929629</c:v>
                </c:pt>
                <c:pt idx="2">
                  <c:v>-1.2454851990135587</c:v>
                </c:pt>
                <c:pt idx="3">
                  <c:v>-7.929758185917293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961-4B1E-8A8C-81787346923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17908751"/>
        <c:axId val="2017838863"/>
      </c:lineChart>
      <c:catAx>
        <c:axId val="2017908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2017838863"/>
        <c:crosses val="autoZero"/>
        <c:auto val="1"/>
        <c:lblAlgn val="ctr"/>
        <c:lblOffset val="100"/>
        <c:noMultiLvlLbl val="0"/>
      </c:catAx>
      <c:valAx>
        <c:axId val="2017838863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20179087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7B7-4015-8233-F56D971DE4BD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-5.3786701296814403</c:v>
                </c:pt>
                <c:pt idx="1">
                  <c:v>-13.642190824530353</c:v>
                </c:pt>
                <c:pt idx="2">
                  <c:v>-6.4412625840121356</c:v>
                </c:pt>
                <c:pt idx="3">
                  <c:v>7.080372154091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10197548341431"/>
          <c:y val="0.19683740840105324"/>
          <c:w val="0.76851794504681326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3740.3089757500002</c:v>
                </c:pt>
                <c:pt idx="1">
                  <c:v>2707.7556830699996</c:v>
                </c:pt>
                <c:pt idx="2">
                  <c:v>6956.1569917499992</c:v>
                </c:pt>
                <c:pt idx="3">
                  <c:v>7920.83776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E8-4989-A2F8-AC286337027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-3313.0853013000001</c:v>
                </c:pt>
                <c:pt idx="1">
                  <c:v>-3145.2524102699999</c:v>
                </c:pt>
                <c:pt idx="2">
                  <c:v>-1749.5126939299998</c:v>
                </c:pt>
                <c:pt idx="3">
                  <c:v>938.74192907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E8-4989-A2F8-AC28633702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5E8-4989-A2F8-AC2863370279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5E8-4989-A2F8-AC28633702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-0.88577850727844387</c:v>
                </c:pt>
                <c:pt idx="1">
                  <c:v>-1.1615717141451902</c:v>
                </c:pt>
                <c:pt idx="2">
                  <c:v>-0.25150563680562726</c:v>
                </c:pt>
                <c:pt idx="3">
                  <c:v>0.118515484986772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5E8-4989-A2F8-AC286337027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5831838583057172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2333.9916660200001</c:v>
                </c:pt>
                <c:pt idx="1">
                  <c:v>2515.2567405</c:v>
                </c:pt>
                <c:pt idx="2">
                  <c:v>2427.41939924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709.82135477999998</c:v>
                </c:pt>
                <c:pt idx="1">
                  <c:v>445.16928916999996</c:v>
                </c:pt>
                <c:pt idx="2">
                  <c:v>417.09754265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8134411795334857E-2"/>
                  <c:y val="-4.41671876823392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4BE-493B-ACA6-E20E15B28926}"/>
                </c:ext>
              </c:extLst>
            </c:dLbl>
            <c:dLbl>
              <c:idx val="1"/>
              <c:layout>
                <c:manualLayout>
                  <c:x val="-6.3947852974868311E-2"/>
                  <c:y val="-4.90746529803770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E-493B-ACA6-E20E15B28926}"/>
                </c:ext>
              </c:extLst>
            </c:dLbl>
            <c:dLbl>
              <c:idx val="2"/>
              <c:layout>
                <c:manualLayout>
                  <c:x val="-6.1041132385101678E-2"/>
                  <c:y val="-3.9259722384301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4BE-493B-ACA6-E20E15B289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5.9187941705060281</c:v>
                </c:pt>
                <c:pt idx="1">
                  <c:v>11.023304620369343</c:v>
                </c:pt>
                <c:pt idx="2">
                  <c:v>40.948701577759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-5.1204326436164029</c:v>
                </c:pt>
                <c:pt idx="1">
                  <c:v>-2.8194399758053343</c:v>
                </c:pt>
                <c:pt idx="2">
                  <c:v>-1.77557471812739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764309385154916E-2"/>
          <c:y val="0.19683740840105324"/>
          <c:w val="0.77107175605675493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3"/>
                <c:pt idx="0">
                  <c:v>2130.9975324300003</c:v>
                </c:pt>
                <c:pt idx="1">
                  <c:v>2267.2542431800002</c:v>
                </c:pt>
                <c:pt idx="2">
                  <c:v>2472.8489863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1D-484C-A49A-F9FC7C87D16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3"/>
                <c:pt idx="0">
                  <c:v>-220.59526137</c:v>
                </c:pt>
                <c:pt idx="1">
                  <c:v>-246.94762159999999</c:v>
                </c:pt>
                <c:pt idx="2">
                  <c:v>-190.67987589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1D-484C-A49A-F9FC7C87D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91D-484C-A49A-F9FC7C87D16F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91D-484C-A49A-F9FC7C87D1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3"/>
                <c:pt idx="0">
                  <c:v>-0.10351737062710381</c:v>
                </c:pt>
                <c:pt idx="1">
                  <c:v>-0.10891924553359167</c:v>
                </c:pt>
                <c:pt idx="2">
                  <c:v>-7.710938959298668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91D-484C-A49A-F9FC7C87D16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  <c:max val="0.4"/>
          <c:min val="-0.2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12150.786316279999</c:v>
                </c:pt>
                <c:pt idx="1">
                  <c:v>2091.3431132700002</c:v>
                </c:pt>
                <c:pt idx="2">
                  <c:v>4096.79763771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8259.6679579600004</c:v>
                </c:pt>
                <c:pt idx="1">
                  <c:v>2917.8806523900003</c:v>
                </c:pt>
                <c:pt idx="2">
                  <c:v>800.2261345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4880647077200871E-2"/>
                  <c:y val="-5.39821182784148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04F-45EE-A2A2-30113AC79704}"/>
                </c:ext>
              </c:extLst>
            </c:dLbl>
            <c:dLbl>
              <c:idx val="1"/>
              <c:layout>
                <c:manualLayout>
                  <c:x val="-6.3947852974868366E-2"/>
                  <c:y val="-4.90746529803770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04F-45EE-A2A2-30113AC79704}"/>
                </c:ext>
              </c:extLst>
            </c:dLbl>
            <c:dLbl>
              <c:idx val="2"/>
              <c:layout>
                <c:manualLayout>
                  <c:x val="-6.1041132385101678E-2"/>
                  <c:y val="-3.9259722384301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04F-45EE-A2A2-30113AC797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3.7839407214057248</c:v>
                </c:pt>
                <c:pt idx="1">
                  <c:v>4.065789764874201</c:v>
                </c:pt>
                <c:pt idx="2">
                  <c:v>4.36760103487957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CD-445B-B7E4-6EC72322AA42}"/>
                </c:ext>
              </c:extLst>
            </c:dLbl>
            <c:dLbl>
              <c:idx val="3"/>
              <c:layout>
                <c:manualLayout>
                  <c:x val="-6.4605934301485465E-2"/>
                  <c:y val="0.181774056345517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0ED-4F5C-84C2-CC4DF8AF993C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4.3518523844142472</c:v>
                </c:pt>
                <c:pt idx="1">
                  <c:v>10.313412541374856</c:v>
                </c:pt>
                <c:pt idx="2">
                  <c:v>-26.137994942539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97955342492198"/>
          <c:y val="0.19683740840105324"/>
          <c:w val="0.7608565120169879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24559.07622752</c:v>
                </c:pt>
                <c:pt idx="1">
                  <c:v>16744.703233290002</c:v>
                </c:pt>
                <c:pt idx="2">
                  <c:v>5564.9305837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71-43FE-B53D-C3B7F7DCB2E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2280.0595951700002</c:v>
                </c:pt>
                <c:pt idx="1">
                  <c:v>486.89837962999997</c:v>
                </c:pt>
                <c:pt idx="2">
                  <c:v>-1615.40947829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71-43FE-B53D-C3B7F7DCB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9.2839794707548842E-2</c:v>
                </c:pt>
                <c:pt idx="1">
                  <c:v>2.9077755087471572E-2</c:v>
                </c:pt>
                <c:pt idx="2">
                  <c:v>-0.290283850623172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F71-43FE-B53D-C3B7F7DCB2E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0213454361185297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42.15757412</c:v>
                </c:pt>
                <c:pt idx="1">
                  <c:v>41.676950319999996</c:v>
                </c:pt>
                <c:pt idx="2">
                  <c:v>40.07184858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4D-4FCE-A05D-6538D63261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365.88033744000001</c:v>
                </c:pt>
                <c:pt idx="1">
                  <c:v>426.62748138000001</c:v>
                </c:pt>
                <c:pt idx="2">
                  <c:v>143.92737859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4D-4FCE-A05D-6538D6326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0.39081731483116461</c:v>
                </c:pt>
                <c:pt idx="1">
                  <c:v>0.36319019772755068</c:v>
                </c:pt>
                <c:pt idx="2">
                  <c:v>0.30400057827686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4D-4FCE-A05D-6538D6326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  <c:max val="600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26327956551055"/>
          <c:y val="0.19683740840105324"/>
          <c:w val="0.72510315787780311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538.02215643</c:v>
                </c:pt>
                <c:pt idx="1">
                  <c:v>-37.792172120000004</c:v>
                </c:pt>
                <c:pt idx="2">
                  <c:v>-4.03615742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5E-4E29-8B91-918E79D7915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801.75789455000006</c:v>
                </c:pt>
                <c:pt idx="1">
                  <c:v>44.804246380000002</c:v>
                </c:pt>
                <c:pt idx="2">
                  <c:v>41.3859962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5E-4E29-8B91-918E79D79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8.7136474441143127E-2"/>
                  <c:y val="0.115660469095942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B5E-4E29-8B91-918E79D7915F}"/>
                </c:ext>
              </c:extLst>
            </c:dLbl>
            <c:dLbl>
              <c:idx val="2"/>
              <c:layout>
                <c:manualLayout>
                  <c:x val="-9.6523121151723068E-2"/>
                  <c:y val="9.46218051670627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001-4FC9-A93E-35EB9368DB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0.67105314470520294</c:v>
                </c:pt>
                <c:pt idx="1">
                  <c:v>-0.84349531960590907</c:v>
                </c:pt>
                <c:pt idx="2">
                  <c:v>-9.752471344401274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5E-4E29-8B91-918E79D7915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21658.866469200002</c:v>
                </c:pt>
                <c:pt idx="1">
                  <c:v>25458.036075090004</c:v>
                </c:pt>
                <c:pt idx="2">
                  <c:v>50707.736666360004</c:v>
                </c:pt>
                <c:pt idx="3">
                  <c:v>65761.77410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26-4C01-9563-133580DF67B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946.58097232</c:v>
                </c:pt>
                <c:pt idx="1">
                  <c:v>6958.0193462500001</c:v>
                </c:pt>
                <c:pt idx="2">
                  <c:v>16494.942436059999</c:v>
                </c:pt>
                <c:pt idx="3">
                  <c:v>4194.71540371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26-4C01-9563-133580DF67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30836146681767312</c:v>
                </c:pt>
                <c:pt idx="1">
                  <c:v>0.41238834290095411</c:v>
                </c:pt>
                <c:pt idx="2">
                  <c:v>0.58071081351044729</c:v>
                </c:pt>
                <c:pt idx="3">
                  <c:v>0.627709883344254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26-4C01-9563-133580DF67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234.11</c:v>
                </c:pt>
                <c:pt idx="1">
                  <c:v>260.70999999999998</c:v>
                </c:pt>
                <c:pt idx="2">
                  <c:v>126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116.19362369000001</c:v>
                </c:pt>
                <c:pt idx="1">
                  <c:v>271.78524779999998</c:v>
                </c:pt>
                <c:pt idx="2">
                  <c:v>185.20051209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DA-4AAB-8953-66BBE224277B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8DA-4AAB-8953-66BBE2242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2.3389137310658077</c:v>
                </c:pt>
                <c:pt idx="1">
                  <c:v>2.2183121271715502</c:v>
                </c:pt>
                <c:pt idx="2">
                  <c:v>2.391081859615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694992369031792"/>
          <c:y val="9.8149305960754194E-3"/>
          <c:w val="0.36022222088558487"/>
          <c:h val="0.13703575185073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3047175413713185E-2"/>
                  <c:y val="8.41024732026229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D6-4F34-A608-B709479E44E1}"/>
                </c:ext>
              </c:extLst>
            </c:dLbl>
            <c:dLbl>
              <c:idx val="2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CD-445B-B7E4-6EC72322AA42}"/>
                </c:ext>
              </c:extLst>
            </c:dLbl>
            <c:dLbl>
              <c:idx val="3"/>
              <c:layout>
                <c:manualLayout>
                  <c:x val="-6.4605934301485465E-2"/>
                  <c:y val="0.181774056345517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0ED-4F5C-84C2-CC4DF8AF993C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-2.113593419046897</c:v>
                </c:pt>
                <c:pt idx="1">
                  <c:v>1.5507517657207346</c:v>
                </c:pt>
                <c:pt idx="2">
                  <c:v>5.3936057645129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3047175413713185E-2"/>
                  <c:y val="8.41024732026229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E4-42F5-8914-37DCCD204FF4}"/>
                </c:ext>
              </c:extLst>
            </c:dLbl>
            <c:dLbl>
              <c:idx val="2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E4-42F5-8914-37DCCD204FF4}"/>
                </c:ext>
              </c:extLst>
            </c:dLbl>
            <c:dLbl>
              <c:idx val="3"/>
              <c:layout>
                <c:manualLayout>
                  <c:x val="-6.4605934301485465E-2"/>
                  <c:y val="0.181774056345517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E4-42F5-8914-37DCCD204FF4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1425.5750790856878</c:v>
                </c:pt>
                <c:pt idx="1">
                  <c:v>-111.1910594227771</c:v>
                </c:pt>
                <c:pt idx="2">
                  <c:v>-9.17211842924644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E4-42F5-8914-37DCCD204FF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26327956551055"/>
          <c:y val="0.19683740840105324"/>
          <c:w val="0.72510315787780311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-7.38256946</c:v>
                </c:pt>
                <c:pt idx="1">
                  <c:v>8.1945909400000012</c:v>
                </c:pt>
                <c:pt idx="2">
                  <c:v>17.69788094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5E-4E29-8B91-918E79D7915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1317.1122975400001</c:v>
                </c:pt>
                <c:pt idx="1">
                  <c:v>2037.7665043700001</c:v>
                </c:pt>
                <c:pt idx="2">
                  <c:v>3230.92182419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5E-4E29-8B91-918E79D79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8.7136474441143127E-2"/>
                  <c:y val="-6.31681742995326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B5E-4E29-8B91-918E79D791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-5.6051177062036318E-3</c:v>
                </c:pt>
                <c:pt idx="1">
                  <c:v>4.021359131395408E-3</c:v>
                </c:pt>
                <c:pt idx="2">
                  <c:v>5.47765681221237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B5E-4E29-8B91-918E79D7915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2183894845253884"/>
          <c:y val="0"/>
          <c:w val="0.39272467268807015"/>
          <c:h val="0.312550060009889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7324.1726064100003</c:v>
                </c:pt>
                <c:pt idx="1">
                  <c:v>21633.18786229</c:v>
                </c:pt>
                <c:pt idx="2">
                  <c:v>20049.863753959999</c:v>
                </c:pt>
                <c:pt idx="3">
                  <c:v>20493.307025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713.5781657700004</c:v>
                </c:pt>
                <c:pt idx="1">
                  <c:v>5574.3431252699993</c:v>
                </c:pt>
                <c:pt idx="2">
                  <c:v>631.83457495000005</c:v>
                </c:pt>
                <c:pt idx="3">
                  <c:v>643.06873597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단기금융상품 및 FVPL금융자산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E$2:$E$5</c:f>
              <c:numCache>
                <c:formatCode>General</c:formatCode>
                <c:ptCount val="4"/>
                <c:pt idx="0">
                  <c:v>419.23667999999998</c:v>
                </c:pt>
                <c:pt idx="1">
                  <c:v>912.84860000000003</c:v>
                </c:pt>
                <c:pt idx="2">
                  <c:v>763.09907999999996</c:v>
                </c:pt>
                <c:pt idx="3">
                  <c:v>803.36941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D8-4C11-9E88-4042859CEC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26534051035012274</c:v>
                </c:pt>
                <c:pt idx="1">
                  <c:v>0.60668896485035806</c:v>
                </c:pt>
                <c:pt idx="2">
                  <c:v>0.52322222123613282</c:v>
                </c:pt>
                <c:pt idx="3">
                  <c:v>0.546662837269072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9397416222934031E-2"/>
          <c:y val="2.9444791788226257E-2"/>
          <c:w val="0.492398467906486"/>
          <c:h val="0.176295474235034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1.3294014169908941E-3"/>
                  <c:y val="-3.91319149077156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CD-41A9-AB02-43C6F2C79A6F}"/>
                </c:ext>
              </c:extLst>
            </c:dLbl>
            <c:dLbl>
              <c:idx val="2"/>
              <c:layout>
                <c:manualLayout>
                  <c:x val="-3.7776966255627646E-2"/>
                  <c:y val="-0.1157126516088366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CD-445B-B7E4-6EC72322AA42}"/>
                </c:ext>
              </c:extLst>
            </c:dLbl>
            <c:dLbl>
              <c:idx val="3"/>
              <c:layout>
                <c:manualLayout>
                  <c:x val="-6.4605934301485465E-2"/>
                  <c:y val="0.181774056345517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0ED-4F5C-84C2-CC4DF8AF993C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3.0875141769287922</c:v>
                </c:pt>
                <c:pt idx="1">
                  <c:v>0.92745692371709698</c:v>
                </c:pt>
                <c:pt idx="2">
                  <c:v>-3.15512558350972E-2</c:v>
                </c:pt>
                <c:pt idx="3">
                  <c:v>-0.15504948790980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4"/>
          <c:min val="-3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10197548341431"/>
          <c:y val="0.19683740840105324"/>
          <c:w val="0.76851794504681326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3784.29475386</c:v>
                </c:pt>
                <c:pt idx="1">
                  <c:v>13195.957147109999</c:v>
                </c:pt>
                <c:pt idx="2">
                  <c:v>9626.0479420400006</c:v>
                </c:pt>
                <c:pt idx="3">
                  <c:v>3511.90939804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87-42B7-AFA0-9E1DB3749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978.6048602300001</c:v>
                </c:pt>
                <c:pt idx="1">
                  <c:v>453.79655953000002</c:v>
                </c:pt>
                <c:pt idx="2">
                  <c:v>-132.06963052999998</c:v>
                </c:pt>
                <c:pt idx="3">
                  <c:v>-211.449897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7-42B7-AFA0-9E1DB3749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5.677765355040057E-2"/>
                  <c:y val="0.2495185541965093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B87-42B7-AFA0-9E1DB3749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7.0994191411639859E-2</c:v>
                </c:pt>
                <c:pt idx="1">
                  <c:v>3.4389059806047069E-2</c:v>
                </c:pt>
                <c:pt idx="2">
                  <c:v>-1.3720026258461698E-2</c:v>
                </c:pt>
                <c:pt idx="3">
                  <c:v>-6.020938279558418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B87-42B7-AFA0-9E1DB3749F4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0213454361185297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7114.33729313</c:v>
                </c:pt>
                <c:pt idx="1">
                  <c:v>8305.7875790100006</c:v>
                </c:pt>
                <c:pt idx="2">
                  <c:v>8295.0613893000009</c:v>
                </c:pt>
                <c:pt idx="3">
                  <c:v>5646.2865220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02.47807739999996</c:v>
                </c:pt>
                <c:pt idx="1">
                  <c:v>295.44785279000001</c:v>
                </c:pt>
                <c:pt idx="2">
                  <c:v>754.07645787000001</c:v>
                </c:pt>
                <c:pt idx="3">
                  <c:v>1410.8295957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95612508355101833</c:v>
                </c:pt>
                <c:pt idx="1">
                  <c:v>0.95353691189135981</c:v>
                </c:pt>
                <c:pt idx="2">
                  <c:v>0.74212030140386342</c:v>
                </c:pt>
                <c:pt idx="3">
                  <c:v>0.689476501495929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22.630300788137518</c:v>
                </c:pt>
                <c:pt idx="1">
                  <c:v>27.993877687474082</c:v>
                </c:pt>
                <c:pt idx="2">
                  <c:v>23.951127665672811</c:v>
                </c:pt>
                <c:pt idx="3">
                  <c:v>23.3845662671620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87193140503845"/>
          <c:y val="0.19683740840105324"/>
          <c:w val="0.76596413403687136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5925.469487859998</c:v>
                </c:pt>
                <c:pt idx="1">
                  <c:v>28146.481615570003</c:v>
                </c:pt>
                <c:pt idx="2">
                  <c:v>28134.889279669998</c:v>
                </c:pt>
                <c:pt idx="3">
                  <c:v>13325.19272836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CD-49A4-A0D9-56B6F8B707A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4555.0136543500003</c:v>
                </c:pt>
                <c:pt idx="1">
                  <c:v>4517.0164793100002</c:v>
                </c:pt>
                <c:pt idx="2">
                  <c:v>5147.4607424599999</c:v>
                </c:pt>
                <c:pt idx="3">
                  <c:v>2589.80579602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CD-49A4-A0D9-56B6F8B707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182-402E-91A7-124BDD51B0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0.17569647702939209</c:v>
                </c:pt>
                <c:pt idx="1">
                  <c:v>0.16048245535638414</c:v>
                </c:pt>
                <c:pt idx="2">
                  <c:v>0.18295649544921103</c:v>
                </c:pt>
                <c:pt idx="3">
                  <c:v>0.19435409669581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DCD-49A4-A0D9-56B6F8B707A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30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90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0213454361185297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2.760299999999999</c:v>
                </c:pt>
                <c:pt idx="1">
                  <c:v>1341.62087107</c:v>
                </c:pt>
                <c:pt idx="2">
                  <c:v>1372.13359126</c:v>
                </c:pt>
                <c:pt idx="3">
                  <c:v>1306.1532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999.76767183999993</c:v>
                </c:pt>
                <c:pt idx="1">
                  <c:v>255.19949768999999</c:v>
                </c:pt>
                <c:pt idx="2">
                  <c:v>924.44213434999995</c:v>
                </c:pt>
                <c:pt idx="3">
                  <c:v>656.2171632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16690080997965423</c:v>
                </c:pt>
                <c:pt idx="1">
                  <c:v>0.39491852284162199</c:v>
                </c:pt>
                <c:pt idx="2">
                  <c:v>0.36977479141943692</c:v>
                </c:pt>
                <c:pt idx="3">
                  <c:v>0.33846424275230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7359.1433580000003</c:v>
                </c:pt>
                <c:pt idx="1">
                  <c:v>9729.6317029999991</c:v>
                </c:pt>
                <c:pt idx="2">
                  <c:v>7800.25685334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22.292581470000002</c:v>
                </c:pt>
                <c:pt idx="1">
                  <c:v>118.33430969</c:v>
                </c:pt>
                <c:pt idx="2">
                  <c:v>839.42186491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1.0495704427493833</c:v>
                </c:pt>
                <c:pt idx="1">
                  <c:v>1.5549781823995994</c:v>
                </c:pt>
                <c:pt idx="2">
                  <c:v>1.17775767370183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9.3135895485710798E-3"/>
                  <c:y val="2.86125829432759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1D-4507-9C2B-DB1909251027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9.201529028493848</c:v>
                </c:pt>
                <c:pt idx="1">
                  <c:v>6.9445372001568799</c:v>
                </c:pt>
                <c:pt idx="2">
                  <c:v>2.0254204435231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764309385154916E-2"/>
          <c:y val="0.19683740840105324"/>
          <c:w val="0.77107175605675493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  <c:extLst/>
            </c:numRef>
          </c:cat>
          <c:val>
            <c:numRef>
              <c:f>Sheet1!$C$2:$C$5</c:f>
              <c:numCache>
                <c:formatCode>_(* #,##0_);_(* \(#,##0\);_(* "-"_);_(@_)</c:formatCode>
                <c:ptCount val="3"/>
                <c:pt idx="0">
                  <c:v>12326.55956243</c:v>
                </c:pt>
                <c:pt idx="1">
                  <c:v>13076.132811410002</c:v>
                </c:pt>
                <c:pt idx="2">
                  <c:v>4307.753603680000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104-41AF-A90F-BE4F93069B4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  <c:extLst/>
            </c:numRef>
          </c:cat>
          <c:val>
            <c:numRef>
              <c:f>Sheet1!$D$2:$D$5</c:f>
              <c:numCache>
                <c:formatCode>_(* #,##0_);_(* \(#,##0\);_(* "-"_);_(@_)</c:formatCode>
                <c:ptCount val="3"/>
                <c:pt idx="0">
                  <c:v>3989.2810407699999</c:v>
                </c:pt>
                <c:pt idx="1">
                  <c:v>4311.43529846</c:v>
                </c:pt>
                <c:pt idx="2">
                  <c:v>1320.484463490000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D104-41AF-A90F-BE4F93069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5.095496444773343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104-41AF-A90F-BE4F93069B4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  <c:extLst/>
            </c:numRef>
          </c:cat>
          <c:val>
            <c:numRef>
              <c:f>Sheet1!$B$2:$B$5</c:f>
              <c:numCache>
                <c:formatCode>0.0%</c:formatCode>
                <c:ptCount val="3"/>
                <c:pt idx="0">
                  <c:v>0.32363296673054587</c:v>
                </c:pt>
                <c:pt idx="1">
                  <c:v>0.32971791894755903</c:v>
                </c:pt>
                <c:pt idx="2">
                  <c:v>0.306536674326485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D104-41AF-A90F-BE4F93069B4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7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3198.10457559</c:v>
                </c:pt>
                <c:pt idx="1">
                  <c:v>1409.7100415899999</c:v>
                </c:pt>
                <c:pt idx="2">
                  <c:v>999.55064415999993</c:v>
                </c:pt>
                <c:pt idx="3">
                  <c:v>999.69700607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767.6265442600002</c:v>
                </c:pt>
                <c:pt idx="1">
                  <c:v>1893.5992263200001</c:v>
                </c:pt>
                <c:pt idx="2">
                  <c:v>1214.5903331899999</c:v>
                </c:pt>
                <c:pt idx="3">
                  <c:v>569.22085838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DD-49FD-A300-366BCC8A83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54278222927627084</c:v>
                </c:pt>
                <c:pt idx="1">
                  <c:v>0.26423212892201986</c:v>
                </c:pt>
                <c:pt idx="2">
                  <c:v>0.19455234381418121</c:v>
                </c:pt>
                <c:pt idx="3">
                  <c:v>0.22174446640826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11.232118059690981</c:v>
                </c:pt>
                <c:pt idx="1">
                  <c:v>12.717985776896043</c:v>
                </c:pt>
                <c:pt idx="2">
                  <c:v>19.948067808827943</c:v>
                </c:pt>
                <c:pt idx="3">
                  <c:v>21.3239761098061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184.5066762699998</c:v>
                </c:pt>
                <c:pt idx="1">
                  <c:v>1677.98923141</c:v>
                </c:pt>
                <c:pt idx="2">
                  <c:v>1662.2045129600001</c:v>
                </c:pt>
                <c:pt idx="3">
                  <c:v>1216.34137151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5F-4209-918B-DA0759F0B99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1627.9184044900001</c:v>
                </c:pt>
                <c:pt idx="1">
                  <c:v>1131.3536116099999</c:v>
                </c:pt>
                <c:pt idx="2">
                  <c:v>1011.34738168</c:v>
                </c:pt>
                <c:pt idx="3">
                  <c:v>660.2892331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5F-4209-918B-DA0759F0B9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25F-4209-918B-DA0759F0B999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5F-4209-918B-DA0759F0B9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0.74521099989020734</c:v>
                </c:pt>
                <c:pt idx="1">
                  <c:v>0.67423174739883951</c:v>
                </c:pt>
                <c:pt idx="2">
                  <c:v>0.60843739371097316</c:v>
                </c:pt>
                <c:pt idx="3">
                  <c:v>0.54284861850491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25F-4209-918B-DA0759F0B99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950</c:v>
                </c:pt>
                <c:pt idx="1">
                  <c:v>2151.9940263999997</c:v>
                </c:pt>
                <c:pt idx="2">
                  <c:v>2357.18603456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332.39591000000001</c:v>
                </c:pt>
                <c:pt idx="1">
                  <c:v>500.16074655999995</c:v>
                </c:pt>
                <c:pt idx="2">
                  <c:v>362.7593306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0.62439060605633379</c:v>
                </c:pt>
                <c:pt idx="1">
                  <c:v>0.90695164069575451</c:v>
                </c:pt>
                <c:pt idx="2">
                  <c:v>0.72876292750676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12.974443076099352</c:v>
                </c:pt>
                <c:pt idx="1">
                  <c:v>6.2949221028579654</c:v>
                </c:pt>
                <c:pt idx="2">
                  <c:v>3.88989300213429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  <c:extLst/>
            </c:numRef>
          </c:cat>
          <c:val>
            <c:numRef>
              <c:f>Sheet1!$C$2:$C$5</c:f>
              <c:numCache>
                <c:formatCode>_(* #,##0_);_(* \(#,##0\);_(* "-"_);_(@_)</c:formatCode>
                <c:ptCount val="3"/>
                <c:pt idx="0">
                  <c:v>289.50154137999999</c:v>
                </c:pt>
                <c:pt idx="1">
                  <c:v>495.15855176999997</c:v>
                </c:pt>
                <c:pt idx="2">
                  <c:v>686.3810779899999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B5E-4926-86D6-7E5DECA2BF5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  <c:extLst/>
            </c:numRef>
          </c:cat>
          <c:val>
            <c:numRef>
              <c:f>Sheet1!$D$2:$D$5</c:f>
              <c:numCache>
                <c:formatCode>_(* #,##0_);_(* \(#,##0\);_(* "-"_);_(@_)</c:formatCode>
                <c:ptCount val="3"/>
                <c:pt idx="0">
                  <c:v>228.86520711</c:v>
                </c:pt>
                <c:pt idx="1">
                  <c:v>352.78523403999998</c:v>
                </c:pt>
                <c:pt idx="2">
                  <c:v>459.8131633699999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7B5E-4926-86D6-7E5DECA2BF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0954964447733342E-2"/>
                  <c:y val="-0.102247906694353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5E-4926-86D6-7E5DECA2BF57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5E-4926-86D6-7E5DECA2BF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  <c:extLst/>
            </c:numRef>
          </c:cat>
          <c:val>
            <c:numRef>
              <c:f>Sheet1!$B$2:$B$5</c:f>
              <c:numCache>
                <c:formatCode>0.0%</c:formatCode>
                <c:ptCount val="3"/>
                <c:pt idx="0">
                  <c:v>0.79054918332746049</c:v>
                </c:pt>
                <c:pt idx="1">
                  <c:v>0.71246923390281647</c:v>
                </c:pt>
                <c:pt idx="2">
                  <c:v>0.669909439689855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7B5E-4926-86D6-7E5DECA2BF5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7553.575450910001</c:v>
                </c:pt>
                <c:pt idx="1">
                  <c:v>14826.0852237</c:v>
                </c:pt>
                <c:pt idx="2">
                  <c:v>21619.855187499998</c:v>
                </c:pt>
                <c:pt idx="3">
                  <c:v>18196.61529026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DD-4188-A68A-F35C6119603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5120.2961232999996</c:v>
                </c:pt>
                <c:pt idx="1">
                  <c:v>3196.6740582100001</c:v>
                </c:pt>
                <c:pt idx="2">
                  <c:v>5458.45782934</c:v>
                </c:pt>
                <c:pt idx="3">
                  <c:v>8224.21362881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DD-4188-A68A-F35C61196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DD-4188-A68A-F35C611960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216200772896171</c:v>
                </c:pt>
                <c:pt idx="1">
                  <c:v>1.1414087756724232</c:v>
                </c:pt>
                <c:pt idx="2">
                  <c:v>1.3774737637290344</c:v>
                </c:pt>
                <c:pt idx="3">
                  <c:v>1.1835882869534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0DD-4188-A68A-F35C61196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7482685747810036E-2"/>
                  <c:y val="-8.1209242765474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CD-445B-B7E4-6EC72322AA42}"/>
                </c:ext>
              </c:extLst>
            </c:dLbl>
            <c:dLbl>
              <c:idx val="3"/>
              <c:layout>
                <c:manualLayout>
                  <c:x val="-6.4605934301485465E-2"/>
                  <c:y val="0.181774056345517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0ED-4F5C-84C2-CC4DF8AF993C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1.8793924186282931</c:v>
                </c:pt>
                <c:pt idx="1">
                  <c:v>7.6517881748086616</c:v>
                </c:pt>
                <c:pt idx="2">
                  <c:v>0.46166035252164317</c:v>
                </c:pt>
                <c:pt idx="3">
                  <c:v>-0.49013159761496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17.055194240012405</c:v>
                </c:pt>
                <c:pt idx="1">
                  <c:v>10.105861990535708</c:v>
                </c:pt>
                <c:pt idx="2">
                  <c:v>1.747694992873593</c:v>
                </c:pt>
                <c:pt idx="3">
                  <c:v>1.5381967377755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A6F-4002-9BB2-13CB70187F0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36595.118733859999</c:v>
                </c:pt>
                <c:pt idx="1">
                  <c:v>34306.725805189999</c:v>
                </c:pt>
                <c:pt idx="2">
                  <c:v>32835.420700170005</c:v>
                </c:pt>
                <c:pt idx="3">
                  <c:v>19990.59877652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B8-4EAB-B3F7-7B4E6F4074A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5828.9100797399997</c:v>
                </c:pt>
                <c:pt idx="1">
                  <c:v>3453.4765115</c:v>
                </c:pt>
                <c:pt idx="2">
                  <c:v>1100.3901534199999</c:v>
                </c:pt>
                <c:pt idx="3">
                  <c:v>532.28922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B8-4EAB-B3F7-7B4E6F4074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0.15928108123192786</c:v>
                </c:pt>
                <c:pt idx="1">
                  <c:v>0.10066470729706156</c:v>
                </c:pt>
                <c:pt idx="2">
                  <c:v>3.3512290385068914E-2</c:v>
                </c:pt>
                <c:pt idx="3">
                  <c:v>2.662697733671365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BB8-4EAB-B3F7-7B4E6F4074A3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8.6442609699307358</c:v>
                </c:pt>
                <c:pt idx="1">
                  <c:v>10.249707946461324</c:v>
                </c:pt>
                <c:pt idx="2">
                  <c:v>2.7776747780492959</c:v>
                </c:pt>
                <c:pt idx="3">
                  <c:v>5.3260822554640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DF-4F97-BC4D-D25CA33FE4F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178.68541133243431</c:v>
                </c:pt>
                <c:pt idx="1">
                  <c:v>118.6668994211162</c:v>
                </c:pt>
                <c:pt idx="2">
                  <c:v>20.52086317892141</c:v>
                </c:pt>
                <c:pt idx="3">
                  <c:v>15.970886488524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EB-4904-BD2A-03A9859B318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5693.1414203100003</c:v>
                </c:pt>
                <c:pt idx="1">
                  <c:v>7136.4315178500001</c:v>
                </c:pt>
                <c:pt idx="2">
                  <c:v>8473.3395862399993</c:v>
                </c:pt>
                <c:pt idx="3">
                  <c:v>4275.78981994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52.79564643000001</c:v>
                </c:pt>
                <c:pt idx="1">
                  <c:v>258.55702459999998</c:v>
                </c:pt>
                <c:pt idx="2">
                  <c:v>124.20451956000001</c:v>
                </c:pt>
                <c:pt idx="3">
                  <c:v>158.75543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4.4403542397201672E-2</c:v>
                </c:pt>
                <c:pt idx="1">
                  <c:v>3.6230576017339228E-2</c:v>
                </c:pt>
                <c:pt idx="2">
                  <c:v>1.4658272372524504E-2</c:v>
                </c:pt>
                <c:pt idx="3">
                  <c:v>3.71289137270681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971486798814573"/>
          <c:y val="0"/>
          <c:w val="0.64864186899398713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876.60006362000001</c:v>
                </c:pt>
                <c:pt idx="1">
                  <c:v>1095.5776501800001</c:v>
                </c:pt>
                <c:pt idx="2">
                  <c:v>1179.7988423300001</c:v>
                </c:pt>
                <c:pt idx="3">
                  <c:v>799.27032154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DA-41E2-BA71-19AE47A299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52.82520780999994</c:v>
                </c:pt>
                <c:pt idx="1">
                  <c:v>394.35537034000004</c:v>
                </c:pt>
                <c:pt idx="2">
                  <c:v>328.91885314000001</c:v>
                </c:pt>
                <c:pt idx="3">
                  <c:v>408.69426637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0.13476596939571786"/>
                  <c:y val="1.96545917259361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DA-41E2-BA71-19AE47A299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75138998039052285</c:v>
                </c:pt>
                <c:pt idx="1">
                  <c:v>0.87119232628847409</c:v>
                </c:pt>
                <c:pt idx="2">
                  <c:v>0.88348081179295923</c:v>
                </c:pt>
                <c:pt idx="3">
                  <c:v>0.82867295968508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694992369031792"/>
          <c:y val="9.8149305960754194E-3"/>
          <c:w val="0.36022222088558487"/>
          <c:h val="0.13703575185073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602.1257755199999</c:v>
                </c:pt>
                <c:pt idx="1">
                  <c:v>2744.7655461400004</c:v>
                </c:pt>
                <c:pt idx="2">
                  <c:v>6107.3107704799995</c:v>
                </c:pt>
                <c:pt idx="3">
                  <c:v>2749.11886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155.17189429000001</c:v>
                </c:pt>
                <c:pt idx="1">
                  <c:v>96.862288599999999</c:v>
                </c:pt>
                <c:pt idx="2">
                  <c:v>123.53543689</c:v>
                </c:pt>
                <c:pt idx="3">
                  <c:v>34.12288116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5.9632741718255708E-2</c:v>
                </c:pt>
                <c:pt idx="1">
                  <c:v>3.5289822380719801E-2</c:v>
                </c:pt>
                <c:pt idx="2">
                  <c:v>2.0227468608133532E-2</c:v>
                </c:pt>
                <c:pt idx="3">
                  <c:v>1.2412297474648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8.3748299999999993</c:v>
                </c:pt>
                <c:pt idx="1">
                  <c:v>153.19903055999998</c:v>
                </c:pt>
                <c:pt idx="2">
                  <c:v>121.88331038</c:v>
                </c:pt>
                <c:pt idx="3">
                  <c:v>107.62665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FE-4901-BA1A-B1F10F42AD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05.12206841</c:v>
                </c:pt>
                <c:pt idx="1">
                  <c:v>1022.47994551</c:v>
                </c:pt>
                <c:pt idx="2">
                  <c:v>421.60144780000002</c:v>
                </c:pt>
                <c:pt idx="3">
                  <c:v>343.37477640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32956002549913016</c:v>
                </c:pt>
                <c:pt idx="1">
                  <c:v>0.54607129137131316</c:v>
                </c:pt>
                <c:pt idx="2">
                  <c:v>0.46770476196499139</c:v>
                </c:pt>
                <c:pt idx="3">
                  <c:v>0.447552476185100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  <c:max val="600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4.782412911622503E-2"/>
                  <c:y val="9.17285747299140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889-485F-A94A-3D0745AF4AB5}"/>
                </c:ext>
              </c:extLst>
            </c:dLbl>
            <c:numFmt formatCode="#,##0.00_);[Red]\(#,##0.0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1.5714249886514506</c:v>
                </c:pt>
                <c:pt idx="1">
                  <c:v>2.0423504327283606</c:v>
                </c:pt>
                <c:pt idx="2">
                  <c:v>0.84126928705028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1966.7823801500001</c:v>
                </c:pt>
                <c:pt idx="1">
                  <c:v>1619.2312281900001</c:v>
                </c:pt>
                <c:pt idx="2">
                  <c:v>2598.20514426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6B-43E0-A1C4-04ABCD6F101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32.400895970000001</c:v>
                </c:pt>
                <c:pt idx="1">
                  <c:v>50.762575349999999</c:v>
                </c:pt>
                <c:pt idx="2">
                  <c:v>116.17704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6B-43E0-A1C4-04ABCD6F1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6B-43E0-A1C4-04ABCD6F10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5.1647505069623856</c:v>
                </c:pt>
                <c:pt idx="1">
                  <c:v>4.6775852434958161</c:v>
                </c:pt>
                <c:pt idx="2">
                  <c:v>25.808886342997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A6B-43E0-A1C4-04ABCD6F1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596956339886099E-2"/>
          <c:y val="0.19683740840105324"/>
          <c:w val="0.77873318908658029"/>
          <c:h val="0.68744993999011017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917.8865716599998</c:v>
                </c:pt>
                <c:pt idx="1">
                  <c:v>3529.5094733599999</c:v>
                </c:pt>
                <c:pt idx="2">
                  <c:v>3124.22244292</c:v>
                </c:pt>
                <c:pt idx="3">
                  <c:v>1551.5168598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38-485A-B9A4-500D4D2399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32.06781454</c:v>
                </c:pt>
                <c:pt idx="1">
                  <c:v>330.42635245999998</c:v>
                </c:pt>
                <c:pt idx="2">
                  <c:v>225.39858656000001</c:v>
                </c:pt>
                <c:pt idx="3">
                  <c:v>-52.54863244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38-485A-B9A4-500D4D2399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5.677765355040066E-2"/>
                  <c:y val="0.207441226338750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138-485A-B9A4-500D4D2399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7.9532842980930371E-2</c:v>
                </c:pt>
                <c:pt idx="1">
                  <c:v>9.3618208126083541E-2</c:v>
                </c:pt>
                <c:pt idx="2">
                  <c:v>7.2145498817086512E-2</c:v>
                </c:pt>
                <c:pt idx="3">
                  <c:v>-3.386919846669133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138-485A-B9A4-500D4D23996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006898697827883"/>
          <c:y val="0"/>
          <c:w val="0.40213454361185297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3777.7795100200001</c:v>
                </c:pt>
                <c:pt idx="1">
                  <c:v>4242.7357936600001</c:v>
                </c:pt>
                <c:pt idx="2">
                  <c:v>6445.44776414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B3-4F5F-8C3D-A0BDDEF412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-274.29309489000002</c:v>
                </c:pt>
                <c:pt idx="1">
                  <c:v>-380.00949462999995</c:v>
                </c:pt>
                <c:pt idx="2">
                  <c:v>-292.19863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B3-4F5F-8C3D-A0BDDEF412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-7.2606962413364312E-2</c:v>
                </c:pt>
                <c:pt idx="1">
                  <c:v>-8.956708904614219E-2</c:v>
                </c:pt>
                <c:pt idx="2">
                  <c:v>-4.533411015061325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2B3-4F5F-8C3D-A0BDDEF4124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-50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3821.3870326699998</c:v>
                </c:pt>
                <c:pt idx="1">
                  <c:v>5627.4152266000001</c:v>
                </c:pt>
                <c:pt idx="2">
                  <c:v>7121.03711235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219.71553220000001</c:v>
                </c:pt>
                <c:pt idx="1">
                  <c:v>257.20795748</c:v>
                </c:pt>
                <c:pt idx="2">
                  <c:v>761.1753475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FE-472F-B9B3-C032A351B1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1.5298633976436815</c:v>
                </c:pt>
                <c:pt idx="1">
                  <c:v>1.6099593412952327</c:v>
                </c:pt>
                <c:pt idx="2">
                  <c:v>2.6359414424439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DF4-4CDB-BF9C-5DC264442E7D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DF4-4CDB-BF9C-5DC264442E7D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5.1761488332975017E-2</c:v>
                </c:pt>
                <c:pt idx="1">
                  <c:v>-1.1697553158117873</c:v>
                </c:pt>
                <c:pt idx="2">
                  <c:v>-0.289514955444138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1828.28103975</c:v>
                </c:pt>
                <c:pt idx="1">
                  <c:v>554.58268223999994</c:v>
                </c:pt>
                <c:pt idx="2">
                  <c:v>857.9063229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9.3956706299999997</c:v>
                </c:pt>
                <c:pt idx="1">
                  <c:v>-295.80849340000003</c:v>
                </c:pt>
                <c:pt idx="2">
                  <c:v>-210.43711246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4987210836202182E-2"/>
                  <c:y val="-9.17285747299140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5F-442F-B979-917B06C9E41B}"/>
                </c:ext>
              </c:extLst>
            </c:dLbl>
            <c:dLbl>
              <c:idx val="2"/>
              <c:layout>
                <c:manualLayout>
                  <c:x val="-5.9331464560342329E-2"/>
                  <c:y val="0.222430860241149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5F-442F-B979-917B06C9E4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5.1390734934738305E-3</c:v>
                </c:pt>
                <c:pt idx="1">
                  <c:v>-0.53338934458827292</c:v>
                </c:pt>
                <c:pt idx="2">
                  <c:v>-0.24529148094390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427</c:v>
                </c:pt>
                <c:pt idx="1">
                  <c:v>805.11285911000004</c:v>
                </c:pt>
                <c:pt idx="2">
                  <c:v>712.49277047999999</c:v>
                </c:pt>
                <c:pt idx="3">
                  <c:v>735.98645252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5.91664492</c:v>
                </c:pt>
                <c:pt idx="1">
                  <c:v>330.65088478999996</c:v>
                </c:pt>
                <c:pt idx="2">
                  <c:v>260.87206555</c:v>
                </c:pt>
                <c:pt idx="3">
                  <c:v>262.15075472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6978277295715152</c:v>
                </c:pt>
                <c:pt idx="1">
                  <c:v>2.3998502013133294</c:v>
                </c:pt>
                <c:pt idx="2">
                  <c:v>3.204772359021844</c:v>
                </c:pt>
                <c:pt idx="3">
                  <c:v>2.9016192628468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3.9864139899061652</c:v>
                </c:pt>
                <c:pt idx="1">
                  <c:v>0.20512948906607639</c:v>
                </c:pt>
                <c:pt idx="2">
                  <c:v>-1.0854775442635198</c:v>
                </c:pt>
                <c:pt idx="3">
                  <c:v>4.2652529261790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335.9411150000001</c:v>
                </c:pt>
                <c:pt idx="1">
                  <c:v>1395.6429567799998</c:v>
                </c:pt>
                <c:pt idx="2">
                  <c:v>1896.8676530299999</c:v>
                </c:pt>
                <c:pt idx="3">
                  <c:v>1397.855178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50.66138935</c:v>
                </c:pt>
                <c:pt idx="1">
                  <c:v>8.9446372699999994</c:v>
                </c:pt>
                <c:pt idx="2">
                  <c:v>-52.129460900000005</c:v>
                </c:pt>
                <c:pt idx="3">
                  <c:v>114.64183171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3.7921873038543316E-2</c:v>
                </c:pt>
                <c:pt idx="1">
                  <c:v>6.4089724571368099E-3</c:v>
                </c:pt>
                <c:pt idx="2">
                  <c:v>-2.7481865071993797E-2</c:v>
                </c:pt>
                <c:pt idx="3">
                  <c:v>8.20126673118145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777751227290504E-2"/>
          <c:y val="0.11571265160883656"/>
          <c:w val="0.88388894729996093"/>
          <c:h val="0.69318670323307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0.81292477135173691</c:v>
                </c:pt>
                <c:pt idx="1">
                  <c:v>9.1212908946627529</c:v>
                </c:pt>
                <c:pt idx="2">
                  <c:v>18.932884090407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DF-4F97-BC4D-D25CA33FE4F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-3.3029482419595508</c:v>
                </c:pt>
                <c:pt idx="1">
                  <c:v>3.4475287406569542E-2</c:v>
                </c:pt>
                <c:pt idx="2">
                  <c:v>3.2945648790322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EB-4904-BD2A-03A9859B318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1180.4833919</c:v>
                </c:pt>
                <c:pt idx="1">
                  <c:v>4302.0385761200005</c:v>
                </c:pt>
                <c:pt idx="2">
                  <c:v>5644.46131523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95.289155940000001</c:v>
                </c:pt>
                <c:pt idx="1">
                  <c:v>944.06932495000001</c:v>
                </c:pt>
                <c:pt idx="2">
                  <c:v>1195.31310587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8.0720454513664219E-2</c:v>
                </c:pt>
                <c:pt idx="1">
                  <c:v>0.21944696874416553</c:v>
                </c:pt>
                <c:pt idx="2">
                  <c:v>0.211767436981570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971486798814573"/>
          <c:y val="0"/>
          <c:w val="0.64864186899398713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10.9167604648318</c:v>
                </c:pt>
                <c:pt idx="1">
                  <c:v>17.909037740932021</c:v>
                </c:pt>
                <c:pt idx="2">
                  <c:v>4.432160779729732</c:v>
                </c:pt>
                <c:pt idx="3">
                  <c:v>1.0799602613094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ED-4F5C-84C2-CC4DF8AF993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2947.2670967200002</c:v>
                </c:pt>
                <c:pt idx="1">
                  <c:v>1935.09225952</c:v>
                </c:pt>
                <c:pt idx="2">
                  <c:v>935.19798605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DA-41E2-BA71-19AE47A299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417.67664470000005</c:v>
                </c:pt>
                <c:pt idx="1">
                  <c:v>1107.85144489</c:v>
                </c:pt>
                <c:pt idx="2">
                  <c:v>949.26075137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7470944229826216"/>
                  <c:y val="-1.46976653603279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9DA-41E2-BA71-19AE47A299A3}"/>
                </c:ext>
              </c:extLst>
            </c:dLbl>
            <c:dLbl>
              <c:idx val="1"/>
              <c:layout>
                <c:manualLayout>
                  <c:x val="-0.15474767786519034"/>
                  <c:y val="5.89143141102378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DA-41E2-BA71-19AE47A299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-47.408501029758305</c:v>
                </c:pt>
                <c:pt idx="1">
                  <c:v>3.260630300680929</c:v>
                </c:pt>
                <c:pt idx="2">
                  <c:v>2.1772416732738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694992369031792"/>
          <c:y val="9.8149305960754194E-3"/>
          <c:w val="0.36022222088558487"/>
          <c:h val="0.13703575185073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428.01315302</c:v>
                </c:pt>
                <c:pt idx="1">
                  <c:v>989.39670803000001</c:v>
                </c:pt>
                <c:pt idx="2">
                  <c:v>2435.4807841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-469.95708539999998</c:v>
                </c:pt>
                <c:pt idx="1">
                  <c:v>6.9137551099999994</c:v>
                </c:pt>
                <c:pt idx="2">
                  <c:v>764.42969832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-1.0979968304339471</c:v>
                </c:pt>
                <c:pt idx="1">
                  <c:v>6.9878493165456985E-3</c:v>
                </c:pt>
                <c:pt idx="2">
                  <c:v>0.31387219448308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2625</c:v>
                </c:pt>
                <c:pt idx="1">
                  <c:v>3600</c:v>
                </c:pt>
                <c:pt idx="2">
                  <c:v>3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FE-4901-BA1A-B1F10F42AD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354.60710190999998</c:v>
                </c:pt>
                <c:pt idx="1">
                  <c:v>385.78513621999997</c:v>
                </c:pt>
                <c:pt idx="2">
                  <c:v>499.33225791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D4-4A21-99D2-7F4B483187A2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4D4-4A21-99D2-7F4B483187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-17.145121539189361</c:v>
                </c:pt>
                <c:pt idx="1">
                  <c:v>-14.641898919066366</c:v>
                </c:pt>
                <c:pt idx="2">
                  <c:v>-124.27676336896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777751227290504E-2"/>
          <c:y val="0.11571265160883656"/>
          <c:w val="0.88388894729996093"/>
          <c:h val="0.69318670323307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0%</c:formatCode>
                <c:ptCount val="3"/>
                <c:pt idx="0">
                  <c:v>-2.0508122895143102E-2</c:v>
                </c:pt>
                <c:pt idx="1">
                  <c:v>4.3204947908001633E-2</c:v>
                </c:pt>
                <c:pt idx="2">
                  <c:v>-0.896582789968022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DF-4F97-BC4D-D25CA33FE4F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E3B-40DC-BAF9-9465BB31EC6E}"/>
                </c:ext>
              </c:extLst>
            </c:dLbl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4.7334619451819702</c:v>
                </c:pt>
                <c:pt idx="1">
                  <c:v>12.776908548113415</c:v>
                </c:pt>
                <c:pt idx="2">
                  <c:v>0.75491941989475031</c:v>
                </c:pt>
                <c:pt idx="3">
                  <c:v>-5.1803537372302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EB-4904-BD2A-03A9859B318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574.84068479000007</c:v>
                </c:pt>
                <c:pt idx="1">
                  <c:v>1451.2455809</c:v>
                </c:pt>
                <c:pt idx="2">
                  <c:v>1696.72051513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_(* #,##0_);_(* \(#,##0\);_(* "-"_);_(@_)</c:formatCode>
                <c:ptCount val="3"/>
                <c:pt idx="0">
                  <c:v>-4.61625423</c:v>
                </c:pt>
                <c:pt idx="1">
                  <c:v>8.9439126800000004</c:v>
                </c:pt>
                <c:pt idx="2">
                  <c:v>-178.74513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81-4B6D-AB1B-B8ECAD04DF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-8.0304932342887374E-3</c:v>
                </c:pt>
                <c:pt idx="1">
                  <c:v>6.1629215604249209E-3</c:v>
                </c:pt>
                <c:pt idx="2">
                  <c:v>-0.105347421201688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971486798814573"/>
          <c:y val="0"/>
          <c:w val="0.64864186899398713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B$2:$B$4</c:f>
              <c:numCache>
                <c:formatCode>_(* #,##0_);_(* \(#,##0\);_(* "-"_);_(@_)</c:formatCode>
                <c:ptCount val="3"/>
                <c:pt idx="0">
                  <c:v>5055.8005410299993</c:v>
                </c:pt>
                <c:pt idx="1">
                  <c:v>4809.4178453599998</c:v>
                </c:pt>
                <c:pt idx="2">
                  <c:v>4288.13291543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DA-41E2-BA71-19AE47A299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C$2:$C$4</c:f>
              <c:numCache>
                <c:formatCode>_(* #,##0_);_(* \(#,##0\);_(* "-"_);_(@_)</c:formatCode>
                <c:ptCount val="3"/>
                <c:pt idx="0">
                  <c:v>288.68305550000002</c:v>
                </c:pt>
                <c:pt idx="1">
                  <c:v>353.97951852</c:v>
                </c:pt>
                <c:pt idx="2">
                  <c:v>657.04555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Sheet1!$D$2:$D$4</c:f>
              <c:numCache>
                <c:formatCode>0.0%</c:formatCode>
                <c:ptCount val="3"/>
                <c:pt idx="0">
                  <c:v>283.30566588998744</c:v>
                </c:pt>
                <c:pt idx="1">
                  <c:v>-39.542982196973689</c:v>
                </c:pt>
                <c:pt idx="2">
                  <c:v>-16.26270590163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694992369031792"/>
          <c:y val="9.8149305960754194E-3"/>
          <c:w val="0.36022222088558487"/>
          <c:h val="0.13703575185073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337.4887121000002</c:v>
                </c:pt>
                <c:pt idx="1">
                  <c:v>3714.9303384699997</c:v>
                </c:pt>
                <c:pt idx="2">
                  <c:v>1790.84157246</c:v>
                </c:pt>
                <c:pt idx="3">
                  <c:v>192.02693923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21.80715993000001</c:v>
                </c:pt>
                <c:pt idx="1">
                  <c:v>493.75496912</c:v>
                </c:pt>
                <c:pt idx="2">
                  <c:v>26.48101299</c:v>
                </c:pt>
                <c:pt idx="3">
                  <c:v>-165.16212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1FE-49ED-8FE3-41CDA9205C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9.4891221840694345E-2</c:v>
                </c:pt>
                <c:pt idx="1">
                  <c:v>0.13291096309583933</c:v>
                </c:pt>
                <c:pt idx="2">
                  <c:v>1.4786909907180791E-2</c:v>
                </c:pt>
                <c:pt idx="3">
                  <c:v>-0.86009874512229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223.5849745999999</c:v>
                </c:pt>
                <c:pt idx="1">
                  <c:v>1201.0729992900001</c:v>
                </c:pt>
                <c:pt idx="2">
                  <c:v>752.58669588000009</c:v>
                </c:pt>
                <c:pt idx="3">
                  <c:v>600.8084077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FE-4901-BA1A-B1F10F42AD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323.30946435000004</c:v>
                </c:pt>
                <c:pt idx="1">
                  <c:v>403.86386039999996</c:v>
                </c:pt>
                <c:pt idx="2">
                  <c:v>309.87730758999999</c:v>
                </c:pt>
                <c:pt idx="3">
                  <c:v>195.3156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3.8274821857017721E-2"/>
                  <c:y val="-5.89139276956475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441-4D36-97EE-EEC0103C18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2304795821880909</c:v>
                </c:pt>
                <c:pt idx="1">
                  <c:v>1.0576942416097932</c:v>
                </c:pt>
                <c:pt idx="2">
                  <c:v>0.4714541203665939</c:v>
                </c:pt>
                <c:pt idx="3">
                  <c:v>0.391647680921016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38413.067488419998</c:v>
                </c:pt>
                <c:pt idx="1">
                  <c:v>37443.031556069996</c:v>
                </c:pt>
                <c:pt idx="2">
                  <c:v>36568.09104834</c:v>
                </c:pt>
                <c:pt idx="3">
                  <c:v>40414.02588341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733.3002308900004</c:v>
                </c:pt>
                <c:pt idx="1">
                  <c:v>7669.9485773599999</c:v>
                </c:pt>
                <c:pt idx="2">
                  <c:v>7269.2653106600001</c:v>
                </c:pt>
                <c:pt idx="3">
                  <c:v>7073.2238500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FE-472F-B9B3-C032A351B1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0.040672124680416</c:v>
                </c:pt>
                <c:pt idx="1">
                  <c:v>8.18605650032376</c:v>
                </c:pt>
                <c:pt idx="2">
                  <c:v>6.9252782684917102</c:v>
                </c:pt>
                <c:pt idx="3">
                  <c:v>7.7920864806674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53336443486374"/>
          <c:y val="0.19683740840105324"/>
          <c:w val="0.75830270100704611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50932.924897189994</c:v>
                </c:pt>
                <c:pt idx="1">
                  <c:v>56901.599005190001</c:v>
                </c:pt>
                <c:pt idx="2">
                  <c:v>59313.429216329998</c:v>
                </c:pt>
                <c:pt idx="3">
                  <c:v>30586.91957158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A9-4FD2-B77C-328A0EEA425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3594.9404371599999</c:v>
                </c:pt>
                <c:pt idx="1">
                  <c:v>4972.3891341899998</c:v>
                </c:pt>
                <c:pt idx="2">
                  <c:v>3657.7326337</c:v>
                </c:pt>
                <c:pt idx="3">
                  <c:v>1153.16940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A9-4FD2-B77C-328A0EEA42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5.677765355040057E-2"/>
                  <c:y val="0.144325234552112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A9-4FD2-B77C-328A0EEA42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7.0581857303826961E-2</c:v>
                </c:pt>
                <c:pt idx="1">
                  <c:v>8.7385754023124512E-2</c:v>
                </c:pt>
                <c:pt idx="2">
                  <c:v>6.1667866485334892E-2</c:v>
                </c:pt>
                <c:pt idx="3">
                  <c:v>3.770139080795492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7A9-4FD2-B77C-328A0EEA425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7265190148322127"/>
          <c:y val="5.2596659822198438E-2"/>
          <c:w val="0.47619506290016411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2.484933279847708</c:v>
                </c:pt>
                <c:pt idx="1">
                  <c:v>2.1436798666952366</c:v>
                </c:pt>
                <c:pt idx="2">
                  <c:v>0.10921869662969182</c:v>
                </c:pt>
                <c:pt idx="3">
                  <c:v>0.22944055166577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3178.58519315</c:v>
                </c:pt>
                <c:pt idx="1">
                  <c:v>11578.586484759999</c:v>
                </c:pt>
                <c:pt idx="2">
                  <c:v>14565.034486080001</c:v>
                </c:pt>
                <c:pt idx="3">
                  <c:v>7037.02497723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1078.3320039500002</c:v>
                </c:pt>
                <c:pt idx="1">
                  <c:v>1070.71491339</c:v>
                </c:pt>
                <c:pt idx="2">
                  <c:v>113.13859442</c:v>
                </c:pt>
                <c:pt idx="3">
                  <c:v>189.00768998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5F-442F-B979-917B06C9E41B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FD6-4A61-B359-E9CE96C5B3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8.1824565243202155E-2</c:v>
                </c:pt>
                <c:pt idx="1">
                  <c:v>9.2473715578261603E-2</c:v>
                </c:pt>
                <c:pt idx="2">
                  <c:v>7.7678219387759149E-3</c:v>
                </c:pt>
                <c:pt idx="3">
                  <c:v>2.685903355488721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777751227290504E-2"/>
          <c:y val="0.11571265160883656"/>
          <c:w val="0.88388894729996093"/>
          <c:h val="0.69318670323307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1.2885736876079221</c:v>
                </c:pt>
                <c:pt idx="1">
                  <c:v>1.0262324779844314</c:v>
                </c:pt>
                <c:pt idx="2">
                  <c:v>0.92577772196511154</c:v>
                </c:pt>
                <c:pt idx="3">
                  <c:v>1.96128090058912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DF-4F97-BC4D-D25CA33FE4F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9.0015121750877114E-2</c:v>
                </c:pt>
                <c:pt idx="1">
                  <c:v>1.2755227335519053</c:v>
                </c:pt>
                <c:pt idx="2">
                  <c:v>0.38159975354729303</c:v>
                </c:pt>
                <c:pt idx="3">
                  <c:v>6.78924191249806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EB-4904-BD2A-03A9859B318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7491.5417533600003</c:v>
                </c:pt>
                <c:pt idx="1">
                  <c:v>8996.0117491399997</c:v>
                </c:pt>
                <c:pt idx="2">
                  <c:v>9115.9789975399999</c:v>
                </c:pt>
                <c:pt idx="3">
                  <c:v>4910.70082637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31.28736064</c:v>
                </c:pt>
                <c:pt idx="1">
                  <c:v>287.67287448000002</c:v>
                </c:pt>
                <c:pt idx="2">
                  <c:v>221.15198050999999</c:v>
                </c:pt>
                <c:pt idx="3">
                  <c:v>289.93117847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3.0873132427816512E-2</c:v>
                </c:pt>
                <c:pt idx="1">
                  <c:v>3.1977823340159701E-2</c:v>
                </c:pt>
                <c:pt idx="2">
                  <c:v>2.425981680845021E-2</c:v>
                </c:pt>
                <c:pt idx="3">
                  <c:v>5.90406927077509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971486798814573"/>
          <c:y val="0"/>
          <c:w val="0.64864186899398713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4443.6132353900002</c:v>
                </c:pt>
                <c:pt idx="1">
                  <c:v>5272.88888288</c:v>
                </c:pt>
                <c:pt idx="2">
                  <c:v>6253.1846606899999</c:v>
                </c:pt>
                <c:pt idx="3">
                  <c:v>3701.73486375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7-4CE4-BB6B-7133BE295ED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21.325367010000001</c:v>
                </c:pt>
                <c:pt idx="1">
                  <c:v>123.84924434</c:v>
                </c:pt>
                <c:pt idx="2">
                  <c:v>204.63968046000002</c:v>
                </c:pt>
                <c:pt idx="3">
                  <c:v>269.0668205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37-4CE4-BB6B-7133BE29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4.7991051156657085E-3</c:v>
                </c:pt>
                <c:pt idx="1">
                  <c:v>2.3487929878839919E-2</c:v>
                </c:pt>
                <c:pt idx="2">
                  <c:v>3.2725673646973243E-2</c:v>
                </c:pt>
                <c:pt idx="3">
                  <c:v>7.26866808139516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37-4CE4-BB6B-7133BE295ED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291.06983931999997</c:v>
                </c:pt>
                <c:pt idx="1">
                  <c:v>715.88042633000009</c:v>
                </c:pt>
                <c:pt idx="2">
                  <c:v>416.30127633999996</c:v>
                </c:pt>
                <c:pt idx="3">
                  <c:v>449.87020708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FE-4901-BA1A-B1F10F42AD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453.93331582999997</c:v>
                </c:pt>
                <c:pt idx="1">
                  <c:v>675.11272370000006</c:v>
                </c:pt>
                <c:pt idx="2">
                  <c:v>288.00351187000001</c:v>
                </c:pt>
                <c:pt idx="3">
                  <c:v>503.92667483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16843447810346904</c:v>
                </c:pt>
                <c:pt idx="1">
                  <c:v>0.22314591584234253</c:v>
                </c:pt>
                <c:pt idx="2">
                  <c:v>0.20843522957278468</c:v>
                </c:pt>
                <c:pt idx="3">
                  <c:v>0.262949125065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8FE-4901-BA1A-B1F10F42A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90402774527594"/>
          <c:y val="0.12618059317730942"/>
          <c:w val="0.42916632097923979"/>
          <c:h val="0.77648852696439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5335.4786378899998</c:v>
                </c:pt>
                <c:pt idx="1">
                  <c:v>5367.7822246800006</c:v>
                </c:pt>
                <c:pt idx="2">
                  <c:v>5256.1432090999997</c:v>
                </c:pt>
                <c:pt idx="3">
                  <c:v>5380.70030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DA-41E2-BA71-19AE47A299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958.39175548000003</c:v>
                </c:pt>
                <c:pt idx="1">
                  <c:v>802.02775609999992</c:v>
                </c:pt>
                <c:pt idx="2">
                  <c:v>528.47801867999999</c:v>
                </c:pt>
                <c:pt idx="3">
                  <c:v>539.20435926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0.90436253861442062</c:v>
                </c:pt>
                <c:pt idx="1">
                  <c:v>0.86906599472764623</c:v>
                </c:pt>
                <c:pt idx="2">
                  <c:v>0.79850373386446261</c:v>
                </c:pt>
                <c:pt idx="3">
                  <c:v>0.77458871503999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DA-41E2-BA71-19AE47A29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694992369031792"/>
          <c:y val="9.8149305960754194E-3"/>
          <c:w val="0.36022222088558487"/>
          <c:h val="0.137035751850732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3359.717396579999</c:v>
                </c:pt>
                <c:pt idx="1">
                  <c:v>11873.805644640001</c:v>
                </c:pt>
                <c:pt idx="2">
                  <c:v>11909.941170580001</c:v>
                </c:pt>
                <c:pt idx="3">
                  <c:v>12413.99449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9A-445F-872C-4071EDE03B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947.1169457599999</c:v>
                </c:pt>
                <c:pt idx="1">
                  <c:v>2200.0739400299999</c:v>
                </c:pt>
                <c:pt idx="2">
                  <c:v>2812.8029004099999</c:v>
                </c:pt>
                <c:pt idx="3">
                  <c:v>4138.79308092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9A-445F-872C-4071EDE03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D9A-445F-872C-4071EDE03B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7191194203065923</c:v>
                </c:pt>
                <c:pt idx="1">
                  <c:v>1.4835179291670031</c:v>
                </c:pt>
                <c:pt idx="2">
                  <c:v>1.2799247206247009</c:v>
                </c:pt>
                <c:pt idx="3">
                  <c:v>1.1765774088594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D9A-445F-872C-4071EDE03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3.6113694494979089</c:v>
                </c:pt>
                <c:pt idx="1">
                  <c:v>3.4432934603599392</c:v>
                </c:pt>
                <c:pt idx="2">
                  <c:v>4.5847183183363178</c:v>
                </c:pt>
                <c:pt idx="3">
                  <c:v>2.9867959446352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E8-4254-98EC-C550BED5E2B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0370.04147292</c:v>
                </c:pt>
                <c:pt idx="1">
                  <c:v>9610.7537762399988</c:v>
                </c:pt>
                <c:pt idx="2">
                  <c:v>38908.644392349997</c:v>
                </c:pt>
                <c:pt idx="3">
                  <c:v>28446.37512525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3-4FCF-B842-CF27ADC835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2E5-4562-80A2-6C4CCE59892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2E5-4562-80A2-6C4CCE5989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8716.5199667599991</c:v>
                </c:pt>
                <c:pt idx="1">
                  <c:v>3455.83748599</c:v>
                </c:pt>
                <c:pt idx="2">
                  <c:v>5711.2581847299998</c:v>
                </c:pt>
                <c:pt idx="3">
                  <c:v>18564.22508883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3600808846501145E-2"/>
                  <c:y val="-3.43522570862640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438-4E79-800F-E498EFA00E58}"/>
                </c:ext>
              </c:extLst>
            </c:dLbl>
            <c:dLbl>
              <c:idx val="1"/>
              <c:layout>
                <c:manualLayout>
                  <c:x val="-6.1041132385101622E-2"/>
                  <c:y val="-4.90746529803770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438-4E79-800F-E498EFA00E58}"/>
                </c:ext>
              </c:extLst>
            </c:dLbl>
            <c:dLbl>
              <c:idx val="2"/>
              <c:layout>
                <c:manualLayout>
                  <c:x val="-5.2320970615801342E-2"/>
                  <c:y val="-3.43522570862639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438-4E79-800F-E498EFA00E58}"/>
                </c:ext>
              </c:extLst>
            </c:dLbl>
            <c:dLbl>
              <c:idx val="3"/>
              <c:layout>
                <c:manualLayout>
                  <c:x val="-4.3600808846501228E-2"/>
                  <c:y val="-3.9259722384301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438-4E79-800F-E498EFA00E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4082814261900503</c:v>
                </c:pt>
                <c:pt idx="1">
                  <c:v>1.4381589710498008</c:v>
                </c:pt>
                <c:pt idx="2">
                  <c:v>2.6867931477575207</c:v>
                </c:pt>
                <c:pt idx="3">
                  <c:v>2.31887244540558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D33-4FCF-B842-CF27ADC83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  <c:max val="50000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  <c:majorUnit val="10000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9319.2405276200006</c:v>
                </c:pt>
                <c:pt idx="1">
                  <c:v>12623.51231376</c:v>
                </c:pt>
                <c:pt idx="2">
                  <c:v>18064.855728030001</c:v>
                </c:pt>
                <c:pt idx="3">
                  <c:v>7835.45494710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41-48F7-B165-E3F70607D2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1757.85139364</c:v>
                </c:pt>
                <c:pt idx="1">
                  <c:v>2561.0120970299999</c:v>
                </c:pt>
                <c:pt idx="2">
                  <c:v>3058.24732103</c:v>
                </c:pt>
                <c:pt idx="3">
                  <c:v>1475.6243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41-48F7-B165-E3F70607D2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0.18862603539742845</c:v>
                </c:pt>
                <c:pt idx="1">
                  <c:v>0.20287634957494527</c:v>
                </c:pt>
                <c:pt idx="2">
                  <c:v>0.16929265127120427</c:v>
                </c:pt>
                <c:pt idx="3">
                  <c:v>0.18832657296361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041-48F7-B165-E3F70607D24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  <c:max val="5000"/>
          <c:min val="0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  <c:majorUnit val="2500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13514.236610850001</c:v>
                </c:pt>
                <c:pt idx="1">
                  <c:v>15562.443725179999</c:v>
                </c:pt>
                <c:pt idx="2">
                  <c:v>13822.495623699999</c:v>
                </c:pt>
                <c:pt idx="3">
                  <c:v>14904.229707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3987.9319595399998</c:v>
                </c:pt>
                <c:pt idx="1">
                  <c:v>3926.6432361800003</c:v>
                </c:pt>
                <c:pt idx="2">
                  <c:v>759.54106117000003</c:v>
                </c:pt>
                <c:pt idx="3">
                  <c:v>3314.47032866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.858903511281355</c:v>
                </c:pt>
                <c:pt idx="1">
                  <c:v>1.8160029266792983</c:v>
                </c:pt>
                <c:pt idx="2">
                  <c:v>0.8978046443440536</c:v>
                </c:pt>
                <c:pt idx="3">
                  <c:v>1.08521304005332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-0.23025166865311425</c:v>
                </c:pt>
                <c:pt idx="1">
                  <c:v>0.67400258864808593</c:v>
                </c:pt>
                <c:pt idx="2">
                  <c:v>-0.75414061883341821</c:v>
                </c:pt>
                <c:pt idx="3">
                  <c:v>-0.512352181762236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30097.65572269</c:v>
                </c:pt>
                <c:pt idx="1">
                  <c:v>28957.666896000002</c:v>
                </c:pt>
                <c:pt idx="2">
                  <c:v>26440.141100360001</c:v>
                </c:pt>
                <c:pt idx="3">
                  <c:v>13719.35654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-106.75618149</c:v>
                </c:pt>
                <c:pt idx="1">
                  <c:v>268.05177105999996</c:v>
                </c:pt>
                <c:pt idx="2">
                  <c:v>-410.81522633000003</c:v>
                </c:pt>
                <c:pt idx="3">
                  <c:v>-155.47910992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5F-442F-B979-917B06C9E4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-3.546993243381368E-3</c:v>
                </c:pt>
                <c:pt idx="1">
                  <c:v>9.2566770666536909E-3</c:v>
                </c:pt>
                <c:pt idx="2">
                  <c:v>-1.5537558017207648E-2</c:v>
                </c:pt>
                <c:pt idx="3">
                  <c:v>-1.13328281431859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3689.0555377800001</c:v>
                </c:pt>
                <c:pt idx="1">
                  <c:v>5139.8937081399999</c:v>
                </c:pt>
                <c:pt idx="2">
                  <c:v>4834.2505643000004</c:v>
                </c:pt>
                <c:pt idx="3">
                  <c:v>5580.59336541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244.47909165000002</c:v>
                </c:pt>
                <c:pt idx="1">
                  <c:v>328.49167420999999</c:v>
                </c:pt>
                <c:pt idx="2">
                  <c:v>224.01114302999997</c:v>
                </c:pt>
                <c:pt idx="3">
                  <c:v>571.46471668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2.3051739707651016</c:v>
                </c:pt>
                <c:pt idx="1">
                  <c:v>2.7381887153031945</c:v>
                </c:pt>
                <c:pt idx="2">
                  <c:v>2.5249813278428492</c:v>
                </c:pt>
                <c:pt idx="3">
                  <c:v>2.7810593646153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2.9511239570104206</c:v>
                </c:pt>
                <c:pt idx="1">
                  <c:v>2.9470879232217477</c:v>
                </c:pt>
                <c:pt idx="2">
                  <c:v>1.5353328972787796</c:v>
                </c:pt>
                <c:pt idx="3">
                  <c:v>0.881504366397517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14420.690198349999</c:v>
                </c:pt>
                <c:pt idx="1">
                  <c:v>13476.8746142</c:v>
                </c:pt>
                <c:pt idx="2">
                  <c:v>13794.617880840002</c:v>
                </c:pt>
                <c:pt idx="3">
                  <c:v>6848.43904159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803.82114772999989</c:v>
                </c:pt>
                <c:pt idx="1">
                  <c:v>667.86287716000004</c:v>
                </c:pt>
                <c:pt idx="2">
                  <c:v>375.87941637000006</c:v>
                </c:pt>
                <c:pt idx="3">
                  <c:v>147.57154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5.5740823544075051E-2</c:v>
                </c:pt>
                <c:pt idx="1">
                  <c:v>4.9556213608777051E-2</c:v>
                </c:pt>
                <c:pt idx="2">
                  <c:v>2.7248265926385448E-2</c:v>
                </c:pt>
                <c:pt idx="3">
                  <c:v>2.154820143886954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차입부채</c:v>
                </c:pt>
              </c:strCache>
            </c:strRef>
          </c:tx>
          <c:spPr>
            <a:solidFill>
              <a:srgbClr val="00C0AE">
                <a:alpha val="3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_(* #,##0_);_(* \(#,##0\);_(* "-"_);_(@_)</c:formatCode>
                <c:ptCount val="4"/>
                <c:pt idx="0">
                  <c:v>413.69681529000002</c:v>
                </c:pt>
                <c:pt idx="1">
                  <c:v>1773.5151827900002</c:v>
                </c:pt>
                <c:pt idx="2">
                  <c:v>2080.2549512999999</c:v>
                </c:pt>
                <c:pt idx="3">
                  <c:v>2158.6473689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FE-472F-B9B3-C032A351B1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현금및현금성자산</c:v>
                </c:pt>
              </c:strCache>
            </c:strRef>
          </c:tx>
          <c:spPr>
            <a:solidFill>
              <a:srgbClr val="00C0AE">
                <a:alpha val="70000"/>
              </a:srgbClr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6733.3002308900004</c:v>
                </c:pt>
                <c:pt idx="1">
                  <c:v>7669.9485773599999</c:v>
                </c:pt>
                <c:pt idx="2">
                  <c:v>7269.2653106600001</c:v>
                </c:pt>
                <c:pt idx="3">
                  <c:v>7073.2238500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739103"/>
        <c:axId val="171756159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부채비율</c:v>
                </c:pt>
              </c:strCache>
            </c:strRef>
          </c:tx>
          <c:spPr>
            <a:ln w="19050" cap="rnd">
              <a:solidFill>
                <a:srgbClr val="008AB8"/>
              </a:solidFill>
              <a:round/>
            </a:ln>
            <a:effectLst/>
          </c:spPr>
          <c:marker>
            <c:symbol val="square"/>
            <c:size val="5"/>
            <c:spPr>
              <a:noFill/>
              <a:ln w="9525">
                <a:solidFill>
                  <a:srgbClr val="008AB8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6.454384513358899E-2"/>
                  <c:y val="-9.6775215677303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FE-472F-B9B3-C032A351B1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0.0%</c:formatCode>
                <c:ptCount val="4"/>
                <c:pt idx="0">
                  <c:v>10.040672124680416</c:v>
                </c:pt>
                <c:pt idx="1">
                  <c:v>8.18605650032376</c:v>
                </c:pt>
                <c:pt idx="2">
                  <c:v>6.9252782684917102</c:v>
                </c:pt>
                <c:pt idx="3">
                  <c:v>7.7920864806674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2FE-472F-B9B3-C032A351B1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9490415"/>
        <c:axId val="499489583"/>
      </c:lineChart>
      <c:catAx>
        <c:axId val="171739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56159"/>
        <c:crosses val="autoZero"/>
        <c:auto val="1"/>
        <c:lblAlgn val="ctr"/>
        <c:lblOffset val="100"/>
        <c:noMultiLvlLbl val="0"/>
      </c:catAx>
      <c:valAx>
        <c:axId val="171756159"/>
        <c:scaling>
          <c:orientation val="minMax"/>
        </c:scaling>
        <c:delete val="0"/>
        <c:axPos val="l"/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171739103"/>
        <c:crosses val="autoZero"/>
        <c:crossBetween val="between"/>
      </c:valAx>
      <c:valAx>
        <c:axId val="499489583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499490415"/>
        <c:crosses val="max"/>
        <c:crossBetween val="between"/>
      </c:valAx>
      <c:catAx>
        <c:axId val="4994904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9948958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계열 1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4.613853502373801</c:v>
                </c:pt>
                <c:pt idx="1">
                  <c:v>2.9596077138962338</c:v>
                </c:pt>
                <c:pt idx="2">
                  <c:v>7.2972452519472606</c:v>
                </c:pt>
                <c:pt idx="3">
                  <c:v>4.7606085764829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F4-4CDB-BF9C-5DC26444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7326848"/>
        <c:axId val="97332672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9732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549065345387853E-2"/>
          <c:y val="0.19683740840105324"/>
          <c:w val="0.78128700009652197"/>
          <c:h val="0.6348532801679117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매출액</c:v>
                </c:pt>
              </c:strCache>
            </c:strRef>
          </c:tx>
          <c:spPr>
            <a:solidFill>
              <a:srgbClr val="E5F4FB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C$2:$C$5</c:f>
              <c:numCache>
                <c:formatCode>_(* #,##0_);_(* \(#,##0\);_(* "-"_);_(@_)</c:formatCode>
                <c:ptCount val="4"/>
                <c:pt idx="0">
                  <c:v>5253.86587151</c:v>
                </c:pt>
                <c:pt idx="1">
                  <c:v>5473.0765102400001</c:v>
                </c:pt>
                <c:pt idx="2">
                  <c:v>10920.410703580001</c:v>
                </c:pt>
                <c:pt idx="3">
                  <c:v>6049.04044839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F-442F-B979-917B06C9E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영업이익</c:v>
                </c:pt>
              </c:strCache>
            </c:strRef>
          </c:tx>
          <c:spPr>
            <a:solidFill>
              <a:srgbClr val="2272FF"/>
            </a:solidFill>
            <a:ln>
              <a:noFill/>
            </a:ln>
            <a:effectLst/>
          </c:spPr>
          <c:invertIfNegative val="0"/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D$2:$D$5</c:f>
              <c:numCache>
                <c:formatCode>_(* #,##0_);_(* \(#,##0\);_(* "-"_);_(@_)</c:formatCode>
                <c:ptCount val="4"/>
                <c:pt idx="0">
                  <c:v>113.52233944</c:v>
                </c:pt>
                <c:pt idx="1">
                  <c:v>58.672083249999993</c:v>
                </c:pt>
                <c:pt idx="2">
                  <c:v>402.77499661000002</c:v>
                </c:pt>
                <c:pt idx="3">
                  <c:v>220.0796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5F-442F-B979-917B06C9E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326848"/>
        <c:axId val="973326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영업이익률</c:v>
                </c:pt>
              </c:strCache>
            </c:strRef>
          </c:tx>
          <c:spPr>
            <a:ln w="190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KoPub돋움체 Medium" panose="00000600000000000000" pitchFamily="2" charset="-127"/>
                    <a:ea typeface="KoPub돋움체 Medium" panose="00000600000000000000" pitchFamily="2" charset="-127"/>
                    <a:cs typeface="+mn-cs"/>
                  </a:defRPr>
                </a:pPr>
                <a:endParaRPr lang="ko-K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.06</c:v>
                </c:pt>
              </c:numCache>
            </c:numRef>
          </c:cat>
          <c:val>
            <c:numRef>
              <c:f>Sheet1!$B$2:$B$5</c:f>
              <c:numCache>
                <c:formatCode>0.0%</c:formatCode>
                <c:ptCount val="4"/>
                <c:pt idx="0">
                  <c:v>2.1607392007396798E-2</c:v>
                </c:pt>
                <c:pt idx="1">
                  <c:v>1.0720128457957034E-2</c:v>
                </c:pt>
                <c:pt idx="2">
                  <c:v>3.6882770029698579E-2</c:v>
                </c:pt>
                <c:pt idx="3">
                  <c:v>3.638256878552960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5F-442F-B979-917B06C9E41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28967439"/>
        <c:axId val="528968271"/>
      </c:lineChart>
      <c:catAx>
        <c:axId val="9732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32672"/>
        <c:crosses val="autoZero"/>
        <c:auto val="1"/>
        <c:lblAlgn val="ctr"/>
        <c:lblOffset val="100"/>
        <c:noMultiLvlLbl val="0"/>
      </c:catAx>
      <c:valAx>
        <c:axId val="97332672"/>
        <c:scaling>
          <c:orientation val="minMax"/>
        </c:scaling>
        <c:delete val="0"/>
        <c:axPos val="l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97326848"/>
        <c:crosses val="autoZero"/>
        <c:crossBetween val="between"/>
      </c:valAx>
      <c:valAx>
        <c:axId val="528968271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defRPr>
            </a:pPr>
            <a:endParaRPr lang="ko-KR"/>
          </a:p>
        </c:txPr>
        <c:crossAx val="528967439"/>
        <c:crosses val="max"/>
        <c:crossBetween val="between"/>
      </c:valAx>
      <c:catAx>
        <c:axId val="5289674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89682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4200616936392008"/>
          <c:y val="0"/>
          <c:w val="0.51960985006917415"/>
          <c:h val="0.15476008054329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defRPr>
          </a:pPr>
          <a:endParaRPr lang="ko-K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KoPub돋움체 Medium" panose="00000600000000000000" pitchFamily="2" charset="-127"/>
          <a:ea typeface="KoPub돋움체 Medium" panose="00000600000000000000" pitchFamily="2" charset="-127"/>
        </a:defRPr>
      </a:pPr>
      <a:endParaRPr lang="ko-K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142948C-504B-48C5-B95A-F09A73C133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l">
              <a:defRPr sz="1300"/>
            </a:lvl1pPr>
          </a:lstStyle>
          <a:p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0CE32E-2C7D-45F3-AB77-FFDD632132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r">
              <a:defRPr sz="1300"/>
            </a:lvl1pPr>
          </a:lstStyle>
          <a:p>
            <a:fld id="{FB0E2F2E-173B-4318-BF6A-3C3B6F10D90B}" type="datetimeFigureOut">
              <a:rPr lang="fi-FI" smtClean="0"/>
              <a:t>24.10.2023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22577E-3287-44CA-AE4A-6EFAA5F6F23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l">
              <a:defRPr sz="1300"/>
            </a:lvl1pPr>
          </a:lstStyle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D7DA4A-00CD-4548-853B-7FE071695F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r">
              <a:defRPr sz="1300"/>
            </a:lvl1pPr>
          </a:lstStyle>
          <a:p>
            <a:fld id="{FBF708C1-38A3-4821-8A3F-410DE8973AF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254131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l">
              <a:defRPr sz="13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r">
              <a:defRPr sz="1300"/>
            </a:lvl1pPr>
          </a:lstStyle>
          <a:p>
            <a:fld id="{CB13D32D-94C9-4964-89C5-1CCCABC8F29E}" type="datetimeFigureOut">
              <a:rPr lang="fi-FI" smtClean="0"/>
              <a:t>24.10.2023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1233488"/>
            <a:ext cx="48133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4" tIns="47627" rIns="95254" bIns="47627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5254" tIns="47627" rIns="95254" bIns="476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l">
              <a:defRPr sz="13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r">
              <a:defRPr sz="1300"/>
            </a:lvl1pPr>
          </a:lstStyle>
          <a:p>
            <a:fld id="{88F565D8-887E-447D-8B7A-951BB28ACD2C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4092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33947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536313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32638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878851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71581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45237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33361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02622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13658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78396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38304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447416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43301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1857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75981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015074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82072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78668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472919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53873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7634158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1848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4605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057615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93521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F565D8-887E-447D-8B7A-951BB28ACD2C}" type="slidenum">
              <a:rPr lang="fi-FI" smtClean="0"/>
              <a:t>5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545752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730450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574733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623797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128362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5183225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110716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35186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634861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802051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2453359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633883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24949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03305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451171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920957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941610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759661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18224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255294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226831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717327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709986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1117099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1294994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0908632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463127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3509694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93052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77851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3724228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8443159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6599833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00150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169178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569820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58063823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826219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124772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2396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F565D8-887E-447D-8B7A-951BB28ACD2C}" type="slidenum">
              <a:rPr lang="fi-FI" smtClean="0"/>
              <a:t>1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77811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878732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노트 개체 틀 1">
            <a:extLst>
              <a:ext uri="{FF2B5EF4-FFF2-40B4-BE49-F238E27FC236}">
                <a16:creationId xmlns:a16="http://schemas.microsoft.com/office/drawing/2014/main" id="{B3CF1FC6-BAFC-4E80-96E3-B1146CF40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5093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hyperlink" Target="kpmg.com/governance" TargetMode="External"/><Relationship Id="rId4" Type="http://schemas.openxmlformats.org/officeDocument/2006/relationships/image" Target="../media/image5.svg"/><Relationship Id="rId9" Type="http://schemas.openxmlformats.org/officeDocument/2006/relationships/image" Target="../media/image14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1D98743-3EF8-413A-9CBB-30850973E8BB}"/>
              </a:ext>
            </a:extLst>
          </p:cNvPr>
          <p:cNvSpPr>
            <a:spLocks noChangeAspect="1"/>
          </p:cNvSpPr>
          <p:nvPr userDrawn="1"/>
        </p:nvSpPr>
        <p:spPr>
          <a:xfrm>
            <a:off x="814388" y="1263838"/>
            <a:ext cx="6848978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DB1EF8C-856B-44C9-8EC4-D91C07220F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1200" y="1514264"/>
            <a:ext cx="6356889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1FDD6A-6C02-4DA3-A99C-D3A904F5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1200" y="4968802"/>
            <a:ext cx="6356889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7571952-42C4-4996-A914-4EB77901A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4388" y="313438"/>
            <a:ext cx="786440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5872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1 finding_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BD26DEE-FF5F-41AD-9B36-25468BEE3A6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49" y="1753783"/>
            <a:ext cx="4415457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5CF06158-2195-4AE5-9FFF-631E52562A7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001596" y="1753783"/>
            <a:ext cx="4417200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E93D57-7DC5-479B-A0E2-5CEB75A9C33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88950" y="5295095"/>
            <a:ext cx="8438544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C4EFF02-9719-4386-8C06-21186AA295E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27494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41EF0A55-2007-486B-BE8D-4BD6B3D5467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1431393"/>
            <a:ext cx="8918244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</p:spTree>
    <p:extLst>
      <p:ext uri="{BB962C8B-B14F-4D97-AF65-F5344CB8AC3E}">
        <p14:creationId xmlns:p14="http://schemas.microsoft.com/office/powerpoint/2010/main" val="668295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1 fi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BD26DEE-FF5F-41AD-9B36-25468BEE3A6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49" y="1753783"/>
            <a:ext cx="4415457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E93D57-7DC5-479B-A0E2-5CEB75A9C33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88950" y="5295095"/>
            <a:ext cx="3935756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8082A5A-A250-43AA-8FA8-455093EF7B5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4706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41EF0A55-2007-486B-BE8D-4BD6B3D5467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1431393"/>
            <a:ext cx="4415457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</p:spTree>
    <p:extLst>
      <p:ext uri="{BB962C8B-B14F-4D97-AF65-F5344CB8AC3E}">
        <p14:creationId xmlns:p14="http://schemas.microsoft.com/office/powerpoint/2010/main" val="3931410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2 p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Chart Placeholder 16">
            <a:extLst>
              <a:ext uri="{FF2B5EF4-FFF2-40B4-BE49-F238E27FC236}">
                <a16:creationId xmlns:a16="http://schemas.microsoft.com/office/drawing/2014/main" id="{CD273BEA-DFC8-4B41-B7D7-59AFD04815EE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488949" y="1753782"/>
            <a:ext cx="4415457" cy="1517886"/>
          </a:xfrm>
        </p:spPr>
        <p:txBody>
          <a:bodyPr lIns="72000" tIns="0" rIns="72000" bIns="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Insert table or chart here</a:t>
            </a:r>
          </a:p>
        </p:txBody>
      </p:sp>
      <p:sp>
        <p:nvSpPr>
          <p:cNvPr id="10" name="Chart Placeholder 16">
            <a:extLst>
              <a:ext uri="{FF2B5EF4-FFF2-40B4-BE49-F238E27FC236}">
                <a16:creationId xmlns:a16="http://schemas.microsoft.com/office/drawing/2014/main" id="{8BD9BA33-F1CE-4023-A273-E39FCB3A67A6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001596" y="1753782"/>
            <a:ext cx="4417200" cy="1517886"/>
          </a:xfrm>
        </p:spPr>
        <p:txBody>
          <a:bodyPr lIns="72000" tIns="0" rIns="72000" bIns="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Insert table or chart he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BD26DEE-FF5F-41AD-9B36-25468BEE3A6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49" y="3342055"/>
            <a:ext cx="4415457" cy="1881669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5CF06158-2195-4AE5-9FFF-631E52562A7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001596" y="3342055"/>
            <a:ext cx="4417200" cy="1881669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E93D57-7DC5-479B-A0E2-5CEB75A9C33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88950" y="5295095"/>
            <a:ext cx="3935756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8082A5A-A250-43AA-8FA8-455093EF7B5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4706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19E482F3-E481-4368-ABD1-4DABAE71F8E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01596" y="5295095"/>
            <a:ext cx="3925898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C4EFF02-9719-4386-8C06-21186AA295E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27494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41EF0A55-2007-486B-BE8D-4BD6B3D5467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1431393"/>
            <a:ext cx="4415457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F28ED2DA-01DE-4827-90AA-F79A656B06F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01596" y="1431393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</p:spTree>
    <p:extLst>
      <p:ext uri="{BB962C8B-B14F-4D97-AF65-F5344CB8AC3E}">
        <p14:creationId xmlns:p14="http://schemas.microsoft.com/office/powerpoint/2010/main" val="21134994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2 per page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BD26DEE-FF5F-41AD-9B36-25468BEE3A6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49" y="1753783"/>
            <a:ext cx="4415457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5CF06158-2195-4AE5-9FFF-631E52562A7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001596" y="1753783"/>
            <a:ext cx="4417200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3E93D57-7DC5-479B-A0E2-5CEB75A9C33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88950" y="5295095"/>
            <a:ext cx="3935756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8082A5A-A250-43AA-8FA8-455093EF7B5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24706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19E482F3-E481-4368-ABD1-4DABAE71F8E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01596" y="5295095"/>
            <a:ext cx="3925898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C4EFF02-9719-4386-8C06-21186AA295E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27494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41EF0A55-2007-486B-BE8D-4BD6B3D5467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1431393"/>
            <a:ext cx="4415457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F28ED2DA-01DE-4827-90AA-F79A656B06F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01596" y="1431393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</p:spTree>
    <p:extLst>
      <p:ext uri="{BB962C8B-B14F-4D97-AF65-F5344CB8AC3E}">
        <p14:creationId xmlns:p14="http://schemas.microsoft.com/office/powerpoint/2010/main" val="20181164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3 p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Chart Placeholder 16">
            <a:extLst>
              <a:ext uri="{FF2B5EF4-FFF2-40B4-BE49-F238E27FC236}">
                <a16:creationId xmlns:a16="http://schemas.microsoft.com/office/drawing/2014/main" id="{C5FEA03D-362F-4157-9A0C-404D370AC4F0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488950" y="1753782"/>
            <a:ext cx="2916000" cy="1517886"/>
          </a:xfrm>
        </p:spPr>
        <p:txBody>
          <a:bodyPr lIns="72000" tIns="0" rIns="72000" bIns="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Insert table or chart here</a:t>
            </a:r>
          </a:p>
        </p:txBody>
      </p:sp>
      <p:sp>
        <p:nvSpPr>
          <p:cNvPr id="10" name="Chart Placeholder 16">
            <a:extLst>
              <a:ext uri="{FF2B5EF4-FFF2-40B4-BE49-F238E27FC236}">
                <a16:creationId xmlns:a16="http://schemas.microsoft.com/office/drawing/2014/main" id="{61A05F5A-831A-406C-8E28-18DA66F1CDD6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1194" y="1753782"/>
            <a:ext cx="2916000" cy="1517886"/>
          </a:xfrm>
        </p:spPr>
        <p:txBody>
          <a:bodyPr lIns="72000" tIns="0" rIns="72000" bIns="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Insert table or chart here</a:t>
            </a:r>
          </a:p>
        </p:txBody>
      </p:sp>
      <p:sp>
        <p:nvSpPr>
          <p:cNvPr id="11" name="Chart Placeholder 16">
            <a:extLst>
              <a:ext uri="{FF2B5EF4-FFF2-40B4-BE49-F238E27FC236}">
                <a16:creationId xmlns:a16="http://schemas.microsoft.com/office/drawing/2014/main" id="{6BB30B5E-BD6B-4038-AD4C-3F5DC2998EC5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490072" y="1753782"/>
            <a:ext cx="2916000" cy="1517886"/>
          </a:xfrm>
        </p:spPr>
        <p:txBody>
          <a:bodyPr lIns="72000" tIns="0" rIns="72000" bIns="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Insert table or chart he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AB41B06-07EF-4B57-87AB-178D475909D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50" y="3342055"/>
            <a:ext cx="2916000" cy="1881669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1BBB90EC-E99D-4234-BC39-8A7C904CE27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490072" y="3342055"/>
            <a:ext cx="2916000" cy="1881669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A38FAD1-D83F-42D2-AD58-469C1DFEBEA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491194" y="3342055"/>
            <a:ext cx="2916000" cy="1881669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C8C888-E239-425A-AB3D-57C1FE54AB8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88950" y="5295095"/>
            <a:ext cx="2436300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A38E0DE4-F09F-4963-8D22-76FC230AA1B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925250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9C0882A-B4B8-4EBB-8AD4-CA8305F7B75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490072" y="5295095"/>
            <a:ext cx="2436300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81F9807-27FE-497E-B652-69BA01D3BE5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926372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9D609A6-1C2E-40F7-9B68-A54F9248D1F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91194" y="5295095"/>
            <a:ext cx="2436299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5A03F710-724F-4BFC-BB07-7C2186537369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27494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3CD19A67-C198-4F13-9F93-723BA7DA860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50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42D171B3-58C6-46E8-A786-5066ADF332B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491194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3" name="Text Placeholder 25">
            <a:extLst>
              <a:ext uri="{FF2B5EF4-FFF2-40B4-BE49-F238E27FC236}">
                <a16:creationId xmlns:a16="http://schemas.microsoft.com/office/drawing/2014/main" id="{AE8B4C9E-EDC0-41DC-BC8B-C05FE1A8AA2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490072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</p:spTree>
    <p:extLst>
      <p:ext uri="{BB962C8B-B14F-4D97-AF65-F5344CB8AC3E}">
        <p14:creationId xmlns:p14="http://schemas.microsoft.com/office/powerpoint/2010/main" val="5185755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3 per page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DAB41B06-07EF-4B57-87AB-178D475909D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50" y="1753783"/>
            <a:ext cx="2916000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1BBB90EC-E99D-4234-BC39-8A7C904CE27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490072" y="1753783"/>
            <a:ext cx="2916000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A38FAD1-D83F-42D2-AD58-469C1DFEBEA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491194" y="1753783"/>
            <a:ext cx="2916000" cy="3469942"/>
          </a:xfrm>
        </p:spPr>
        <p:txBody>
          <a:bodyPr lIns="72000" rIns="72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C8C888-E239-425A-AB3D-57C1FE54AB8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88950" y="5295095"/>
            <a:ext cx="2436300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A38E0DE4-F09F-4963-8D22-76FC230AA1B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925250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9C0882A-B4B8-4EBB-8AD4-CA8305F7B75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490072" y="5295095"/>
            <a:ext cx="2436300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81F9807-27FE-497E-B652-69BA01D3BE5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926372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9D609A6-1C2E-40F7-9B68-A54F9248D1F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91194" y="5295095"/>
            <a:ext cx="2436299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5A03F710-724F-4BFC-BB07-7C2186537369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27494" y="5295095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3CD19A67-C198-4F13-9F93-723BA7DA860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50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42D171B3-58C6-46E8-A786-5066ADF332B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491194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3" name="Text Placeholder 25">
            <a:extLst>
              <a:ext uri="{FF2B5EF4-FFF2-40B4-BE49-F238E27FC236}">
                <a16:creationId xmlns:a16="http://schemas.microsoft.com/office/drawing/2014/main" id="{AE8B4C9E-EDC0-41DC-BC8B-C05FE1A8AA2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490072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</p:spTree>
    <p:extLst>
      <p:ext uri="{BB962C8B-B14F-4D97-AF65-F5344CB8AC3E}">
        <p14:creationId xmlns:p14="http://schemas.microsoft.com/office/powerpoint/2010/main" val="1080673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6 p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3CD19A67-C198-4F13-9F93-723BA7DA860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50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42D171B3-58C6-46E8-A786-5066ADF332B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491194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3" name="Text Placeholder 25">
            <a:extLst>
              <a:ext uri="{FF2B5EF4-FFF2-40B4-BE49-F238E27FC236}">
                <a16:creationId xmlns:a16="http://schemas.microsoft.com/office/drawing/2014/main" id="{AE8B4C9E-EDC0-41DC-BC8B-C05FE1A8AA2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490072" y="1431393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4575EBE-87AF-4D47-BD5A-F9FFB43123B5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88950" y="3080020"/>
            <a:ext cx="2436300" cy="588488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1B8488C6-FC41-4651-BDC7-150231F4FF6A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2925250" y="3080020"/>
            <a:ext cx="479700" cy="588488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79C22B51-FE8C-42A4-9665-8392AEB401CB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3490072" y="3080020"/>
            <a:ext cx="2436300" cy="588488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B3FECD24-6E0F-4624-89AB-AA7E7FC170D4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5926372" y="3080020"/>
            <a:ext cx="479700" cy="588488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B531981-6D22-403C-9393-20DF53ABAA2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491194" y="3080020"/>
            <a:ext cx="2436299" cy="588488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16FB57ED-D9B2-4508-8ABC-F7C97E1A05D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927494" y="3080020"/>
            <a:ext cx="479700" cy="588488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737FB52B-82D7-4D81-911D-A0B139DFF4A1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88950" y="3773011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7" name="Text Placeholder 25">
            <a:extLst>
              <a:ext uri="{FF2B5EF4-FFF2-40B4-BE49-F238E27FC236}">
                <a16:creationId xmlns:a16="http://schemas.microsoft.com/office/drawing/2014/main" id="{FBE96058-1FFE-4700-97C7-A1FBBD8D227B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6491194" y="3773011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8" name="Text Placeholder 25">
            <a:extLst>
              <a:ext uri="{FF2B5EF4-FFF2-40B4-BE49-F238E27FC236}">
                <a16:creationId xmlns:a16="http://schemas.microsoft.com/office/drawing/2014/main" id="{6536F04C-20AE-4C66-BB06-991FD48ED5C4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490072" y="3773011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89FD0DA6-71C6-4D0A-84CB-65A7908ACAF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88950" y="5421638"/>
            <a:ext cx="2436300" cy="588488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F188DC6A-9375-45CC-897F-AC8A9045458F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925250" y="5421638"/>
            <a:ext cx="479700" cy="588488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6572B1FB-220C-412A-B13B-D1579D0173F4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490072" y="5421638"/>
            <a:ext cx="2436300" cy="588488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AF64AD0A-D098-4CF8-BC7A-102BF94CAEE4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5926372" y="5421638"/>
            <a:ext cx="479700" cy="588488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11CCD92E-41E0-4E84-A04C-DE591E95CC9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491194" y="5421638"/>
            <a:ext cx="2436299" cy="588488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C43D13BA-0325-4C32-A2EC-72E9532363E9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927494" y="5421638"/>
            <a:ext cx="479700" cy="588488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1DE4A135-1B0D-4F42-9342-95C1AC22B99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88950" y="1753617"/>
            <a:ext cx="2916000" cy="1260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49" name="Text Placeholder 14">
            <a:extLst>
              <a:ext uri="{FF2B5EF4-FFF2-40B4-BE49-F238E27FC236}">
                <a16:creationId xmlns:a16="http://schemas.microsoft.com/office/drawing/2014/main" id="{92E7BEE0-647F-4BCC-9D2F-49DE83BE3618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3490072" y="1753617"/>
            <a:ext cx="2916000" cy="1260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214C2E4F-E2CE-43CB-855B-B37BFA6BA958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491194" y="1753617"/>
            <a:ext cx="2916000" cy="1260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51" name="Text Placeholder 14">
            <a:extLst>
              <a:ext uri="{FF2B5EF4-FFF2-40B4-BE49-F238E27FC236}">
                <a16:creationId xmlns:a16="http://schemas.microsoft.com/office/drawing/2014/main" id="{730D2D2F-A09E-471A-9BA7-E6A2741CAF96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488950" y="4095235"/>
            <a:ext cx="2916000" cy="1260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52" name="Text Placeholder 14">
            <a:extLst>
              <a:ext uri="{FF2B5EF4-FFF2-40B4-BE49-F238E27FC236}">
                <a16:creationId xmlns:a16="http://schemas.microsoft.com/office/drawing/2014/main" id="{B80EE7F3-2CB0-43C4-97FF-A6A1821A4E56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3490072" y="4095235"/>
            <a:ext cx="2916000" cy="1260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89AA1C8D-5A62-4624-A519-9ED6A3FCCC2F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6491194" y="4095235"/>
            <a:ext cx="2916000" cy="1260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758950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narro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2007732"/>
            <a:ext cx="2916000" cy="4004879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9928" y="2007732"/>
            <a:ext cx="5910101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03874" y="2330121"/>
            <a:ext cx="5903320" cy="3682489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87525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narrow table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6808997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0" name="Chart Placeholder 43">
            <a:extLst>
              <a:ext uri="{FF2B5EF4-FFF2-40B4-BE49-F238E27FC236}">
                <a16:creationId xmlns:a16="http://schemas.microsoft.com/office/drawing/2014/main" id="{9CE5BD96-D66C-46EF-859E-664B1F3439D0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7405521" y="1430491"/>
            <a:ext cx="2011529" cy="493200"/>
          </a:xfrm>
        </p:spPr>
        <p:txBody>
          <a:bodyPr l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summary chart here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2007732"/>
            <a:ext cx="2916000" cy="4004879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9928" y="2007732"/>
            <a:ext cx="5910101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503874" y="2330121"/>
            <a:ext cx="5903320" cy="3682489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4772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narrow table+2 co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2007732"/>
            <a:ext cx="2916000" cy="4004879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9928" y="2007732"/>
            <a:ext cx="5910101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D8E7CE2-86C8-43BF-BC6E-06CF6FF366C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3503874" y="2330121"/>
            <a:ext cx="2916000" cy="368249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182558" marR="0" lvl="2" indent="-1825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item</a:t>
            </a:r>
          </a:p>
          <a:p>
            <a:pPr marL="182558" marR="0" lvl="2" indent="-1825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item</a:t>
            </a:r>
          </a:p>
          <a:p>
            <a:pPr marL="182558" marR="0" lvl="2" indent="-1825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item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86B8DC4-194F-44F8-8F6A-159BDB7FA8A1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6491194" y="2330121"/>
            <a:ext cx="2916000" cy="368249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182563" marR="0" lvl="2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item</a:t>
            </a:r>
          </a:p>
          <a:p>
            <a:pPr marL="182558" marR="0" lvl="2" indent="-1825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item</a:t>
            </a:r>
          </a:p>
          <a:p>
            <a:pPr marL="182558" marR="0" lvl="2" indent="-1825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item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039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594902-DE35-4BE5-9B4D-638FA1D4E4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90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594902-DE35-4BE5-9B4D-638FA1D4E4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814388" y="1422400"/>
            <a:ext cx="5902325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50977" y="2399870"/>
            <a:ext cx="4592586" cy="587168"/>
          </a:xfrm>
        </p:spPr>
        <p:txBody>
          <a:bodyPr vert="horz"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ing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0977" y="1553435"/>
            <a:ext cx="896937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graphicFrame>
        <p:nvGraphicFramePr>
          <p:cNvPr id="17" name="Table 4">
            <a:extLst>
              <a:ext uri="{FF2B5EF4-FFF2-40B4-BE49-F238E27FC236}">
                <a16:creationId xmlns:a16="http://schemas.microsoft.com/office/drawing/2014/main" id="{72DE011C-961E-4AD5-AD2C-ACA9DD1D4D35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639791142"/>
              </p:ext>
            </p:extLst>
          </p:nvPr>
        </p:nvGraphicFramePr>
        <p:xfrm>
          <a:off x="1050977" y="3178175"/>
          <a:ext cx="5557852" cy="2286000"/>
        </p:xfrm>
        <a:graphic>
          <a:graphicData uri="http://schemas.openxmlformats.org/drawingml/2006/table">
            <a:tbl>
              <a:tblPr firstRow="1" bandRow="1">
                <a:tableStyleId>{D03447BB-5D67-496B-8E87-E561075AD55C}</a:tableStyleId>
              </a:tblPr>
              <a:tblGrid>
                <a:gridCol w="876224">
                  <a:extLst>
                    <a:ext uri="{9D8B030D-6E8A-4147-A177-3AD203B41FA5}">
                      <a16:colId xmlns:a16="http://schemas.microsoft.com/office/drawing/2014/main" val="1245858610"/>
                    </a:ext>
                  </a:extLst>
                </a:gridCol>
                <a:gridCol w="3973057">
                  <a:extLst>
                    <a:ext uri="{9D8B030D-6E8A-4147-A177-3AD203B41FA5}">
                      <a16:colId xmlns:a16="http://schemas.microsoft.com/office/drawing/2014/main" val="975607913"/>
                    </a:ext>
                  </a:extLst>
                </a:gridCol>
                <a:gridCol w="708571">
                  <a:extLst>
                    <a:ext uri="{9D8B030D-6E8A-4147-A177-3AD203B41FA5}">
                      <a16:colId xmlns:a16="http://schemas.microsoft.com/office/drawing/2014/main" val="829056600"/>
                    </a:ext>
                  </a:extLst>
                </a:gridCol>
              </a:tblGrid>
              <a:tr h="354398">
                <a:tc>
                  <a:txBody>
                    <a:bodyPr/>
                    <a:lstStyle/>
                    <a:p>
                      <a:pPr>
                        <a:lnSpc>
                          <a:spcPts val="3000"/>
                        </a:lnSpc>
                      </a:pPr>
                      <a:endParaRPr lang="en-IN" sz="32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381136"/>
                  </a:ext>
                </a:extLst>
              </a:tr>
              <a:tr h="354398">
                <a:tc>
                  <a:txBody>
                    <a:bodyPr/>
                    <a:lstStyle/>
                    <a:p>
                      <a:pPr>
                        <a:lnSpc>
                          <a:spcPts val="3000"/>
                        </a:lnSpc>
                      </a:pPr>
                      <a:endParaRPr lang="en-IN" sz="32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 marT="0" marB="0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774190"/>
                  </a:ext>
                </a:extLst>
              </a:tr>
              <a:tr h="354398">
                <a:tc>
                  <a:txBody>
                    <a:bodyPr/>
                    <a:lstStyle/>
                    <a:p>
                      <a:pPr>
                        <a:lnSpc>
                          <a:spcPts val="3000"/>
                        </a:lnSpc>
                      </a:pPr>
                      <a:endParaRPr lang="en-IN" sz="32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714403"/>
                  </a:ext>
                </a:extLst>
              </a:tr>
              <a:tr h="354398">
                <a:tc>
                  <a:txBody>
                    <a:bodyPr/>
                    <a:lstStyle/>
                    <a:p>
                      <a:pPr>
                        <a:lnSpc>
                          <a:spcPts val="3000"/>
                        </a:lnSpc>
                      </a:pPr>
                      <a:endParaRPr lang="en-IN" sz="32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2482603"/>
                  </a:ext>
                </a:extLst>
              </a:tr>
              <a:tr h="354398">
                <a:tc>
                  <a:txBody>
                    <a:bodyPr/>
                    <a:lstStyle/>
                    <a:p>
                      <a:pPr>
                        <a:lnSpc>
                          <a:spcPts val="3000"/>
                        </a:lnSpc>
                      </a:pPr>
                      <a:endParaRPr lang="en-IN" sz="32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6270040"/>
                  </a:ext>
                </a:extLst>
              </a:tr>
              <a:tr h="354398">
                <a:tc>
                  <a:txBody>
                    <a:bodyPr/>
                    <a:lstStyle/>
                    <a:p>
                      <a:pPr>
                        <a:lnSpc>
                          <a:spcPts val="3000"/>
                        </a:lnSpc>
                      </a:pPr>
                      <a:endParaRPr lang="en-IN" sz="32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78000" marR="78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920"/>
                        </a:lnSpc>
                      </a:pPr>
                      <a:endParaRPr lang="en-IN" sz="1400" b="0">
                        <a:solidFill>
                          <a:schemeClr val="tx1"/>
                        </a:solidFill>
                      </a:endParaRPr>
                    </a:p>
                  </a:txBody>
                  <a:tcPr marL="99060" marR="9906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3371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narrow table+2 col 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6808997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0" name="Chart Placeholder 43">
            <a:extLst>
              <a:ext uri="{FF2B5EF4-FFF2-40B4-BE49-F238E27FC236}">
                <a16:creationId xmlns:a16="http://schemas.microsoft.com/office/drawing/2014/main" id="{9CE5BD96-D66C-46EF-859E-664B1F3439D0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7405521" y="1430491"/>
            <a:ext cx="2011529" cy="493200"/>
          </a:xfrm>
        </p:spPr>
        <p:txBody>
          <a:bodyPr l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summary chart here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2007732"/>
            <a:ext cx="2916000" cy="4004879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9928" y="2007732"/>
            <a:ext cx="5910101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D8E7CE2-86C8-43BF-BC6E-06CF6FF366C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3503874" y="2330121"/>
            <a:ext cx="2916000" cy="368249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 marL="360000" indent="0">
              <a:buNone/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86B8DC4-194F-44F8-8F6A-159BDB7FA8A1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6491194" y="2330121"/>
            <a:ext cx="2916000" cy="368249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02987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50-50 table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2007732"/>
            <a:ext cx="4415455" cy="4004879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9369" y="2007732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01596" y="2330121"/>
            <a:ext cx="4417200" cy="3682489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92681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50-50 table+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6808997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0" name="Chart Placeholder 43">
            <a:extLst>
              <a:ext uri="{FF2B5EF4-FFF2-40B4-BE49-F238E27FC236}">
                <a16:creationId xmlns:a16="http://schemas.microsoft.com/office/drawing/2014/main" id="{9CE5BD96-D66C-46EF-859E-664B1F3439D0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7405521" y="1430491"/>
            <a:ext cx="2011529" cy="493200"/>
          </a:xfrm>
        </p:spPr>
        <p:txBody>
          <a:bodyPr l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summary chart here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2007732"/>
            <a:ext cx="4415455" cy="4004879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9369" y="2007732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01596" y="2330121"/>
            <a:ext cx="4417200" cy="3682489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 marL="360000" indent="0">
              <a:buNone/>
              <a:defRPr lang="en-IN" dirty="0"/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854614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99369" y="2007732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01596" y="2330121"/>
            <a:ext cx="4417200" cy="3682489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13C9B1A4-F65C-4B70-9B42-4534E2E5E16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88950" y="2007732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034673E0-7540-40C5-8F48-1361B20C87B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88950" y="2330121"/>
            <a:ext cx="4417200" cy="3682489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22533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wide chart+table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4" name="Table Placeholder 45">
            <a:extLst>
              <a:ext uri="{FF2B5EF4-FFF2-40B4-BE49-F238E27FC236}">
                <a16:creationId xmlns:a16="http://schemas.microsoft.com/office/drawing/2014/main" id="{A3C54C97-5BAC-4CFF-8D82-0A97A083C90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88950" y="4036758"/>
            <a:ext cx="4415455" cy="1976692"/>
          </a:xfrm>
        </p:spPr>
        <p:txBody>
          <a:bodyPr lIns="72000" r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table her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07732"/>
            <a:ext cx="8927619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01596" y="4036757"/>
            <a:ext cx="4417200" cy="1976692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BEA1A9C3-63EE-4C97-B9B0-B5F7002CC000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488949" y="2329281"/>
            <a:ext cx="8927619" cy="1625822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366545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_wide chart + 2 col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6670C25-D6B4-4A8F-8A32-270610E4BB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578DECBB-8FBB-4541-BA8C-916391F6F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2007732"/>
            <a:ext cx="8927619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25FAC4C-BCE9-4485-B7D6-EB606828DC0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01596" y="4036758"/>
            <a:ext cx="4417200" cy="1976691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BEA1A9C3-63EE-4C97-B9B0-B5F7002CC000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488949" y="2329281"/>
            <a:ext cx="8927619" cy="1625821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15584A43-E639-49A3-B8A7-0BA4C3DDA7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88949" y="4036758"/>
            <a:ext cx="4417200" cy="1976691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99425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trapline+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6065322-124D-4808-B754-4C9B6237C4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78DCC2A9-1726-4376-9829-D83FF8B13C8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49" y="2331749"/>
            <a:ext cx="4415457" cy="1638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0BAEAC31-9529-47B5-A1B3-DA8846CB0AE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001596" y="2331749"/>
            <a:ext cx="4417200" cy="1638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E2BDBAB6-FEE4-4949-AA46-2035F4A4CF4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2009359"/>
            <a:ext cx="4415457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F8976278-C1ED-4AB8-BD22-5C3692B38C6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01596" y="2009359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AF2F029D-C469-40E6-8864-49B1E3CDC4A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88949" y="4036758"/>
            <a:ext cx="4415457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D5BF35F2-D6D6-4EB5-A030-AE1F908BAAD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001596" y="4036758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DD823786-AB94-4436-ADF5-F87F84AAC5FE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88949" y="4359148"/>
            <a:ext cx="4415457" cy="1638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06F950C6-FD72-4497-A16E-C8D6570617B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001596" y="4359148"/>
            <a:ext cx="4417200" cy="1638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388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chmar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6065322-124D-4808-B754-4C9B6237C4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733754DC-CB41-423C-9D4D-6F903F37CFB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2009359"/>
            <a:ext cx="5905055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97D08A63-C10A-4009-8D8D-4E6623EDF00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88949" y="4036758"/>
            <a:ext cx="5905055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39BEEA89-17F7-42E8-B707-6457B49F19C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491194" y="2331749"/>
            <a:ext cx="2916000" cy="1638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D3994414-6BFE-410D-A25B-36450FFC861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491194" y="2009359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AA368CCA-5C02-4C47-BBB5-C8D874F35E8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91194" y="4036758"/>
            <a:ext cx="2916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35" name="Chart Placeholder 9">
            <a:extLst>
              <a:ext uri="{FF2B5EF4-FFF2-40B4-BE49-F238E27FC236}">
                <a16:creationId xmlns:a16="http://schemas.microsoft.com/office/drawing/2014/main" id="{A56BA81A-6AC8-469B-A0AD-209AE9FF86C6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488949" y="2329282"/>
            <a:ext cx="5905055" cy="1637086"/>
          </a:xfrm>
        </p:spPr>
        <p:txBody>
          <a:bodyPr/>
          <a:lstStyle/>
          <a:p>
            <a:endParaRPr lang="fi-FI"/>
          </a:p>
        </p:txBody>
      </p:sp>
      <p:sp>
        <p:nvSpPr>
          <p:cNvPr id="36" name="Chart Placeholder 9">
            <a:extLst>
              <a:ext uri="{FF2B5EF4-FFF2-40B4-BE49-F238E27FC236}">
                <a16:creationId xmlns:a16="http://schemas.microsoft.com/office/drawing/2014/main" id="{E957C797-313E-4DCF-B26E-6476F76C0987}"/>
              </a:ext>
            </a:extLst>
          </p:cNvPr>
          <p:cNvSpPr>
            <a:spLocks noGrp="1"/>
          </p:cNvSpPr>
          <p:nvPr>
            <p:ph type="chart" sz="quarter" idx="75"/>
          </p:nvPr>
        </p:nvSpPr>
        <p:spPr>
          <a:xfrm>
            <a:off x="488949" y="4359148"/>
            <a:ext cx="5905055" cy="1637086"/>
          </a:xfrm>
        </p:spPr>
        <p:txBody>
          <a:bodyPr/>
          <a:lstStyle/>
          <a:p>
            <a:endParaRPr lang="fi-FI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6D66987-73C1-486E-9C99-AABCC425FB0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491194" y="4359148"/>
            <a:ext cx="2916000" cy="1638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76652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7E75DAD0-F1F2-4A56-95E0-F71021BABAE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8949" y="2331749"/>
            <a:ext cx="4415457" cy="1645028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IN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8472446D-BE53-4448-B535-3C57931969A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001596" y="2331749"/>
            <a:ext cx="4417200" cy="1645028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80000" indent="0">
              <a:buNone/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46A5A29E-FCF7-4CA0-9156-AAFF157F0A2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8949" y="2009359"/>
            <a:ext cx="4415457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583E0DBC-A36C-46BA-A9EA-B4CE12DE759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01596" y="2009359"/>
            <a:ext cx="44172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E7687EA3-443C-45A9-A3DA-4AAD76C4D6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6808997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  <p:sp>
        <p:nvSpPr>
          <p:cNvPr id="21" name="Chart Placeholder 43">
            <a:extLst>
              <a:ext uri="{FF2B5EF4-FFF2-40B4-BE49-F238E27FC236}">
                <a16:creationId xmlns:a16="http://schemas.microsoft.com/office/drawing/2014/main" id="{47DCEA9C-F278-4021-A9BA-4BB05B76DCA0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7405521" y="1430491"/>
            <a:ext cx="2011529" cy="493200"/>
          </a:xfrm>
        </p:spPr>
        <p:txBody>
          <a:bodyPr l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i-FI"/>
              <a:t>Add summary chart here</a:t>
            </a:r>
          </a:p>
        </p:txBody>
      </p:sp>
    </p:spTree>
    <p:extLst>
      <p:ext uri="{BB962C8B-B14F-4D97-AF65-F5344CB8AC3E}">
        <p14:creationId xmlns:p14="http://schemas.microsoft.com/office/powerpoint/2010/main" val="1304704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046663" y="445723"/>
            <a:ext cx="4378758" cy="520909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 b="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algn="r" hangingPunct="0"/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ing address: [</a:t>
            </a:r>
            <a:r>
              <a:rPr lang="en-US" sz="800" spc="-15">
                <a:solidFill>
                  <a:srgbClr val="FD349C"/>
                </a:solidFill>
              </a:rPr>
              <a:t>Address line 1</a:t>
            </a: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  <a:p>
            <a:pPr algn="r" hangingPunct="0"/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: +[</a:t>
            </a:r>
            <a:r>
              <a:rPr lang="en-US" sz="8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  <a:p>
            <a:pPr algn="r" hangingPunct="0"/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kpmg.[</a:t>
            </a:r>
            <a:r>
              <a:rPr lang="en-US" sz="8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88950" y="2316480"/>
            <a:ext cx="4370388" cy="3704907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61064" y="2316480"/>
            <a:ext cx="4355985" cy="3704907"/>
          </a:xfrm>
          <a:ln w="6350">
            <a:noFill/>
          </a:ln>
        </p:spPr>
        <p:txBody>
          <a:bodyPr lIns="0" tIns="0" rIns="0" bIns="0"/>
          <a:lstStyle>
            <a:lvl1pPr>
              <a:defRPr sz="800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9174564" y="638508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4C35C85-F836-41CD-9F06-4BDFAF6BD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8950" y="6373386"/>
            <a:ext cx="428967" cy="172800"/>
          </a:xfrm>
          <a:prstGeom prst="rect">
            <a:avLst/>
          </a:prstGeom>
        </p:spPr>
      </p:pic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A8144FC0-0D32-43E3-A49F-6291DC08FC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8950" y="1330326"/>
            <a:ext cx="4370388" cy="738699"/>
          </a:xfrm>
        </p:spPr>
        <p:txBody>
          <a:bodyPr/>
          <a:lstStyle>
            <a:lvl1pPr>
              <a:lnSpc>
                <a:spcPts val="1000"/>
              </a:lnSpc>
              <a:spcAft>
                <a:spcPts val="300"/>
              </a:spcAft>
              <a:defRPr sz="800" b="0">
                <a:solidFill>
                  <a:schemeClr val="tx1"/>
                </a:solidFill>
              </a:defRPr>
            </a:lvl1pPr>
          </a:lstStyle>
          <a:p>
            <a:pPr>
              <a:spcAft>
                <a:spcPts val="300"/>
              </a:spcAft>
            </a:pPr>
            <a:r>
              <a:rPr lang="en-US" sz="800" b="0" spc="-15">
                <a:solidFill>
                  <a:schemeClr val="tx2"/>
                </a:solidFill>
              </a:rPr>
              <a:t>[</a:t>
            </a:r>
            <a:r>
              <a:rPr lang="en-US" sz="800" b="0" spc="-15">
                <a:solidFill>
                  <a:srgbClr val="FD349C"/>
                </a:solidFill>
              </a:rPr>
              <a:t>Company name</a:t>
            </a:r>
            <a:r>
              <a:rPr lang="en-US" sz="800" b="0" spc="-15">
                <a:solidFill>
                  <a:schemeClr val="tx2"/>
                </a:solidFill>
              </a:rPr>
              <a:t>]</a:t>
            </a:r>
          </a:p>
          <a:p>
            <a:pPr>
              <a:spcAft>
                <a:spcPts val="300"/>
              </a:spcAft>
            </a:pPr>
            <a:r>
              <a:rPr lang="en-US" sz="800" b="0" spc="-15" err="1">
                <a:solidFill>
                  <a:schemeClr val="tx2"/>
                </a:solidFill>
              </a:rPr>
              <a:t>Att</a:t>
            </a:r>
            <a:r>
              <a:rPr lang="en-US" sz="800" b="0" spc="-15">
                <a:solidFill>
                  <a:schemeClr val="tx2"/>
                </a:solidFill>
              </a:rPr>
              <a:t>: [</a:t>
            </a:r>
            <a:r>
              <a:rPr lang="en-US" sz="800" b="0" spc="-15">
                <a:solidFill>
                  <a:srgbClr val="FD349C"/>
                </a:solidFill>
              </a:rPr>
              <a:t>client name</a:t>
            </a:r>
            <a:r>
              <a:rPr lang="en-US" sz="800" b="0" spc="-15">
                <a:solidFill>
                  <a:schemeClr val="tx2"/>
                </a:solidFill>
              </a:rPr>
              <a:t>]</a:t>
            </a:r>
          </a:p>
          <a:p>
            <a:pPr>
              <a:spcAft>
                <a:spcPts val="300"/>
              </a:spcAft>
            </a:pPr>
            <a:r>
              <a:rPr lang="en-US" sz="800" b="0" spc="-15">
                <a:solidFill>
                  <a:schemeClr val="tx2"/>
                </a:solidFill>
              </a:rPr>
              <a:t>[</a:t>
            </a:r>
            <a:r>
              <a:rPr lang="en-US" sz="800" b="0" spc="-15">
                <a:solidFill>
                  <a:srgbClr val="FD349C"/>
                </a:solidFill>
              </a:rPr>
              <a:t>Address line 1</a:t>
            </a:r>
            <a:r>
              <a:rPr lang="en-US" sz="800" b="0" spc="-15">
                <a:solidFill>
                  <a:schemeClr val="tx2"/>
                </a:solidFill>
              </a:rPr>
              <a:t>]</a:t>
            </a:r>
          </a:p>
          <a:p>
            <a:pPr>
              <a:spcAft>
                <a:spcPts val="300"/>
              </a:spcAft>
            </a:pPr>
            <a:r>
              <a:rPr lang="en-US" sz="800" b="0" spc="-15">
                <a:solidFill>
                  <a:schemeClr val="tx2"/>
                </a:solidFill>
              </a:rPr>
              <a:t>[</a:t>
            </a:r>
            <a:r>
              <a:rPr lang="en-US" sz="800" b="0" spc="-15">
                <a:solidFill>
                  <a:srgbClr val="FD349C"/>
                </a:solidFill>
              </a:rPr>
              <a:t>Address line 2</a:t>
            </a:r>
            <a:r>
              <a:rPr lang="en-US" sz="800" b="0" spc="-15">
                <a:solidFill>
                  <a:schemeClr val="tx2"/>
                </a:solidFill>
              </a:rPr>
              <a:t>]</a:t>
            </a:r>
            <a:endParaRPr lang="en-US" sz="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Box 32">
            <a:extLst>
              <a:ext uri="{FF2B5EF4-FFF2-40B4-BE49-F238E27FC236}">
                <a16:creationId xmlns:a16="http://schemas.microsoft.com/office/drawing/2014/main" id="{3C54569C-6B16-4E95-B111-2B7053BF055D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88950" y="431802"/>
            <a:ext cx="4370388" cy="2769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hangingPunct="0"/>
            <a:r>
              <a:rPr lang="en-US" sz="9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MG </a:t>
            </a:r>
            <a:r>
              <a:rPr lang="ko-KR" altLang="en-US" sz="900" b="1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삼정회계법인</a:t>
            </a:r>
            <a:endParaRPr lang="en-US" sz="9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900" b="1" spc="-20">
                <a:solidFill>
                  <a:schemeClr val="tx2"/>
                </a:solidFill>
              </a:rPr>
              <a:t>Private and confidential</a:t>
            </a:r>
            <a:endParaRPr lang="en-US" sz="9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26189C3-D523-4FAA-8E5B-AD9F7A7452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72978" y="1330326"/>
            <a:ext cx="2652443" cy="310198"/>
          </a:xfrm>
        </p:spPr>
        <p:txBody>
          <a:bodyPr/>
          <a:lstStyle>
            <a:lvl1pPr algn="r">
              <a:spcAft>
                <a:spcPts val="400"/>
              </a:spcAft>
              <a:defRPr/>
            </a:lvl1pPr>
          </a:lstStyle>
          <a:p>
            <a:pPr>
              <a:spcAft>
                <a:spcPts val="300"/>
              </a:spcAft>
            </a:pPr>
            <a:r>
              <a:rPr lang="en-US" sz="900" b="0" spc="-20">
                <a:solidFill>
                  <a:schemeClr val="tx2"/>
                </a:solidFill>
              </a:rPr>
              <a:t>[</a:t>
            </a:r>
            <a:r>
              <a:rPr lang="en-US" sz="900" b="0" spc="-20">
                <a:solidFill>
                  <a:srgbClr val="FD349C"/>
                </a:solidFill>
              </a:rPr>
              <a:t>date</a:t>
            </a:r>
            <a:r>
              <a:rPr lang="en-US" sz="900" b="0" spc="-20">
                <a:solidFill>
                  <a:schemeClr val="tx2"/>
                </a:solidFill>
              </a:rPr>
              <a:t>]</a:t>
            </a:r>
            <a:endParaRPr lang="en-US" sz="9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BB1D73-00C9-6C84-6079-8AB383DEB8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78147" y="6367453"/>
            <a:ext cx="5405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</a:t>
            </a:r>
            <a:r>
              <a:rPr lang="en-US" altLang="ko-KR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amjong</a:t>
            </a:r>
            <a:r>
              <a:rPr lang="en-US" altLang="ko-KR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Accounting Corp., a Korea Limited Liability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F7D5C7-B55E-D98A-A8D4-97A7D1B580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7731459" y="6413620"/>
            <a:ext cx="1330492" cy="923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86639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stra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6065322-124D-4808-B754-4C9B6237C4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30491"/>
            <a:ext cx="8918244" cy="493200"/>
          </a:xfrm>
        </p:spPr>
        <p:txBody>
          <a:bodyPr lIns="0"/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10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en-US" sz="75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FontTx/>
              <a:buNone/>
              <a:defRPr lang="fi-FI" sz="75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Use this strapline to summarize the key message — Keep it concise and clear, preferably 1-2 sentences only.</a:t>
            </a:r>
          </a:p>
        </p:txBody>
      </p:sp>
    </p:spTree>
    <p:extLst>
      <p:ext uri="{BB962C8B-B14F-4D97-AF65-F5344CB8AC3E}">
        <p14:creationId xmlns:p14="http://schemas.microsoft.com/office/powerpoint/2010/main" val="3200210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22400"/>
            <a:ext cx="8928100" cy="46044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>
              <a:defRPr kumimoji="0" lang="en-GB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28100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B68CF7D4-6D77-410A-A3F6-DA877C99E597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70D7482-6012-4D3C-BFFC-4911B06AFE7B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0" name="Oval 9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132F3EDE-EAB1-4D7E-B7FD-FB9E688AE2D7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1" name="Oval 10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1A27D24-9AC0-467B-B229-13DAE011143E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12" name="Graphic 11" descr="Home">
            <a:hlinkClick r:id="" action="ppaction://noaction"/>
            <a:extLst>
              <a:ext uri="{FF2B5EF4-FFF2-40B4-BE49-F238E27FC236}">
                <a16:creationId xmlns:a16="http://schemas.microsoft.com/office/drawing/2014/main" id="{6180043A-4BD5-4CC4-AEF9-5F9E669566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1739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422400"/>
            <a:ext cx="4373150" cy="46044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GB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043900" y="1422400"/>
            <a:ext cx="4373150" cy="46044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>
              <a:defRPr kumimoji="0" lang="en-US" b="0" i="0" u="none" strike="noStrike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360000" indent="0">
              <a:buNone/>
              <a:defRPr kumimoji="0" lang="en-GB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7DB58-860A-432D-A684-9D2580280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3A217827-46CB-4E10-8DC5-CA83C731A109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7BCD7643-EBA1-419A-905D-C35C628D833A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8" name="Oval 7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5455A32E-3BBE-4E89-8306-A22A2B5E10ED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0" name="Oval 9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02E90D29-346D-4280-AC10-41D1E93AE1BB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11" name="Graphic 10" descr="Home">
            <a:hlinkClick r:id="" action="ppaction://noaction"/>
            <a:extLst>
              <a:ext uri="{FF2B5EF4-FFF2-40B4-BE49-F238E27FC236}">
                <a16:creationId xmlns:a16="http://schemas.microsoft.com/office/drawing/2014/main" id="{8EB356DA-908B-45EF-A7BB-2BB5A87D58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E9C7DE1-05A8-412E-BD97-53D6628C087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14388" y="5859678"/>
            <a:ext cx="273151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4388" y="313438"/>
            <a:ext cx="786440" cy="316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6953885-018C-4F5B-B139-A11AE69CDE49}"/>
              </a:ext>
            </a:extLst>
          </p:cNvPr>
          <p:cNvGrpSpPr/>
          <p:nvPr userDrawn="1"/>
        </p:nvGrpSpPr>
        <p:grpSpPr>
          <a:xfrm>
            <a:off x="814388" y="4197725"/>
            <a:ext cx="2023200" cy="360000"/>
            <a:chOff x="814388" y="2906637"/>
            <a:chExt cx="2023200" cy="360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0652234-F88D-440B-B83F-B25B95509908}"/>
                </a:ext>
              </a:extLst>
            </p:cNvPr>
            <p:cNvGrpSpPr/>
            <p:nvPr userDrawn="1"/>
          </p:nvGrpSpPr>
          <p:grpSpPr>
            <a:xfrm>
              <a:off x="1646164" y="2906637"/>
              <a:ext cx="360000" cy="360000"/>
              <a:chOff x="1638862" y="2906637"/>
              <a:chExt cx="360000" cy="36000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E402DDF-A363-48F1-9F3E-078A9DDB6227}"/>
                  </a:ext>
                </a:extLst>
              </p:cNvPr>
              <p:cNvSpPr/>
              <p:nvPr userDrawn="1"/>
            </p:nvSpPr>
            <p:spPr>
              <a:xfrm>
                <a:off x="1693756" y="2943685"/>
                <a:ext cx="281156" cy="32295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50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4C17CC75-8F27-49C5-BBE2-7D6C545B7EB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38862" y="2906637"/>
                <a:ext cx="360000" cy="360000"/>
              </a:xfrm>
              <a:prstGeom prst="rect">
                <a:avLst/>
              </a:prstGeom>
            </p:spPr>
          </p:pic>
        </p:grpSp>
        <p:pic>
          <p:nvPicPr>
            <p:cNvPr id="31" name="Picture 30" descr="Icon&#10;&#10;Description automatically generated">
              <a:extLst>
                <a:ext uri="{FF2B5EF4-FFF2-40B4-BE49-F238E27FC236}">
                  <a16:creationId xmlns:a16="http://schemas.microsoft.com/office/drawing/2014/main" id="{898E5A95-43A5-4F92-AB80-AE1DEED715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62052" y="2906637"/>
              <a:ext cx="359648" cy="360000"/>
            </a:xfrm>
            <a:prstGeom prst="rect">
              <a:avLst/>
            </a:prstGeom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2A3EB9D-17BA-41DC-BD75-158ABE4A16A5}"/>
                </a:ext>
              </a:extLst>
            </p:cNvPr>
            <p:cNvGrpSpPr/>
            <p:nvPr userDrawn="1"/>
          </p:nvGrpSpPr>
          <p:grpSpPr>
            <a:xfrm>
              <a:off x="1230276" y="2906637"/>
              <a:ext cx="360000" cy="360000"/>
              <a:chOff x="1230262" y="2914594"/>
              <a:chExt cx="360000" cy="360000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50A68FF-D6EE-4A12-AC25-7006D84B1A91}"/>
                  </a:ext>
                </a:extLst>
              </p:cNvPr>
              <p:cNvSpPr/>
              <p:nvPr userDrawn="1"/>
            </p:nvSpPr>
            <p:spPr>
              <a:xfrm>
                <a:off x="1257862" y="2943685"/>
                <a:ext cx="304800" cy="2889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50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33" name="Picture 32" descr="Logo&#10;&#10;Description automatically generated">
                <a:extLst>
                  <a:ext uri="{FF2B5EF4-FFF2-40B4-BE49-F238E27FC236}">
                    <a16:creationId xmlns:a16="http://schemas.microsoft.com/office/drawing/2014/main" id="{C287CF5D-8402-4456-95DA-84E8D9BAC12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30262" y="2914594"/>
                <a:ext cx="360000" cy="360000"/>
              </a:xfrm>
              <a:prstGeom prst="rect">
                <a:avLst/>
              </a:prstGeom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EED4A96-B580-440D-BF76-0C34AABE0D5D}"/>
                </a:ext>
              </a:extLst>
            </p:cNvPr>
            <p:cNvGrpSpPr/>
            <p:nvPr userDrawn="1"/>
          </p:nvGrpSpPr>
          <p:grpSpPr>
            <a:xfrm>
              <a:off x="814388" y="2906637"/>
              <a:ext cx="360000" cy="360000"/>
              <a:chOff x="814388" y="2909383"/>
              <a:chExt cx="360000" cy="360000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11A98FF2-368E-4166-BB26-D0E8CC1B9A2F}"/>
                  </a:ext>
                </a:extLst>
              </p:cNvPr>
              <p:cNvSpPr/>
              <p:nvPr userDrawn="1"/>
            </p:nvSpPr>
            <p:spPr>
              <a:xfrm>
                <a:off x="841438" y="2949282"/>
                <a:ext cx="304800" cy="2889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50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34" name="Picture 33" descr="Logo&#10;&#10;Description automatically generated">
                <a:extLst>
                  <a:ext uri="{FF2B5EF4-FFF2-40B4-BE49-F238E27FC236}">
                    <a16:creationId xmlns:a16="http://schemas.microsoft.com/office/drawing/2014/main" id="{ECE51287-E36C-49AC-BEA9-830C5C85611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4388" y="2909383"/>
                <a:ext cx="360000" cy="360000"/>
              </a:xfrm>
              <a:prstGeom prst="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DEF09FC-A4E3-4DCC-BD62-787A9F69600F}"/>
                </a:ext>
              </a:extLst>
            </p:cNvPr>
            <p:cNvGrpSpPr/>
            <p:nvPr userDrawn="1"/>
          </p:nvGrpSpPr>
          <p:grpSpPr>
            <a:xfrm>
              <a:off x="2477588" y="2906637"/>
              <a:ext cx="360000" cy="360000"/>
              <a:chOff x="2477588" y="2906637"/>
              <a:chExt cx="360000" cy="36000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6CBC4DF-45B8-4EE8-AA7F-B8FF84F4B198}"/>
                  </a:ext>
                </a:extLst>
              </p:cNvPr>
              <p:cNvSpPr/>
              <p:nvPr userDrawn="1"/>
            </p:nvSpPr>
            <p:spPr>
              <a:xfrm>
                <a:off x="2505188" y="2949281"/>
                <a:ext cx="304800" cy="2889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GB" sz="150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35" name="Picture 34" descr="Icon&#10;&#10;Description automatically generated">
                <a:extLst>
                  <a:ext uri="{FF2B5EF4-FFF2-40B4-BE49-F238E27FC236}">
                    <a16:creationId xmlns:a16="http://schemas.microsoft.com/office/drawing/2014/main" id="{2A8D55CD-C1C3-4328-99BB-60365F946CB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77588" y="2906637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C8422C2C-D4FE-4353-9A5E-319A89502A67}"/>
              </a:ext>
            </a:extLst>
          </p:cNvPr>
          <p:cNvSpPr txBox="1">
            <a:spLocks/>
          </p:cNvSpPr>
          <p:nvPr userDrawn="1"/>
        </p:nvSpPr>
        <p:spPr>
          <a:xfrm>
            <a:off x="808302" y="4633021"/>
            <a:ext cx="8291116" cy="882737"/>
          </a:xfrm>
          <a:prstGeom prst="rect">
            <a:avLst/>
          </a:prstGeom>
        </p:spPr>
        <p:txBody>
          <a:bodyPr wrap="square" lIns="0" tIns="0" rIns="0" bIns="36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623446">
              <a:defRPr/>
            </a:pPr>
            <a:r>
              <a:rPr lang="en-US" altLang="en-US" sz="900" kern="0">
                <a:latin typeface="Arial" panose="020B0604020202020204" pitchFamily="34" charset="0"/>
                <a:cs typeface="Arial" panose="020B0604020202020204" pitchFamily="34" charset="0"/>
              </a:rPr>
              <a:t>© 2023 Copyright owned by one or more of the KPMG International entities. KPMG International entities provide no services to clients. All rights reserved.</a:t>
            </a:r>
          </a:p>
          <a:p>
            <a:pPr lvl="1" defTabSz="623446">
              <a:defRPr/>
            </a:pPr>
            <a:r>
              <a:rPr lang="en-US" altLang="en-US" sz="900" kern="0">
                <a:latin typeface="Arial" panose="020B0604020202020204" pitchFamily="34" charset="0"/>
                <a:cs typeface="Arial" panose="020B0604020202020204" pitchFamily="34" charset="0"/>
              </a:rPr>
              <a:t>KPMG refers to the global organization or to one or more of the member firms of KPMG International Limited (“KPMG International”), each of which is a separate legal entity. KPMG International Limited is a private English company limited by guarantee and does not provide services to clients. For more detail about our structure please visit </a:t>
            </a:r>
            <a:r>
              <a:rPr lang="en-US" altLang="en-US" sz="900" kern="0">
                <a:latin typeface="Arial" panose="020B0604020202020204" pitchFamily="34" charset="0"/>
                <a:cs typeface="Arial" panose="020B0604020202020204" pitchFamily="34" charset="0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pmg.com/governance</a:t>
            </a:r>
            <a:r>
              <a:rPr lang="en-US" altLang="en-US" sz="900" ker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1" defTabSz="623446">
              <a:defRPr/>
            </a:pPr>
            <a:r>
              <a:rPr lang="en-US" altLang="en-US" sz="900" kern="0">
                <a:latin typeface="Arial" panose="020B0604020202020204" pitchFamily="34" charset="0"/>
                <a:cs typeface="Arial" panose="020B0604020202020204" pitchFamily="34" charset="0"/>
              </a:rPr>
              <a:t>The KPMG name and logo are trademarks used under license by the independent member firms of the KPMG global organization.</a:t>
            </a:r>
          </a:p>
        </p:txBody>
      </p:sp>
    </p:spTree>
    <p:extLst>
      <p:ext uri="{BB962C8B-B14F-4D97-AF65-F5344CB8AC3E}">
        <p14:creationId xmlns:p14="http://schemas.microsoft.com/office/powerpoint/2010/main" val="32672736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3BEDF-35C5-4CA5-9B3E-991280392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6EF98C-751D-4F2D-9E73-1A67C86BDEB6}"/>
              </a:ext>
            </a:extLst>
          </p:cNvPr>
          <p:cNvGrpSpPr/>
          <p:nvPr userDrawn="1"/>
        </p:nvGrpSpPr>
        <p:grpSpPr>
          <a:xfrm>
            <a:off x="488950" y="1435485"/>
            <a:ext cx="1369453" cy="3862635"/>
            <a:chOff x="431800" y="1435485"/>
            <a:chExt cx="1369453" cy="386263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3A029E-F47E-4063-92DE-3F7D08D2978A}"/>
                </a:ext>
              </a:extLst>
            </p:cNvPr>
            <p:cNvSpPr txBox="1"/>
            <p:nvPr userDrawn="1"/>
          </p:nvSpPr>
          <p:spPr>
            <a:xfrm>
              <a:off x="437207" y="1435485"/>
              <a:ext cx="136404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Primary Colo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4D79E91-240E-4CE9-BD78-5046C30D1A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323989"/>
              <a:ext cx="498229" cy="411225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69FA0A-5FC1-4DE0-B123-631C80946944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1809427"/>
              <a:ext cx="498229" cy="41122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C58682-AE35-412D-9814-1AC993C40193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838550"/>
              <a:ext cx="498229" cy="411225"/>
            </a:xfrm>
            <a:prstGeom prst="rect">
              <a:avLst/>
            </a:prstGeom>
            <a:solidFill>
              <a:srgbClr val="0C23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3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84E864-7714-4B35-A11C-CEC6ACE57FDD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353112"/>
              <a:ext cx="498229" cy="411225"/>
            </a:xfrm>
            <a:prstGeom prst="rect">
              <a:avLst/>
            </a:prstGeom>
            <a:solidFill>
              <a:srgbClr val="ACE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2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4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C9DB94-A023-463B-87CC-D56EDA60B7B2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864167"/>
              <a:ext cx="498229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0818289-F48A-4AAD-932A-D124C06F33CB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378727"/>
              <a:ext cx="498229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59E4511-F558-44E0-8DD3-D17EFB8C6E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886895"/>
              <a:ext cx="498229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48FA23-008F-4A21-BC6A-6185FCFC52D2}"/>
                </a:ext>
              </a:extLst>
            </p:cNvPr>
            <p:cNvSpPr txBox="1"/>
            <p:nvPr userDrawn="1"/>
          </p:nvSpPr>
          <p:spPr>
            <a:xfrm>
              <a:off x="1028090" y="2971948"/>
              <a:ext cx="56105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C720359-127E-405D-919C-083611C7A08A}"/>
                </a:ext>
              </a:extLst>
            </p:cNvPr>
            <p:cNvSpPr txBox="1"/>
            <p:nvPr userDrawn="1"/>
          </p:nvSpPr>
          <p:spPr>
            <a:xfrm>
              <a:off x="1028090" y="1949834"/>
              <a:ext cx="65242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KPMG blu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C39E4F3-E153-4CC0-A276-C622A3204E0A}"/>
                </a:ext>
              </a:extLst>
            </p:cNvPr>
            <p:cNvSpPr txBox="1"/>
            <p:nvPr userDrawn="1"/>
          </p:nvSpPr>
          <p:spPr>
            <a:xfrm>
              <a:off x="1028090" y="3483005"/>
              <a:ext cx="5658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Blu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F54008-2462-4D42-8BCA-DA618813F8D4}"/>
                </a:ext>
              </a:extLst>
            </p:cNvPr>
            <p:cNvSpPr txBox="1"/>
            <p:nvPr userDrawn="1"/>
          </p:nvSpPr>
          <p:spPr>
            <a:xfrm>
              <a:off x="1028090" y="2460891"/>
              <a:ext cx="65883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Cobalt Blu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05D39-8E62-4075-BA1C-E1EB03EE2713}"/>
                </a:ext>
              </a:extLst>
            </p:cNvPr>
            <p:cNvSpPr txBox="1"/>
            <p:nvPr userDrawn="1"/>
          </p:nvSpPr>
          <p:spPr>
            <a:xfrm>
              <a:off x="1028090" y="3993446"/>
              <a:ext cx="66684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A2CA773-E86A-4B8F-ADA0-2CB9E1BA2E5D}"/>
                </a:ext>
              </a:extLst>
            </p:cNvPr>
            <p:cNvSpPr txBox="1"/>
            <p:nvPr userDrawn="1"/>
          </p:nvSpPr>
          <p:spPr>
            <a:xfrm>
              <a:off x="1028090" y="4504503"/>
              <a:ext cx="36869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021187-04CC-4668-8F96-790FD0271481}"/>
                </a:ext>
              </a:extLst>
            </p:cNvPr>
            <p:cNvSpPr txBox="1"/>
            <p:nvPr userDrawn="1"/>
          </p:nvSpPr>
          <p:spPr>
            <a:xfrm>
              <a:off x="1028090" y="5015563"/>
              <a:ext cx="24846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D7BA7-F988-4666-909E-7464B1E670A4}"/>
              </a:ext>
            </a:extLst>
          </p:cNvPr>
          <p:cNvGrpSpPr/>
          <p:nvPr userDrawn="1"/>
        </p:nvGrpSpPr>
        <p:grpSpPr>
          <a:xfrm>
            <a:off x="2237283" y="1435485"/>
            <a:ext cx="1648146" cy="4377197"/>
            <a:chOff x="2007613" y="1435485"/>
            <a:chExt cx="1648146" cy="437719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C1060C3-3C0F-479A-93CB-2EE23BCD7FEC}"/>
                </a:ext>
              </a:extLst>
            </p:cNvPr>
            <p:cNvSpPr txBox="1"/>
            <p:nvPr userDrawn="1"/>
          </p:nvSpPr>
          <p:spPr>
            <a:xfrm>
              <a:off x="2007613" y="1435485"/>
              <a:ext cx="16481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Accent Colors for Infographics and charts onl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35F361-87F0-48D7-BB28-F86DB0E6AC27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1809934"/>
              <a:ext cx="498229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B604A4-6C82-4717-8A43-3F0A9CFE3675}"/>
                </a:ext>
              </a:extLst>
            </p:cNvPr>
            <p:cNvSpPr txBox="1"/>
            <p:nvPr userDrawn="1"/>
          </p:nvSpPr>
          <p:spPr>
            <a:xfrm>
              <a:off x="2657529" y="1936324"/>
              <a:ext cx="25487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9A7B845-E279-4827-B3F5-EE88BCD7970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320484"/>
              <a:ext cx="498229" cy="411225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90F216-5807-405C-8D10-CD867A982C59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835046"/>
              <a:ext cx="498229" cy="411225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A2DCA7-A9C2-4CC3-89F5-2BDFBCF3D89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349607"/>
              <a:ext cx="498229" cy="411225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EFA968-8540-4166-9452-A264FA919022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864169"/>
              <a:ext cx="498229" cy="411225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F53EE44-8E9F-4230-ADA7-72C736B7CEE6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378729"/>
              <a:ext cx="498229" cy="411225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BDDB377-D7F9-41DE-B077-AC2F3F904393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886897"/>
              <a:ext cx="498229" cy="411225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4BD556-167D-4EC4-8115-9FBAED75518F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5401457"/>
              <a:ext cx="498229" cy="411225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1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9FF26D7-88CE-41A4-BB14-85032BEFA3A6}"/>
                </a:ext>
              </a:extLst>
            </p:cNvPr>
            <p:cNvSpPr txBox="1"/>
            <p:nvPr userDrawn="1"/>
          </p:nvSpPr>
          <p:spPr>
            <a:xfrm>
              <a:off x="2657529" y="3483005"/>
              <a:ext cx="55463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08EAC3E-37E0-4D96-8F99-BFD1D5E7E14D}"/>
                </a:ext>
              </a:extLst>
            </p:cNvPr>
            <p:cNvSpPr txBox="1"/>
            <p:nvPr userDrawn="1"/>
          </p:nvSpPr>
          <p:spPr>
            <a:xfrm>
              <a:off x="2657529" y="2460891"/>
              <a:ext cx="67486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F77B255-8418-4436-A58A-558711D968FD}"/>
                </a:ext>
              </a:extLst>
            </p:cNvPr>
            <p:cNvSpPr txBox="1"/>
            <p:nvPr userDrawn="1"/>
          </p:nvSpPr>
          <p:spPr>
            <a:xfrm>
              <a:off x="2657529" y="3994062"/>
              <a:ext cx="55944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E008D5-E3F8-4131-A8F5-831027FCB80A}"/>
                </a:ext>
              </a:extLst>
            </p:cNvPr>
            <p:cNvSpPr txBox="1"/>
            <p:nvPr userDrawn="1"/>
          </p:nvSpPr>
          <p:spPr>
            <a:xfrm>
              <a:off x="2657529" y="4505119"/>
              <a:ext cx="66043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865C62-77EC-494F-AC78-71694BD76491}"/>
                </a:ext>
              </a:extLst>
            </p:cNvPr>
            <p:cNvSpPr txBox="1"/>
            <p:nvPr userDrawn="1"/>
          </p:nvSpPr>
          <p:spPr>
            <a:xfrm>
              <a:off x="2657529" y="2971948"/>
              <a:ext cx="67967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507AF3-D767-4145-8ED2-02982BC91823}"/>
                </a:ext>
              </a:extLst>
            </p:cNvPr>
            <p:cNvSpPr txBox="1"/>
            <p:nvPr userDrawn="1"/>
          </p:nvSpPr>
          <p:spPr>
            <a:xfrm>
              <a:off x="2657529" y="5016176"/>
              <a:ext cx="35426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DDCB9E0-92E0-4DB1-A590-422C38C09273}"/>
                </a:ext>
              </a:extLst>
            </p:cNvPr>
            <p:cNvSpPr txBox="1"/>
            <p:nvPr userDrawn="1"/>
          </p:nvSpPr>
          <p:spPr>
            <a:xfrm>
              <a:off x="2657529" y="5527233"/>
              <a:ext cx="66524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42FD4D-73C5-4A6D-9EE3-CB45975651B2}"/>
              </a:ext>
            </a:extLst>
          </p:cNvPr>
          <p:cNvGrpSpPr/>
          <p:nvPr userDrawn="1"/>
        </p:nvGrpSpPr>
        <p:grpSpPr>
          <a:xfrm>
            <a:off x="4264308" y="1435485"/>
            <a:ext cx="1500577" cy="3357790"/>
            <a:chOff x="3842071" y="1435485"/>
            <a:chExt cx="1500577" cy="335779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C57A480-B606-4DD1-8D3C-DE158BE7BD5C}"/>
                </a:ext>
              </a:extLst>
            </p:cNvPr>
            <p:cNvSpPr txBox="1"/>
            <p:nvPr userDrawn="1"/>
          </p:nvSpPr>
          <p:spPr>
            <a:xfrm>
              <a:off x="3842071" y="1435485"/>
              <a:ext cx="15005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Neutrals for Infographics and charts only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F784C5-C471-4F17-9339-14EAFD43619E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1809427"/>
              <a:ext cx="498229" cy="41122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8800130-0010-43BD-9A59-D5736437F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323989"/>
              <a:ext cx="498229" cy="411225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endParaRPr lang="en-GB" sz="800">
                <a:solidFill>
                  <a:schemeClr val="bg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5B3F059-6423-4220-85D1-ECEBD7452A31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838550"/>
              <a:ext cx="498229" cy="411225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A0F1CED-D754-4851-9E05-0AC4EF15B853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353112"/>
              <a:ext cx="498229" cy="4112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740997-FA82-48D9-9C0A-60D2ED5545CB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867672"/>
              <a:ext cx="498229" cy="411225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BBCECD7-F11C-4934-B786-E4D69C8D1FF5}"/>
                </a:ext>
              </a:extLst>
            </p:cNvPr>
            <p:cNvSpPr txBox="1"/>
            <p:nvPr userDrawn="1"/>
          </p:nvSpPr>
          <p:spPr>
            <a:xfrm>
              <a:off x="4455842" y="2971948"/>
              <a:ext cx="38311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A72EB82-FEC0-494E-990C-FC388AFF380F}"/>
                </a:ext>
              </a:extLst>
            </p:cNvPr>
            <p:cNvSpPr txBox="1"/>
            <p:nvPr userDrawn="1"/>
          </p:nvSpPr>
          <p:spPr>
            <a:xfrm>
              <a:off x="4455842" y="1949834"/>
              <a:ext cx="38311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200AEF1-A91B-4302-9237-8FAD545E8D2C}"/>
                </a:ext>
              </a:extLst>
            </p:cNvPr>
            <p:cNvSpPr txBox="1"/>
            <p:nvPr userDrawn="1"/>
          </p:nvSpPr>
          <p:spPr>
            <a:xfrm>
              <a:off x="4455842" y="3483005"/>
              <a:ext cx="38311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39D18EE-90FF-4E5E-A08B-B10AE2C06151}"/>
                </a:ext>
              </a:extLst>
            </p:cNvPr>
            <p:cNvSpPr txBox="1"/>
            <p:nvPr userDrawn="1"/>
          </p:nvSpPr>
          <p:spPr>
            <a:xfrm>
              <a:off x="4455842" y="3994062"/>
              <a:ext cx="38311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702DFC-3763-40E5-9D3F-F6CCA2101F9B}"/>
                </a:ext>
              </a:extLst>
            </p:cNvPr>
            <p:cNvSpPr txBox="1"/>
            <p:nvPr userDrawn="1"/>
          </p:nvSpPr>
          <p:spPr>
            <a:xfrm>
              <a:off x="4455842" y="2460891"/>
              <a:ext cx="38311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2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100E486-6869-4606-80CB-8DDAEC604BBA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4382050"/>
              <a:ext cx="498229" cy="411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FC5A060-16C0-437F-ABBC-D317FDE11F09}"/>
                </a:ext>
              </a:extLst>
            </p:cNvPr>
            <p:cNvSpPr txBox="1"/>
            <p:nvPr userDrawn="1"/>
          </p:nvSpPr>
          <p:spPr>
            <a:xfrm>
              <a:off x="4455842" y="4508440"/>
              <a:ext cx="32701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White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47067D-6D7D-4614-B396-55BF762EEA52}"/>
              </a:ext>
            </a:extLst>
          </p:cNvPr>
          <p:cNvSpPr/>
          <p:nvPr userDrawn="1"/>
        </p:nvSpPr>
        <p:spPr>
          <a:xfrm>
            <a:off x="6088251" y="2801733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1E20DB8-4C5C-4EB5-B83B-D8CCBF35FBB5}"/>
              </a:ext>
            </a:extLst>
          </p:cNvPr>
          <p:cNvSpPr/>
          <p:nvPr userDrawn="1"/>
        </p:nvSpPr>
        <p:spPr>
          <a:xfrm>
            <a:off x="7686023" y="2801733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BA3CFC-8261-410A-8137-9E8FF7099DA9}"/>
              </a:ext>
            </a:extLst>
          </p:cNvPr>
          <p:cNvSpPr txBox="1"/>
          <p:nvPr userDrawn="1"/>
        </p:nvSpPr>
        <p:spPr>
          <a:xfrm>
            <a:off x="6088251" y="3257608"/>
            <a:ext cx="1147750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urple/Cobalt grad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FC3585-ABFA-4AE6-A10E-EEDCCDD34C22}"/>
              </a:ext>
            </a:extLst>
          </p:cNvPr>
          <p:cNvSpPr txBox="1"/>
          <p:nvPr userDrawn="1"/>
        </p:nvSpPr>
        <p:spPr>
          <a:xfrm>
            <a:off x="7671088" y="3257608"/>
            <a:ext cx="1333698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acific/Light Blue grad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2566FC-9890-4B72-BE08-8CFEB585DB07}"/>
              </a:ext>
            </a:extLst>
          </p:cNvPr>
          <p:cNvSpPr txBox="1"/>
          <p:nvPr userDrawn="1"/>
        </p:nvSpPr>
        <p:spPr>
          <a:xfrm>
            <a:off x="6088250" y="1404112"/>
            <a:ext cx="3318943" cy="13003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</a:t>
            </a:r>
            <a:r>
              <a:rPr lang="en-GB" sz="900" b="0" err="1">
                <a:solidFill>
                  <a:sysClr val="windowText" lastClr="000000"/>
                </a:solidFill>
              </a:rPr>
              <a:t>colors</a:t>
            </a:r>
            <a:r>
              <a:rPr lang="en-GB" sz="900" b="0">
                <a:solidFill>
                  <a:sysClr val="windowText" lastClr="000000"/>
                </a:solidFill>
              </a:rPr>
              <a:t> are applied at both ends of the gradient, at 0% and 100%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Do not create new gradients; use only the gradients shown her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8F5D1B3-C998-4ACA-9985-7436032C658D}"/>
              </a:ext>
            </a:extLst>
          </p:cNvPr>
          <p:cNvSpPr txBox="1"/>
          <p:nvPr userDrawn="1"/>
        </p:nvSpPr>
        <p:spPr>
          <a:xfrm>
            <a:off x="6088252" y="3614651"/>
            <a:ext cx="107721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Traffic Light Palett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19278E-80D6-4EAE-9C16-04A195593FCD}"/>
              </a:ext>
            </a:extLst>
          </p:cNvPr>
          <p:cNvSpPr>
            <a:spLocks/>
          </p:cNvSpPr>
          <p:nvPr userDrawn="1"/>
        </p:nvSpPr>
        <p:spPr>
          <a:xfrm>
            <a:off x="7781625" y="3867251"/>
            <a:ext cx="651210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D6DEF7-07C8-4597-A905-842B08D28F0A}"/>
              </a:ext>
            </a:extLst>
          </p:cNvPr>
          <p:cNvSpPr>
            <a:spLocks/>
          </p:cNvSpPr>
          <p:nvPr userDrawn="1"/>
        </p:nvSpPr>
        <p:spPr>
          <a:xfrm>
            <a:off x="6934938" y="3867251"/>
            <a:ext cx="651210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09EF0A9-6427-4B0B-9951-B942321353CB}"/>
              </a:ext>
            </a:extLst>
          </p:cNvPr>
          <p:cNvSpPr>
            <a:spLocks/>
          </p:cNvSpPr>
          <p:nvPr userDrawn="1"/>
        </p:nvSpPr>
        <p:spPr>
          <a:xfrm>
            <a:off x="6088252" y="3867251"/>
            <a:ext cx="651210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8A2577-F141-44A2-B6A7-1718EF8E4ED3}"/>
              </a:ext>
            </a:extLst>
          </p:cNvPr>
          <p:cNvSpPr txBox="1"/>
          <p:nvPr userDrawn="1"/>
        </p:nvSpPr>
        <p:spPr>
          <a:xfrm>
            <a:off x="6088251" y="4442242"/>
            <a:ext cx="33189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F4307E-8DC7-4A94-ABA2-93BF21A194C0}"/>
              </a:ext>
            </a:extLst>
          </p:cNvPr>
          <p:cNvGrpSpPr/>
          <p:nvPr userDrawn="1"/>
        </p:nvGrpSpPr>
        <p:grpSpPr>
          <a:xfrm>
            <a:off x="6088251" y="5138763"/>
            <a:ext cx="3318941" cy="868337"/>
            <a:chOff x="6088252" y="5261186"/>
            <a:chExt cx="2681306" cy="7459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83C138C-9744-4057-B347-B658A31DF93E}"/>
                </a:ext>
              </a:extLst>
            </p:cNvPr>
            <p:cNvSpPr/>
            <p:nvPr userDrawn="1"/>
          </p:nvSpPr>
          <p:spPr>
            <a:xfrm>
              <a:off x="6875898" y="5261186"/>
              <a:ext cx="318368" cy="320103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3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7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C79581B-1628-4CDD-B36E-34EBC052AC88}"/>
                </a:ext>
              </a:extLst>
            </p:cNvPr>
            <p:cNvSpPr/>
            <p:nvPr userDrawn="1"/>
          </p:nvSpPr>
          <p:spPr>
            <a:xfrm>
              <a:off x="6088252" y="5261186"/>
              <a:ext cx="318368" cy="32010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E4BFD7D-7B7C-42AB-BBA6-C3D81ED28AD3}"/>
                </a:ext>
              </a:extLst>
            </p:cNvPr>
            <p:cNvSpPr/>
            <p:nvPr userDrawn="1"/>
          </p:nvSpPr>
          <p:spPr>
            <a:xfrm>
              <a:off x="7269722" y="5261186"/>
              <a:ext cx="318368" cy="320103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5D917B2-29BF-4083-AFA3-34EA48DE2D13}"/>
                </a:ext>
              </a:extLst>
            </p:cNvPr>
            <p:cNvSpPr/>
            <p:nvPr userDrawn="1"/>
          </p:nvSpPr>
          <p:spPr>
            <a:xfrm>
              <a:off x="8057367" y="5261186"/>
              <a:ext cx="318368" cy="320103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2D7C73A-67D8-4FED-800A-7C73CBDB5101}"/>
                </a:ext>
              </a:extLst>
            </p:cNvPr>
            <p:cNvSpPr/>
            <p:nvPr userDrawn="1"/>
          </p:nvSpPr>
          <p:spPr>
            <a:xfrm>
              <a:off x="6875898" y="5686997"/>
              <a:ext cx="318368" cy="320103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915D2C-E7FF-48C5-88D0-A214E72825B1}"/>
                </a:ext>
              </a:extLst>
            </p:cNvPr>
            <p:cNvSpPr/>
            <p:nvPr userDrawn="1"/>
          </p:nvSpPr>
          <p:spPr>
            <a:xfrm>
              <a:off x="7663544" y="5261186"/>
              <a:ext cx="318368" cy="320103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1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BEE1031-0F8F-4739-9C13-A5F2DC318357}"/>
                </a:ext>
              </a:extLst>
            </p:cNvPr>
            <p:cNvSpPr/>
            <p:nvPr userDrawn="1"/>
          </p:nvSpPr>
          <p:spPr>
            <a:xfrm>
              <a:off x="7269722" y="5686997"/>
              <a:ext cx="318368" cy="320103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6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2066229-A6D4-425C-AC6C-C91823237793}"/>
                </a:ext>
              </a:extLst>
            </p:cNvPr>
            <p:cNvSpPr/>
            <p:nvPr userDrawn="1"/>
          </p:nvSpPr>
          <p:spPr>
            <a:xfrm>
              <a:off x="6088252" y="5686997"/>
              <a:ext cx="318368" cy="320103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1A139CB-8C9F-44CD-AD3D-19CC8D3948A1}"/>
                </a:ext>
              </a:extLst>
            </p:cNvPr>
            <p:cNvSpPr/>
            <p:nvPr userDrawn="1"/>
          </p:nvSpPr>
          <p:spPr>
            <a:xfrm>
              <a:off x="8451190" y="5686997"/>
              <a:ext cx="318368" cy="320103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6A28226-9A3E-4DF4-A814-1F5BE4A18360}"/>
                </a:ext>
              </a:extLst>
            </p:cNvPr>
            <p:cNvSpPr/>
            <p:nvPr userDrawn="1"/>
          </p:nvSpPr>
          <p:spPr>
            <a:xfrm>
              <a:off x="6482075" y="5261186"/>
              <a:ext cx="318368" cy="320103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1C44B0D-C09B-4486-995E-6FCC691F6CF2}"/>
                </a:ext>
              </a:extLst>
            </p:cNvPr>
            <p:cNvSpPr/>
            <p:nvPr userDrawn="1"/>
          </p:nvSpPr>
          <p:spPr>
            <a:xfrm>
              <a:off x="8057367" y="5686997"/>
              <a:ext cx="318368" cy="320103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8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4B14724-2B96-4A69-984B-74A5856F63C4}"/>
                </a:ext>
              </a:extLst>
            </p:cNvPr>
            <p:cNvSpPr/>
            <p:nvPr userDrawn="1"/>
          </p:nvSpPr>
          <p:spPr>
            <a:xfrm>
              <a:off x="8451190" y="5261186"/>
              <a:ext cx="318368" cy="320103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5A56029-E17B-4898-871B-11FD8F48CAF6}"/>
                </a:ext>
              </a:extLst>
            </p:cNvPr>
            <p:cNvSpPr/>
            <p:nvPr userDrawn="1"/>
          </p:nvSpPr>
          <p:spPr>
            <a:xfrm>
              <a:off x="7663544" y="5686997"/>
              <a:ext cx="318368" cy="320103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91353B9-D58F-4CC4-8017-A57DFEF3A5A0}"/>
                </a:ext>
              </a:extLst>
            </p:cNvPr>
            <p:cNvSpPr/>
            <p:nvPr userDrawn="1"/>
          </p:nvSpPr>
          <p:spPr>
            <a:xfrm>
              <a:off x="6482075" y="5686997"/>
              <a:ext cx="318368" cy="320103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0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42ECFFB-E253-47C6-9B8B-4847610FA685}"/>
              </a:ext>
            </a:extLst>
          </p:cNvPr>
          <p:cNvGrpSpPr/>
          <p:nvPr userDrawn="1"/>
        </p:nvGrpSpPr>
        <p:grpSpPr>
          <a:xfrm>
            <a:off x="6088251" y="3518776"/>
            <a:ext cx="3030263" cy="852557"/>
            <a:chOff x="5676530" y="3651946"/>
            <a:chExt cx="2681922" cy="852557"/>
          </a:xfrm>
        </p:grpSpPr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B9AC04-B2BC-4A0F-AB2E-330C8D5D11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4504503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74DB764-E8F7-423C-B6C3-CB9F7B30F3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3651946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629299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0CFE00C1-45CA-7550-DB32-25575B033A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982596" y="272758"/>
            <a:ext cx="1655763" cy="431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1" u="none" strike="noStrike" kern="0" cap="none" spc="0" normalizeH="0" baseline="0" noProof="0">
                <a:ln>
                  <a:noFill/>
                </a:ln>
                <a:solidFill>
                  <a:srgbClr val="747678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trictly Private and Confidential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800" b="1" i="1" u="none" strike="noStrike" kern="0" cap="none" spc="0" normalizeH="0" baseline="0" noProof="0">
              <a:ln>
                <a:noFill/>
              </a:ln>
              <a:solidFill>
                <a:srgbClr val="747678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 Box 30">
            <a:extLst>
              <a:ext uri="{FF2B5EF4-FFF2-40B4-BE49-F238E27FC236}">
                <a16:creationId xmlns:a16="http://schemas.microsoft.com/office/drawing/2014/main" id="{15998861-7D95-73F0-0FE2-1C8D12B5D9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58420" y="501909"/>
            <a:ext cx="2479939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39600" bIns="0" anchor="ctr" anchorCtr="0">
            <a:spAutoFit/>
          </a:bodyPr>
          <a:lstStyle/>
          <a:p>
            <a:pPr algn="r" fontAlgn="ctr">
              <a:spcBef>
                <a:spcPct val="50000"/>
              </a:spcBef>
              <a:buClr>
                <a:srgbClr val="0C2D83"/>
              </a:buClr>
              <a:defRPr/>
            </a:pPr>
            <a:r>
              <a:rPr lang="en-US" altLang="ko-KR" sz="1400" b="1">
                <a:solidFill>
                  <a:srgbClr val="FF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75804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814388" y="1422400"/>
            <a:ext cx="5902325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5"/>
            <a:ext cx="5602916" cy="1623742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0977" y="1553435"/>
            <a:ext cx="896937" cy="722312"/>
          </a:xfrm>
        </p:spPr>
        <p:txBody>
          <a:bodyPr/>
          <a:lstStyle>
            <a:lvl1pPr>
              <a:lnSpc>
                <a:spcPct val="80000"/>
              </a:lnSpc>
              <a:defRPr sz="540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0977" y="4465785"/>
            <a:ext cx="4592586" cy="81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</p:txBody>
      </p:sp>
    </p:spTree>
    <p:extLst>
      <p:ext uri="{BB962C8B-B14F-4D97-AF65-F5344CB8AC3E}">
        <p14:creationId xmlns:p14="http://schemas.microsoft.com/office/powerpoint/2010/main" val="26823143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606CFDD0-AEE7-409E-8BDF-0808E8AB1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50" y="1387476"/>
            <a:ext cx="417338" cy="394521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1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EE80C66C-0E7C-4CBC-9EBF-FC9E42F358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7310" y="1387475"/>
            <a:ext cx="492897" cy="394521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3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9EA37C87-A514-40C9-B2F4-DCC2DFE31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7049" y="1387474"/>
            <a:ext cx="492897" cy="394521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4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81BBA398-8E76-4358-B5E2-4348F0AE5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16786" y="1384830"/>
            <a:ext cx="492897" cy="394521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5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95C78AD0-1D12-4B06-9B50-8D7249731F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8950" y="3779692"/>
            <a:ext cx="417338" cy="398589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6</a:t>
            </a: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AB54AE04-D7E4-43DF-8671-6EA102AB7A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7310" y="3779692"/>
            <a:ext cx="492897" cy="398589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8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A2B8C4EB-E7AD-4E4E-9CC5-0C762F0DD6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7049" y="3779692"/>
            <a:ext cx="492897" cy="398589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9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CE70C97-9AC2-4DE1-A081-AA96C7B784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16786" y="3779692"/>
            <a:ext cx="492897" cy="398589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10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A36AB5C8-E3FD-4738-8EED-06AC6C8E73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3130" y="3779692"/>
            <a:ext cx="417338" cy="398589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7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CCDC343F-6984-4A09-A0A5-FD934DFDE6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3130" y="1387476"/>
            <a:ext cx="417338" cy="394521"/>
          </a:xfrm>
        </p:spPr>
        <p:txBody>
          <a:bodyPr anchor="b"/>
          <a:lstStyle>
            <a:lvl1pPr>
              <a:lnSpc>
                <a:spcPts val="3750"/>
              </a:lnSpc>
              <a:spcAft>
                <a:spcPts val="0"/>
              </a:spcAft>
              <a:defRPr sz="3375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IN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710335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financ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D80CEA8E-138D-424C-B683-ADF9D9484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6567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D80CEA8E-138D-424C-B683-ADF9D9484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4B8375C-D136-496D-B396-E12C5AC96595}"/>
              </a:ext>
            </a:extLst>
          </p:cNvPr>
          <p:cNvSpPr/>
          <p:nvPr userDrawn="1"/>
        </p:nvSpPr>
        <p:spPr>
          <a:xfrm>
            <a:off x="488950" y="3764588"/>
            <a:ext cx="2916000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C5BDF1-62E0-4C37-9FD8-DB848F416867}"/>
              </a:ext>
            </a:extLst>
          </p:cNvPr>
          <p:cNvSpPr/>
          <p:nvPr userDrawn="1"/>
        </p:nvSpPr>
        <p:spPr>
          <a:xfrm>
            <a:off x="488950" y="1426120"/>
            <a:ext cx="2916000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0706CA-FA44-4056-A268-EA90C8EB0DCB}"/>
              </a:ext>
            </a:extLst>
          </p:cNvPr>
          <p:cNvSpPr/>
          <p:nvPr userDrawn="1"/>
        </p:nvSpPr>
        <p:spPr>
          <a:xfrm>
            <a:off x="3490458" y="1426120"/>
            <a:ext cx="2916000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7DA55E-FB36-4973-80C9-C62476D64D01}"/>
              </a:ext>
            </a:extLst>
          </p:cNvPr>
          <p:cNvSpPr/>
          <p:nvPr userDrawn="1"/>
        </p:nvSpPr>
        <p:spPr>
          <a:xfrm>
            <a:off x="3489686" y="3764588"/>
            <a:ext cx="2916000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39018E-EFB7-4441-9BA1-A33D7DD82CC6}"/>
              </a:ext>
            </a:extLst>
          </p:cNvPr>
          <p:cNvSpPr/>
          <p:nvPr userDrawn="1"/>
        </p:nvSpPr>
        <p:spPr>
          <a:xfrm>
            <a:off x="6491966" y="1426120"/>
            <a:ext cx="2916000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9CE70F-E139-4C95-B180-0F36A9FCC093}"/>
              </a:ext>
            </a:extLst>
          </p:cNvPr>
          <p:cNvSpPr/>
          <p:nvPr userDrawn="1"/>
        </p:nvSpPr>
        <p:spPr>
          <a:xfrm>
            <a:off x="6491194" y="3764588"/>
            <a:ext cx="2916000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C1225F-2F80-4A31-8622-510313B6D6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950" y="1426120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4EC38CC-347F-4004-A561-E28F7FF776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9686" y="1426120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A662CB6-9247-497E-95CA-01005539AF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91194" y="1426120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0A08BF9-C5FE-4CAB-A0C9-E489C05B9B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8950" y="3764588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A4FF765E-C4AE-4717-8941-8BB15D4030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89686" y="3764588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A119574-AD08-4750-8E23-17F433A4B8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1194" y="3764588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0868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financial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D80CEA8E-138D-424C-B683-ADF9D9484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6567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D80CEA8E-138D-424C-B683-ADF9D9484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4B8375C-D136-496D-B396-E12C5AC96595}"/>
              </a:ext>
            </a:extLst>
          </p:cNvPr>
          <p:cNvSpPr/>
          <p:nvPr userDrawn="1"/>
        </p:nvSpPr>
        <p:spPr>
          <a:xfrm>
            <a:off x="488950" y="3764588"/>
            <a:ext cx="4416368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C5BDF1-62E0-4C37-9FD8-DB848F416867}"/>
              </a:ext>
            </a:extLst>
          </p:cNvPr>
          <p:cNvSpPr/>
          <p:nvPr userDrawn="1"/>
        </p:nvSpPr>
        <p:spPr>
          <a:xfrm>
            <a:off x="488950" y="1426120"/>
            <a:ext cx="2915228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0706CA-FA44-4056-A268-EA90C8EB0DCB}"/>
              </a:ext>
            </a:extLst>
          </p:cNvPr>
          <p:cNvSpPr/>
          <p:nvPr userDrawn="1"/>
        </p:nvSpPr>
        <p:spPr>
          <a:xfrm>
            <a:off x="3490458" y="1426120"/>
            <a:ext cx="2915228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39018E-EFB7-4441-9BA1-A33D7DD82CC6}"/>
              </a:ext>
            </a:extLst>
          </p:cNvPr>
          <p:cNvSpPr/>
          <p:nvPr userDrawn="1"/>
        </p:nvSpPr>
        <p:spPr>
          <a:xfrm>
            <a:off x="6491966" y="1426120"/>
            <a:ext cx="2915228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99CE70F-E139-4C95-B180-0F36A9FCC093}"/>
              </a:ext>
            </a:extLst>
          </p:cNvPr>
          <p:cNvSpPr/>
          <p:nvPr userDrawn="1"/>
        </p:nvSpPr>
        <p:spPr>
          <a:xfrm>
            <a:off x="4990826" y="3764588"/>
            <a:ext cx="4416368" cy="22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70" tIns="102870" rIns="102870" bIns="102870" rtlCol="0" anchor="t"/>
          <a:lstStyle/>
          <a:p>
            <a:pPr algn="l"/>
            <a:endParaRPr lang="en-US" sz="1050" b="1">
              <a:solidFill>
                <a:schemeClr val="accent1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C510DB2-2911-45CB-A88F-7C3DB0B5C2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8950" y="1426120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976A36E-5D08-47AA-981F-9428B675D0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9686" y="1426120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BA79DD47-4CFD-4FBB-B566-41A2F65AC1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91194" y="1426120"/>
            <a:ext cx="236925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39AEDD52-4ED9-4094-A764-3E4D3DF1A3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8950" y="3764588"/>
            <a:ext cx="373253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2333BA7E-B38D-469C-8B11-CFF226F7CA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90826" y="3764588"/>
            <a:ext cx="3732530" cy="252000"/>
          </a:xfrm>
        </p:spPr>
        <p:txBody>
          <a:bodyPr lIns="72000" anchor="ctr"/>
          <a:lstStyle>
            <a:lvl1pPr marL="0" algn="l" defTabSz="685783" rtl="0" eaLnBrk="1" latinLnBrk="0" hangingPunct="1">
              <a:defRPr lang="en-US" sz="1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algn="l" defTabSz="685783" rtl="0" eaLnBrk="1" latinLnBrk="0" hangingPunct="1">
              <a:defRPr lang="en-US" sz="105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algn="l" defTabSz="685783" rtl="0" eaLnBrk="1" latinLnBrk="0" hangingPunct="1">
              <a:defRPr lang="fi-FI" sz="105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8900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8ACE2CE-0B9F-45BB-93BF-700B616BF0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35834" y="3744835"/>
            <a:ext cx="6313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BITDA/</a:t>
            </a:r>
            <a:br>
              <a:rPr lang="en-US"/>
            </a:br>
            <a:r>
              <a:rPr lang="en-US"/>
              <a:t>cash</a:t>
            </a:r>
            <a:endParaRPr lang="fi-FI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ACDB5FC-D5D8-44C8-88B4-8674CF07C2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35834" y="4908802"/>
            <a:ext cx="6313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BITDA/</a:t>
            </a:r>
            <a:br>
              <a:rPr lang="en-US"/>
            </a:br>
            <a:r>
              <a:rPr lang="en-US"/>
              <a:t>cash</a:t>
            </a:r>
            <a:endParaRPr lang="fi-FI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329D31B-DB4A-4D1A-9257-1E1D388B7E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8495" y="2516607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064139C-7C7A-42D4-96FF-7BB1E2AA9D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8495" y="3744835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CE0CF52-722C-4656-9A74-2FC75A786E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48495" y="4908802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A7FA0F16-790B-41D4-908F-703E3DFC62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08" y="2328684"/>
            <a:ext cx="4156381" cy="267866"/>
          </a:xfrm>
        </p:spPr>
        <p:txBody>
          <a:bodyPr lIns="72000"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 (e.g., Quality of earnings)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6BA6024-1C92-488A-9A04-3900259F07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6609" y="3506638"/>
            <a:ext cx="4156380" cy="267866"/>
          </a:xfrm>
        </p:spPr>
        <p:txBody>
          <a:bodyPr lIns="72000"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 (e.g., Quality of earnings)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B5108494-6988-49A8-BBDA-8C23969B75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07" y="4684592"/>
            <a:ext cx="4156378" cy="267866"/>
          </a:xfrm>
        </p:spPr>
        <p:txBody>
          <a:bodyPr lIns="72000"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 (e.g., Quality of earnings)</a:t>
            </a:r>
          </a:p>
        </p:txBody>
      </p:sp>
      <p:sp>
        <p:nvSpPr>
          <p:cNvPr id="21" name="Text Placeholder 51">
            <a:extLst>
              <a:ext uri="{FF2B5EF4-FFF2-40B4-BE49-F238E27FC236}">
                <a16:creationId xmlns:a16="http://schemas.microsoft.com/office/drawing/2014/main" id="{AE0ABEA6-30AB-43D8-A777-5574CE17A1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36249" y="2513156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51">
            <a:extLst>
              <a:ext uri="{FF2B5EF4-FFF2-40B4-BE49-F238E27FC236}">
                <a16:creationId xmlns:a16="http://schemas.microsoft.com/office/drawing/2014/main" id="{4CD373B9-F307-4086-A904-748B93A612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71090" y="2513156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3" name="Text Placeholder 51">
            <a:extLst>
              <a:ext uri="{FF2B5EF4-FFF2-40B4-BE49-F238E27FC236}">
                <a16:creationId xmlns:a16="http://schemas.microsoft.com/office/drawing/2014/main" id="{0D6960B3-E95E-4FC0-91C9-488FB4765F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36249" y="3741384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51">
            <a:extLst>
              <a:ext uri="{FF2B5EF4-FFF2-40B4-BE49-F238E27FC236}">
                <a16:creationId xmlns:a16="http://schemas.microsoft.com/office/drawing/2014/main" id="{EE2E2335-860E-40C3-9103-B614B11C00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71090" y="3741384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51">
            <a:extLst>
              <a:ext uri="{FF2B5EF4-FFF2-40B4-BE49-F238E27FC236}">
                <a16:creationId xmlns:a16="http://schemas.microsoft.com/office/drawing/2014/main" id="{2B919142-1B1A-4697-B31F-4190CD910C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36249" y="490535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6" name="Text Placeholder 51">
            <a:extLst>
              <a:ext uri="{FF2B5EF4-FFF2-40B4-BE49-F238E27FC236}">
                <a16:creationId xmlns:a16="http://schemas.microsoft.com/office/drawing/2014/main" id="{F399A6C5-BEB4-4385-84CF-D74CB8AE95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71090" y="490535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Text Placeholder 51">
            <a:extLst>
              <a:ext uri="{FF2B5EF4-FFF2-40B4-BE49-F238E27FC236}">
                <a16:creationId xmlns:a16="http://schemas.microsoft.com/office/drawing/2014/main" id="{893DE75B-D449-49D8-B973-269561B0FE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02939" y="2513156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8" name="Text Placeholder 51">
            <a:extLst>
              <a:ext uri="{FF2B5EF4-FFF2-40B4-BE49-F238E27FC236}">
                <a16:creationId xmlns:a16="http://schemas.microsoft.com/office/drawing/2014/main" id="{C91AC429-D52B-4CFD-8A20-EC7AE003AC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02939" y="3741384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9" name="Text Placeholder 51">
            <a:extLst>
              <a:ext uri="{FF2B5EF4-FFF2-40B4-BE49-F238E27FC236}">
                <a16:creationId xmlns:a16="http://schemas.microsoft.com/office/drawing/2014/main" id="{643A173C-72F3-49E7-BEBC-7F9A4D0B3D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02939" y="490535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0A070373-A787-4805-828B-1B8405EDF47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435834" y="2516607"/>
            <a:ext cx="6313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BITDA/</a:t>
            </a:r>
            <a:br>
              <a:rPr lang="en-US"/>
            </a:br>
            <a:r>
              <a:rPr lang="en-US"/>
              <a:t>cash</a:t>
            </a:r>
            <a:endParaRPr lang="fi-FI"/>
          </a:p>
        </p:txBody>
      </p:sp>
      <p:graphicFrame>
        <p:nvGraphicFramePr>
          <p:cNvPr id="37" name="Table 12">
            <a:extLst>
              <a:ext uri="{FF2B5EF4-FFF2-40B4-BE49-F238E27FC236}">
                <a16:creationId xmlns:a16="http://schemas.microsoft.com/office/drawing/2014/main" id="{20B4D0F8-77C0-4C48-A0A6-3E8A188066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92088600"/>
              </p:ext>
            </p:extLst>
          </p:nvPr>
        </p:nvGraphicFramePr>
        <p:xfrm>
          <a:off x="488949" y="1426890"/>
          <a:ext cx="8918244" cy="740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07165">
                  <a:extLst>
                    <a:ext uri="{9D8B030D-6E8A-4147-A177-3AD203B41FA5}">
                      <a16:colId xmlns:a16="http://schemas.microsoft.com/office/drawing/2014/main" val="3484522192"/>
                    </a:ext>
                  </a:extLst>
                </a:gridCol>
                <a:gridCol w="833977">
                  <a:extLst>
                    <a:ext uri="{9D8B030D-6E8A-4147-A177-3AD203B41FA5}">
                      <a16:colId xmlns:a16="http://schemas.microsoft.com/office/drawing/2014/main" val="2898080812"/>
                    </a:ext>
                  </a:extLst>
                </a:gridCol>
                <a:gridCol w="833977">
                  <a:extLst>
                    <a:ext uri="{9D8B030D-6E8A-4147-A177-3AD203B41FA5}">
                      <a16:colId xmlns:a16="http://schemas.microsoft.com/office/drawing/2014/main" val="4060292537"/>
                    </a:ext>
                  </a:extLst>
                </a:gridCol>
                <a:gridCol w="833977">
                  <a:extLst>
                    <a:ext uri="{9D8B030D-6E8A-4147-A177-3AD203B41FA5}">
                      <a16:colId xmlns:a16="http://schemas.microsoft.com/office/drawing/2014/main" val="1277292110"/>
                    </a:ext>
                  </a:extLst>
                </a:gridCol>
                <a:gridCol w="1104574">
                  <a:extLst>
                    <a:ext uri="{9D8B030D-6E8A-4147-A177-3AD203B41FA5}">
                      <a16:colId xmlns:a16="http://schemas.microsoft.com/office/drawing/2014/main" val="4096450474"/>
                    </a:ext>
                  </a:extLst>
                </a:gridCol>
                <a:gridCol w="1104574">
                  <a:extLst>
                    <a:ext uri="{9D8B030D-6E8A-4147-A177-3AD203B41FA5}">
                      <a16:colId xmlns:a16="http://schemas.microsoft.com/office/drawing/2014/main" val="3523288619"/>
                    </a:ext>
                  </a:extLst>
                </a:gridCol>
              </a:tblGrid>
              <a:tr h="273198">
                <a:tc rowSpan="2">
                  <a:txBody>
                    <a:bodyPr/>
                    <a:lstStyle/>
                    <a:p>
                      <a:r>
                        <a:rPr lang="en-US" sz="1000"/>
                        <a:t>Topic</a:t>
                      </a:r>
                    </a:p>
                  </a:txBody>
                  <a:tcPr marL="72000" marR="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/>
                        <a:t>Implication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/>
                        <a:t>Value impact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96076"/>
                  </a:ext>
                </a:extLst>
              </a:tr>
              <a:tr h="467754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Valuation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SPA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Other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Impact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Proposed adjustments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075822"/>
                  </a:ext>
                </a:extLst>
              </a:tr>
            </a:tbl>
          </a:graphicData>
        </a:graphic>
      </p:graphicFrame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6C77E9AA-8C8E-430B-9479-C545551C30C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96609" y="2662864"/>
            <a:ext cx="4158000" cy="5436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lvl="0" defTabSz="914377"/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text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5E7FCC13-9844-4E68-8356-C5CD011B574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96609" y="3841300"/>
            <a:ext cx="4158000" cy="5436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lvl="0" defTabSz="914377"/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text here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6B69E324-6927-4AF7-9E56-94C10617F1A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96609" y="5019254"/>
            <a:ext cx="4158000" cy="5436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lvl="0" defTabSz="914377"/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1801396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s_V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graphicFrame>
        <p:nvGraphicFramePr>
          <p:cNvPr id="9" name="Table 12">
            <a:extLst>
              <a:ext uri="{FF2B5EF4-FFF2-40B4-BE49-F238E27FC236}">
                <a16:creationId xmlns:a16="http://schemas.microsoft.com/office/drawing/2014/main" id="{4C310E40-D4AE-48F0-9253-B49CACB873D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699795"/>
              </p:ext>
            </p:extLst>
          </p:nvPr>
        </p:nvGraphicFramePr>
        <p:xfrm>
          <a:off x="488950" y="1426890"/>
          <a:ext cx="8918244" cy="668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7621">
                  <a:extLst>
                    <a:ext uri="{9D8B030D-6E8A-4147-A177-3AD203B41FA5}">
                      <a16:colId xmlns:a16="http://schemas.microsoft.com/office/drawing/2014/main" val="3484522192"/>
                    </a:ext>
                  </a:extLst>
                </a:gridCol>
                <a:gridCol w="696686">
                  <a:extLst>
                    <a:ext uri="{9D8B030D-6E8A-4147-A177-3AD203B41FA5}">
                      <a16:colId xmlns:a16="http://schemas.microsoft.com/office/drawing/2014/main" val="2898080812"/>
                    </a:ext>
                  </a:extLst>
                </a:gridCol>
                <a:gridCol w="551153">
                  <a:extLst>
                    <a:ext uri="{9D8B030D-6E8A-4147-A177-3AD203B41FA5}">
                      <a16:colId xmlns:a16="http://schemas.microsoft.com/office/drawing/2014/main" val="4060292537"/>
                    </a:ext>
                  </a:extLst>
                </a:gridCol>
                <a:gridCol w="569657">
                  <a:extLst>
                    <a:ext uri="{9D8B030D-6E8A-4147-A177-3AD203B41FA5}">
                      <a16:colId xmlns:a16="http://schemas.microsoft.com/office/drawing/2014/main" val="1277292110"/>
                    </a:ext>
                  </a:extLst>
                </a:gridCol>
                <a:gridCol w="797520">
                  <a:extLst>
                    <a:ext uri="{9D8B030D-6E8A-4147-A177-3AD203B41FA5}">
                      <a16:colId xmlns:a16="http://schemas.microsoft.com/office/drawing/2014/main" val="4096450474"/>
                    </a:ext>
                  </a:extLst>
                </a:gridCol>
                <a:gridCol w="1035740">
                  <a:extLst>
                    <a:ext uri="{9D8B030D-6E8A-4147-A177-3AD203B41FA5}">
                      <a16:colId xmlns:a16="http://schemas.microsoft.com/office/drawing/2014/main" val="3523288619"/>
                    </a:ext>
                  </a:extLst>
                </a:gridCol>
                <a:gridCol w="750440">
                  <a:extLst>
                    <a:ext uri="{9D8B030D-6E8A-4147-A177-3AD203B41FA5}">
                      <a16:colId xmlns:a16="http://schemas.microsoft.com/office/drawing/2014/main" val="1392655734"/>
                    </a:ext>
                  </a:extLst>
                </a:gridCol>
                <a:gridCol w="869427">
                  <a:extLst>
                    <a:ext uri="{9D8B030D-6E8A-4147-A177-3AD203B41FA5}">
                      <a16:colId xmlns:a16="http://schemas.microsoft.com/office/drawing/2014/main" val="4217565530"/>
                    </a:ext>
                  </a:extLst>
                </a:gridCol>
              </a:tblGrid>
              <a:tr h="292152">
                <a:tc rowSpan="2">
                  <a:txBody>
                    <a:bodyPr/>
                    <a:lstStyle/>
                    <a:p>
                      <a:r>
                        <a:rPr lang="en-US" sz="1000"/>
                        <a:t>Topic</a:t>
                      </a:r>
                    </a:p>
                  </a:txBody>
                  <a:tcPr marL="78000" marR="585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/>
                        <a:t>Implication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/>
                        <a:t>Value impact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marL="54864" marR="54864" marT="54864" marB="54864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/>
                        <a:t>Timeline to implement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8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96076"/>
                  </a:ext>
                </a:extLst>
              </a:tr>
              <a:tr h="368727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 marL="54864" marR="54864" marT="54864" marB="54864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Valuation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SPA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Other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Impact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Proposed adjustments</a:t>
                      </a:r>
                    </a:p>
                  </a:txBody>
                  <a:tcPr marL="0" marR="0" marT="36000" marB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Upside potential</a:t>
                      </a:r>
                    </a:p>
                  </a:txBody>
                  <a:tcPr marL="0" marR="0" marT="36000" marB="36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075822"/>
                  </a:ext>
                </a:extLst>
              </a:tr>
            </a:tbl>
          </a:graphicData>
        </a:graphic>
      </p:graphicFrame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8ACE2CE-0B9F-45BB-93BF-700B616BF0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37498" y="3729972"/>
            <a:ext cx="6313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BITDA/</a:t>
            </a:r>
            <a:br>
              <a:rPr lang="en-US"/>
            </a:br>
            <a:r>
              <a:rPr lang="en-US"/>
              <a:t>cash</a:t>
            </a:r>
            <a:endParaRPr lang="fi-FI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ACDB5FC-D5D8-44C8-88B4-8674CF07C2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37498" y="4959682"/>
            <a:ext cx="6313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BITDA/</a:t>
            </a:r>
            <a:br>
              <a:rPr lang="en-US"/>
            </a:br>
            <a:r>
              <a:rPr lang="en-US"/>
              <a:t>cash</a:t>
            </a:r>
            <a:endParaRPr lang="fi-FI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329D31B-DB4A-4D1A-9257-1E1D388B7E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60847" y="2483010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064139C-7C7A-42D4-96FF-7BB1E2AA9D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60847" y="3729972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CE0CF52-722C-4656-9A74-2FC75A786E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60847" y="4959682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A7FA0F16-790B-41D4-908F-703E3DFC62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07" y="2207920"/>
            <a:ext cx="3633190" cy="267866"/>
          </a:xfrm>
        </p:spPr>
        <p:txBody>
          <a:bodyPr lIns="72000"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 (e.g., Quality of earnings)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36BA6024-1C92-488A-9A04-3900259F07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6607" y="3454882"/>
            <a:ext cx="3633189" cy="267866"/>
          </a:xfrm>
        </p:spPr>
        <p:txBody>
          <a:bodyPr lIns="72000"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 (e.g., Quality of earnings)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B5108494-6988-49A8-BBDA-8C23969B75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07" y="4684592"/>
            <a:ext cx="3633188" cy="267866"/>
          </a:xfrm>
        </p:spPr>
        <p:txBody>
          <a:bodyPr lIns="72000"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ing (e.g., Quality of earnings)</a:t>
            </a:r>
          </a:p>
        </p:txBody>
      </p:sp>
      <p:sp>
        <p:nvSpPr>
          <p:cNvPr id="21" name="Text Placeholder 51">
            <a:extLst>
              <a:ext uri="{FF2B5EF4-FFF2-40B4-BE49-F238E27FC236}">
                <a16:creationId xmlns:a16="http://schemas.microsoft.com/office/drawing/2014/main" id="{AE0ABEA6-30AB-43D8-A777-5574CE17A1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7320" y="2479559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51">
            <a:extLst>
              <a:ext uri="{FF2B5EF4-FFF2-40B4-BE49-F238E27FC236}">
                <a16:creationId xmlns:a16="http://schemas.microsoft.com/office/drawing/2014/main" id="{4CD373B9-F307-4086-A904-748B93A612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31986" y="2479559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3" name="Text Placeholder 51">
            <a:extLst>
              <a:ext uri="{FF2B5EF4-FFF2-40B4-BE49-F238E27FC236}">
                <a16:creationId xmlns:a16="http://schemas.microsoft.com/office/drawing/2014/main" id="{0D6960B3-E95E-4FC0-91C9-488FB4765F0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97320" y="372652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51">
            <a:extLst>
              <a:ext uri="{FF2B5EF4-FFF2-40B4-BE49-F238E27FC236}">
                <a16:creationId xmlns:a16="http://schemas.microsoft.com/office/drawing/2014/main" id="{EE2E2335-860E-40C3-9103-B614B11C00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31986" y="372652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51">
            <a:extLst>
              <a:ext uri="{FF2B5EF4-FFF2-40B4-BE49-F238E27FC236}">
                <a16:creationId xmlns:a16="http://schemas.microsoft.com/office/drawing/2014/main" id="{2B919142-1B1A-4697-B31F-4190CD910C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97320" y="495623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6" name="Text Placeholder 51">
            <a:extLst>
              <a:ext uri="{FF2B5EF4-FFF2-40B4-BE49-F238E27FC236}">
                <a16:creationId xmlns:a16="http://schemas.microsoft.com/office/drawing/2014/main" id="{F399A6C5-BEB4-4385-84CF-D74CB8AE95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31986" y="495623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Text Placeholder 51">
            <a:extLst>
              <a:ext uri="{FF2B5EF4-FFF2-40B4-BE49-F238E27FC236}">
                <a16:creationId xmlns:a16="http://schemas.microsoft.com/office/drawing/2014/main" id="{893DE75B-D449-49D8-B973-269561B0FE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490786" y="2479559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8" name="Text Placeholder 51">
            <a:extLst>
              <a:ext uri="{FF2B5EF4-FFF2-40B4-BE49-F238E27FC236}">
                <a16:creationId xmlns:a16="http://schemas.microsoft.com/office/drawing/2014/main" id="{C91AC429-D52B-4CFD-8A20-EC7AE003AC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90786" y="372652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9" name="Text Placeholder 51">
            <a:extLst>
              <a:ext uri="{FF2B5EF4-FFF2-40B4-BE49-F238E27FC236}">
                <a16:creationId xmlns:a16="http://schemas.microsoft.com/office/drawing/2014/main" id="{643A173C-72F3-49E7-BEBC-7F9A4D0B3D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0786" y="4956231"/>
            <a:ext cx="351000" cy="474903"/>
          </a:xfrm>
        </p:spPr>
        <p:txBody>
          <a:bodyPr wrap="none" lIns="72000" tIns="72000" rIns="72000" bIns="72000" anchor="ctr" anchorCtr="0"/>
          <a:lstStyle>
            <a:lvl1pPr algn="ctr">
              <a:lnSpc>
                <a:spcPts val="2600"/>
              </a:lnSpc>
              <a:defRPr lang="en-US" sz="2100" b="1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 sz="2100" b="1">
                <a:solidFill>
                  <a:schemeClr val="accent6"/>
                </a:solidFill>
                <a:latin typeface="+mn-lt"/>
                <a:sym typeface="Wingdings" panose="05000000000000000000" pitchFamily="2" charset="2"/>
              </a:rPr>
              <a:t></a:t>
            </a:r>
            <a:endParaRPr lang="en-US" sz="2100" b="1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2FD6198-5276-4EBC-9F33-59F610A387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54488" y="2483010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AE5C4BD-FE67-4920-87A7-1A6BE53502C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54488" y="3729972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696079F9-DF84-4206-B1D9-22DC66F86DF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854488" y="4959682"/>
            <a:ext cx="614250" cy="468000"/>
          </a:xfrm>
        </p:spPr>
        <p:txBody>
          <a:bodyPr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$</a:t>
            </a:r>
            <a:r>
              <a:rPr lang="en-US" err="1"/>
              <a:t>x.xm</a:t>
            </a:r>
            <a:endParaRPr lang="fi-FI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0A070373-A787-4805-828B-1B8405EDF47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037498" y="2483010"/>
            <a:ext cx="6313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BITDA/</a:t>
            </a:r>
            <a:br>
              <a:rPr lang="en-US"/>
            </a:br>
            <a:r>
              <a:rPr lang="en-US"/>
              <a:t>cash</a:t>
            </a:r>
            <a:endParaRPr lang="fi-FI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D531BFFA-3A55-4D9B-8ABC-537A63A9BE5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97086" y="2483010"/>
            <a:ext cx="7466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6-12</a:t>
            </a:r>
            <a:br>
              <a:rPr lang="en-US"/>
            </a:br>
            <a:r>
              <a:rPr lang="en-US"/>
              <a:t>month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1276AE5-1EED-4B13-9209-8C014D9C9D9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597086" y="3729972"/>
            <a:ext cx="7466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6-12</a:t>
            </a:r>
            <a:br>
              <a:rPr lang="en-US"/>
            </a:br>
            <a:r>
              <a:rPr lang="en-US"/>
              <a:t>month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867FC815-CEB0-4C47-A6C3-1296A8B37E2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97086" y="4959682"/>
            <a:ext cx="746654" cy="468000"/>
          </a:xfrm>
        </p:spPr>
        <p:txBody>
          <a:bodyPr tIns="0" anchor="ctr"/>
          <a:lstStyle>
            <a:lvl1pPr algn="ctr">
              <a:lnSpc>
                <a:spcPts val="1900"/>
              </a:lnSpc>
              <a:spcAft>
                <a:spcPts val="0"/>
              </a:spcAft>
              <a:defRPr lang="en-US" sz="2000" b="0" kern="1200" dirty="0" smtClean="0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1800" b="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i-FI" sz="1800" b="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6-12</a:t>
            </a:r>
            <a:br>
              <a:rPr lang="en-US"/>
            </a:br>
            <a:r>
              <a:rPr lang="en-US"/>
              <a:t>months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705C91FF-2675-43C5-BE7A-524E6E07D59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96607" y="2542100"/>
            <a:ext cx="3632400" cy="684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lvl="0" defTabSz="914377"/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text here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6574D591-C358-4F2F-89FE-F77C4C7ABCE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96607" y="3789544"/>
            <a:ext cx="3632400" cy="684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lvl="0" defTabSz="914377"/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text here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8B4F7FD3-D21C-4ACE-8410-F2941F9E214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96607" y="5019254"/>
            <a:ext cx="3632400" cy="684000"/>
          </a:xfrm>
        </p:spPr>
        <p:txBody>
          <a:bodyPr vert="horz" lIns="72000" tIns="0" rIns="72000" bIns="0" rtlCol="0" anchor="t" anchorCtr="0">
            <a:noAutofit/>
          </a:bodyPr>
          <a:lstStyle>
            <a:lvl1pPr>
              <a:defRPr lang="en-US" b="0" noProof="0" dirty="0">
                <a:solidFill>
                  <a:schemeClr val="tx1"/>
                </a:solidFill>
              </a:defRPr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IN" dirty="0"/>
            </a:lvl5pPr>
          </a:lstStyle>
          <a:p>
            <a:pPr lvl="0" defTabSz="914377"/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3903878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_V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7485E88B-8E19-46CC-9DD6-21C0FB0A60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008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7485E88B-8E19-46CC-9DD6-21C0FB0A60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F8093A2-8F86-463E-AFBC-C349A931EB9B}"/>
              </a:ext>
            </a:extLst>
          </p:cNvPr>
          <p:cNvSpPr/>
          <p:nvPr userDrawn="1"/>
        </p:nvSpPr>
        <p:spPr>
          <a:xfrm rot="5400000">
            <a:off x="9603669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3313A569-A07A-4B94-BB8C-E40F5CD08CF9}"/>
              </a:ext>
            </a:extLst>
          </p:cNvPr>
          <p:cNvSpPr/>
          <p:nvPr userDrawn="1"/>
        </p:nvSpPr>
        <p:spPr>
          <a:xfrm rot="16200000" flipH="1">
            <a:off x="9041547" y="165458"/>
            <a:ext cx="99161" cy="8548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6" name="Oval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3E20A8A-427D-4254-9909-3962AFFC97DB}"/>
              </a:ext>
            </a:extLst>
          </p:cNvPr>
          <p:cNvSpPr/>
          <p:nvPr userDrawn="1"/>
        </p:nvSpPr>
        <p:spPr>
          <a:xfrm>
            <a:off x="9525720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7" name="Oval 6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4E3BA38D-81B7-4B6E-8596-71FA1A24A881}"/>
              </a:ext>
            </a:extLst>
          </p:cNvPr>
          <p:cNvSpPr/>
          <p:nvPr userDrawn="1"/>
        </p:nvSpPr>
        <p:spPr>
          <a:xfrm flipH="1">
            <a:off x="8982046" y="89896"/>
            <a:ext cx="236608" cy="23660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pic>
        <p:nvPicPr>
          <p:cNvPr id="8" name="Graphic 7" descr="Home">
            <a:hlinkClick r:id="" action="ppaction://noaction"/>
            <a:extLst>
              <a:ext uri="{FF2B5EF4-FFF2-40B4-BE49-F238E27FC236}">
                <a16:creationId xmlns:a16="http://schemas.microsoft.com/office/drawing/2014/main" id="{6E3734EB-A8B3-43AB-80EA-AC49FD2975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9260948" y="89883"/>
            <a:ext cx="222479" cy="22247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E9E978B-B9DC-4DAF-8F17-C9FB0FBEB2AF}"/>
              </a:ext>
            </a:extLst>
          </p:cNvPr>
          <p:cNvSpPr/>
          <p:nvPr userDrawn="1"/>
        </p:nvSpPr>
        <p:spPr>
          <a:xfrm flipH="1">
            <a:off x="7074651" y="1425214"/>
            <a:ext cx="2831350" cy="4596023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958" tIns="40958" rIns="40958" bIns="40958" rtlCol="0" anchor="ctr"/>
          <a:lstStyle/>
          <a:p>
            <a:pPr algn="l"/>
            <a:endParaRPr lang="en-GB" sz="1125">
              <a:solidFill>
                <a:schemeClr val="bg1"/>
              </a:solidFill>
            </a:endParaRPr>
          </a:p>
        </p:txBody>
      </p:sp>
      <p:pic>
        <p:nvPicPr>
          <p:cNvPr id="10" name="Graphic 9" descr="Shoe footprints with solid fill">
            <a:extLst>
              <a:ext uri="{FF2B5EF4-FFF2-40B4-BE49-F238E27FC236}">
                <a16:creationId xmlns:a16="http://schemas.microsoft.com/office/drawing/2014/main" id="{22141D45-53F4-42E7-B98A-B259348334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08624" y="2955307"/>
            <a:ext cx="495300" cy="457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6F86210-C997-4E33-A118-6FF512A638AE}"/>
              </a:ext>
            </a:extLst>
          </p:cNvPr>
          <p:cNvSpPr/>
          <p:nvPr userDrawn="1"/>
        </p:nvSpPr>
        <p:spPr>
          <a:xfrm>
            <a:off x="7266992" y="1535442"/>
            <a:ext cx="2140202" cy="1264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54000" tIns="40500" rIns="54000" bIns="27000" rtlCol="0" anchor="t" anchorCtr="1"/>
          <a:lstStyle/>
          <a:p>
            <a:pPr algn="ctr">
              <a:spcAft>
                <a:spcPts val="225"/>
              </a:spcAft>
            </a:pPr>
            <a:endParaRPr lang="en-US" sz="825" b="1">
              <a:solidFill>
                <a:schemeClr val="accent1"/>
              </a:solidFill>
            </a:endParaRPr>
          </a:p>
        </p:txBody>
      </p:sp>
      <p:sp>
        <p:nvSpPr>
          <p:cNvPr id="12" name="Chart Placeholder 43">
            <a:extLst>
              <a:ext uri="{FF2B5EF4-FFF2-40B4-BE49-F238E27FC236}">
                <a16:creationId xmlns:a16="http://schemas.microsoft.com/office/drawing/2014/main" id="{6C956EA8-1821-4B02-93F0-CDB2EAA057AA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7334562" y="1856597"/>
            <a:ext cx="1990593" cy="849843"/>
          </a:xfrm>
        </p:spPr>
        <p:txBody>
          <a:bodyPr lIns="72000"/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fi-FI"/>
              <a:t>Add chart with upside potential he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D6F06A6-9BF1-4676-815A-C5C408474742}"/>
              </a:ext>
            </a:extLst>
          </p:cNvPr>
          <p:cNvSpPr txBox="1">
            <a:spLocks/>
          </p:cNvSpPr>
          <p:nvPr userDrawn="1"/>
        </p:nvSpPr>
        <p:spPr>
          <a:xfrm>
            <a:off x="7766264" y="2955308"/>
            <a:ext cx="1640930" cy="4431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800">
                <a:solidFill>
                  <a:schemeClr val="tx2"/>
                </a:solidFill>
                <a:latin typeface="+mj-lt"/>
              </a:rPr>
              <a:t>Recommended next steps</a:t>
            </a:r>
          </a:p>
        </p:txBody>
      </p:sp>
      <p:sp>
        <p:nvSpPr>
          <p:cNvPr id="14" name="Text Placeholder 49">
            <a:extLst>
              <a:ext uri="{FF2B5EF4-FFF2-40B4-BE49-F238E27FC236}">
                <a16:creationId xmlns:a16="http://schemas.microsoft.com/office/drawing/2014/main" id="{8219B07B-F648-422F-88E3-84BA855D0D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66992" y="3568234"/>
            <a:ext cx="2140203" cy="1650396"/>
          </a:xfrm>
        </p:spPr>
        <p:txBody>
          <a:bodyPr lIns="72000" tIns="0" rIns="72000" bIns="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0">
                <a:solidFill>
                  <a:schemeClr val="tx1"/>
                </a:solidFill>
              </a:defRPr>
            </a:lvl4pPr>
            <a:lvl5pPr>
              <a:defRPr b="0">
                <a:solidFill>
                  <a:schemeClr val="tx1"/>
                </a:solidFill>
              </a:defRPr>
            </a:lvl5pPr>
          </a:lstStyle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5E9E0892-F1C0-4488-830C-51B2735D018B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7334232" y="1582641"/>
            <a:ext cx="1980782" cy="211198"/>
          </a:xfrm>
        </p:spPr>
        <p:txBody>
          <a:bodyPr lIns="7200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  <a:endParaRPr lang="en-IN"/>
          </a:p>
        </p:txBody>
      </p:sp>
      <p:sp>
        <p:nvSpPr>
          <p:cNvPr id="16" name="Chart Placeholder 16">
            <a:extLst>
              <a:ext uri="{FF2B5EF4-FFF2-40B4-BE49-F238E27FC236}">
                <a16:creationId xmlns:a16="http://schemas.microsoft.com/office/drawing/2014/main" id="{79D41549-9F4B-4614-B613-664B90C90966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494356" y="1754735"/>
            <a:ext cx="3204000" cy="1517886"/>
          </a:xfrm>
        </p:spPr>
        <p:txBody>
          <a:bodyPr lIns="72000" tIns="0" rIns="72000" bIns="0"/>
          <a:lstStyle>
            <a:lvl1pPr rtl="0"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Insert </a:t>
            </a:r>
            <a:r>
              <a:rPr lang="en-US" noProof="0"/>
              <a:t>table</a:t>
            </a:r>
            <a:r>
              <a:rPr lang="en-US"/>
              <a:t> or chart her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id="{F91FCBB8-987B-4FB4-ABF7-17921BC7F594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785686" y="1754735"/>
            <a:ext cx="3204000" cy="1517886"/>
          </a:xfrm>
        </p:spPr>
        <p:txBody>
          <a:bodyPr lIns="72000" tIns="0" rIns="72000" bIns="0"/>
          <a:lstStyle>
            <a:lvl1pPr rtl="0">
              <a:defRPr sz="1000" b="1">
                <a:solidFill>
                  <a:schemeClr val="tx2"/>
                </a:solidFill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Insert table or chart here</a:t>
            </a:r>
          </a:p>
        </p:txBody>
      </p:sp>
      <p:sp>
        <p:nvSpPr>
          <p:cNvPr id="18" name="Text Placeholder 49">
            <a:extLst>
              <a:ext uri="{FF2B5EF4-FFF2-40B4-BE49-F238E27FC236}">
                <a16:creationId xmlns:a16="http://schemas.microsoft.com/office/drawing/2014/main" id="{9A885901-DF99-4E1D-9945-BDDAB3CAD1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356" y="3356781"/>
            <a:ext cx="3204000" cy="1873640"/>
          </a:xfrm>
        </p:spPr>
        <p:txBody>
          <a:bodyPr lIns="72000" tIns="0" rIns="72000" bIns="0"/>
          <a:lstStyle>
            <a:lvl1pPr>
              <a:lnSpc>
                <a:spcPts val="1200"/>
              </a:lnSpc>
              <a:spcAft>
                <a:spcPts val="600"/>
              </a:spcAft>
              <a:defRPr/>
            </a:lvl1pPr>
            <a:lvl2pPr>
              <a:lnSpc>
                <a:spcPts val="1200"/>
              </a:lnSpc>
              <a:spcAft>
                <a:spcPts val="600"/>
              </a:spcAft>
              <a:defRPr/>
            </a:lvl2pPr>
            <a:lvl3pPr>
              <a:lnSpc>
                <a:spcPts val="1200"/>
              </a:lnSpc>
              <a:spcAft>
                <a:spcPts val="600"/>
              </a:spcAft>
              <a:defRPr/>
            </a:lvl3pPr>
            <a:lvl4pPr>
              <a:lnSpc>
                <a:spcPts val="1200"/>
              </a:lnSpc>
              <a:spcAft>
                <a:spcPts val="600"/>
              </a:spcAft>
              <a:defRPr/>
            </a:lvl4pPr>
            <a:lvl5pPr>
              <a:lnSpc>
                <a:spcPts val="12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19" name="Text Placeholder 49">
            <a:extLst>
              <a:ext uri="{FF2B5EF4-FFF2-40B4-BE49-F238E27FC236}">
                <a16:creationId xmlns:a16="http://schemas.microsoft.com/office/drawing/2014/main" id="{F05CD4A1-73DC-43B6-8291-51E79568B2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85686" y="3356781"/>
            <a:ext cx="3204000" cy="1873640"/>
          </a:xfrm>
        </p:spPr>
        <p:txBody>
          <a:bodyPr lIns="72000" tIns="0" rIns="72000" bIns="0"/>
          <a:lstStyle>
            <a:lvl1pPr>
              <a:lnSpc>
                <a:spcPts val="1200"/>
              </a:lnSpc>
              <a:spcAft>
                <a:spcPts val="600"/>
              </a:spcAft>
              <a:defRPr/>
            </a:lvl1pPr>
            <a:lvl2pPr>
              <a:lnSpc>
                <a:spcPts val="1200"/>
              </a:lnSpc>
              <a:spcAft>
                <a:spcPts val="600"/>
              </a:spcAft>
              <a:defRPr/>
            </a:lvl2pPr>
            <a:lvl3pPr>
              <a:lnSpc>
                <a:spcPts val="1200"/>
              </a:lnSpc>
              <a:spcAft>
                <a:spcPts val="600"/>
              </a:spcAft>
              <a:defRPr/>
            </a:lvl3pPr>
            <a:lvl4pPr>
              <a:lnSpc>
                <a:spcPts val="1200"/>
              </a:lnSpc>
              <a:spcAft>
                <a:spcPts val="600"/>
              </a:spcAft>
              <a:defRPr/>
            </a:lvl4pPr>
            <a:lvl5pPr>
              <a:lnSpc>
                <a:spcPts val="12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IN"/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0583C175-9235-42BD-B0C0-AF106A6829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96721" y="1432346"/>
            <a:ext cx="3204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4F353AC7-EA7E-4294-8388-3B24053ED12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85686" y="1432346"/>
            <a:ext cx="3204000" cy="252000"/>
          </a:xfrm>
          <a:solidFill>
            <a:schemeClr val="tx2"/>
          </a:solidFill>
        </p:spPr>
        <p:txBody>
          <a:bodyPr lIns="72000" tIns="0" rIns="72000" bIns="0" anchor="ctr" anchorCtr="0"/>
          <a:lstStyle>
            <a:lvl1pPr>
              <a:defRPr sz="1000" b="1">
                <a:solidFill>
                  <a:schemeClr val="bg1"/>
                </a:solidFill>
              </a:defRPr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en-US"/>
              <a:t>Click to add the heading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77BC6295-297E-4597-A83D-DD60D0186F3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88950" y="5296049"/>
            <a:ext cx="2729706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lnSpc>
                <a:spcPts val="1200"/>
              </a:lnSpc>
              <a:spcAft>
                <a:spcPts val="60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6A1602BE-C498-4B07-B69F-CD3C580E78A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18656" y="5296049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305D55D7-42F8-4B05-A780-EF56F2E747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785686" y="5296049"/>
            <a:ext cx="2724300" cy="720000"/>
          </a:xfrm>
          <a:ln>
            <a:solidFill>
              <a:schemeClr val="tx2"/>
            </a:solidFill>
          </a:ln>
        </p:spPr>
        <p:txBody>
          <a:bodyPr lIns="72000" rIns="72000" anchor="ctr"/>
          <a:lstStyle>
            <a:lvl1pPr>
              <a:lnSpc>
                <a:spcPts val="1200"/>
              </a:lnSpc>
              <a:spcAft>
                <a:spcPts val="600"/>
              </a:spcAft>
              <a:defRPr sz="1000" b="1">
                <a:solidFill>
                  <a:schemeClr val="tx2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Summary/KPMG recommendation. </a:t>
            </a:r>
            <a:endParaRPr lang="en-IN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BC325A8B-5DA3-4C99-95B7-D930744DBE6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509986" y="5296049"/>
            <a:ext cx="479700" cy="720000"/>
          </a:xfrm>
          <a:solidFill>
            <a:srgbClr val="E5E5E5"/>
          </a:solidFill>
          <a:ln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ts val="1300"/>
              </a:lnSpc>
              <a:spcAft>
                <a:spcPts val="0"/>
              </a:spcAft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</a:t>
            </a:r>
            <a:br>
              <a:rPr lang="en-US"/>
            </a:br>
            <a:r>
              <a:rPr lang="en-US"/>
              <a:t>to add text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2818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7F88EB-E72D-431A-B618-9CAAEB24B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9113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47" imgH="348" progId="TCLayout.ActiveDocument.1">
                  <p:embed/>
                </p:oleObj>
              </mc:Choice>
              <mc:Fallback>
                <p:oleObj name="think-cell Slide" r:id="rId41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27F88EB-E72D-431A-B618-9CAAEB24BB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1" y="1422400"/>
            <a:ext cx="8918242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E7D6E0F2-0A37-4212-916F-A6C7F75DCD76}"/>
              </a:ext>
            </a:extLst>
          </p:cNvPr>
          <p:cNvSpPr txBox="1">
            <a:spLocks/>
          </p:cNvSpPr>
          <p:nvPr userDrawn="1"/>
        </p:nvSpPr>
        <p:spPr>
          <a:xfrm>
            <a:off x="9174564" y="6385080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5FEAE4-E8C4-4A61-BBED-D667D6DB44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39"/>
            </p:custDataLst>
          </p:nvPr>
        </p:nvSpPr>
        <p:spPr>
          <a:xfrm>
            <a:off x="7731459" y="6413620"/>
            <a:ext cx="1330492" cy="923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FA3F29-8002-4550-8BE8-A1B4DF4BD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78147" y="6367453"/>
            <a:ext cx="5405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</a:t>
            </a:r>
            <a:r>
              <a:rPr lang="en-US" altLang="ko-KR" sz="600" kern="1200" noProof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Samjong</a:t>
            </a:r>
            <a:r>
              <a:rPr lang="en-US" altLang="ko-KR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Accounting Corp., a Korea Limited Liability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B4AC6CA-1CB5-4B3C-936C-11C979141293}"/>
              </a:ext>
            </a:extLst>
          </p:cNvPr>
          <p:cNvCxnSpPr/>
          <p:nvPr userDrawn="1"/>
        </p:nvCxnSpPr>
        <p:spPr>
          <a:xfrm>
            <a:off x="9156505" y="6385080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DCC065B1-CFE5-4C50-9752-667B9FE90EEA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488950" y="6373386"/>
            <a:ext cx="428967" cy="172800"/>
          </a:xfrm>
          <a:prstGeom prst="rect">
            <a:avLst/>
          </a:prstGeom>
        </p:spPr>
      </p:pic>
      <p:sp>
        <p:nvSpPr>
          <p:cNvPr id="37" name="Text Box 4">
            <a:extLst>
              <a:ext uri="{FF2B5EF4-FFF2-40B4-BE49-F238E27FC236}">
                <a16:creationId xmlns:a16="http://schemas.microsoft.com/office/drawing/2014/main" id="{4E2BF54C-F24F-49EB-A27C-AD27B40C3E4A}"/>
              </a:ext>
            </a:extLst>
          </p:cNvPr>
          <p:cNvSpPr txBox="1">
            <a:spLocks noChangeArrowheads="1"/>
          </p:cNvSpPr>
          <p:nvPr userDrawn="1">
            <p:custDataLst>
              <p:tags r:id="rId40"/>
            </p:custDataLst>
          </p:nvPr>
        </p:nvSpPr>
        <p:spPr bwMode="gray">
          <a:xfrm>
            <a:off x="9203748" y="6520249"/>
            <a:ext cx="590741" cy="24447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lIns="0" tIns="36000" rIns="0" bIns="0" anchor="ctr" anchorCtr="0">
            <a:noAutofit/>
          </a:bodyPr>
          <a:lstStyle/>
          <a:p>
            <a:pPr algn="r" defTabSz="762000" eaLnBrk="0" hangingPunct="0">
              <a:lnSpc>
                <a:spcPct val="80000"/>
              </a:lnSpc>
              <a:spcBef>
                <a:spcPct val="20000"/>
              </a:spcBef>
            </a:pPr>
            <a:r>
              <a:rPr lang="en-US" sz="1100" b="1">
                <a:solidFill>
                  <a:schemeClr val="accent6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682" r:id="rId2"/>
    <p:sldLayoutId id="2147483707" r:id="rId3"/>
    <p:sldLayoutId id="2147483752" r:id="rId4"/>
    <p:sldLayoutId id="2147483753" r:id="rId5"/>
    <p:sldLayoutId id="2147483754" r:id="rId6"/>
    <p:sldLayoutId id="2147483757" r:id="rId7"/>
    <p:sldLayoutId id="2147483756" r:id="rId8"/>
    <p:sldLayoutId id="2147483758" r:id="rId9"/>
    <p:sldLayoutId id="2147483763" r:id="rId10"/>
    <p:sldLayoutId id="2147483764" r:id="rId11"/>
    <p:sldLayoutId id="2147483760" r:id="rId12"/>
    <p:sldLayoutId id="2147483761" r:id="rId13"/>
    <p:sldLayoutId id="2147483759" r:id="rId14"/>
    <p:sldLayoutId id="2147483762" r:id="rId15"/>
    <p:sldLayoutId id="2147483765" r:id="rId16"/>
    <p:sldLayoutId id="2147483767" r:id="rId17"/>
    <p:sldLayoutId id="2147483766" r:id="rId18"/>
    <p:sldLayoutId id="2147483769" r:id="rId19"/>
    <p:sldLayoutId id="2147483768" r:id="rId20"/>
    <p:sldLayoutId id="2147483771" r:id="rId21"/>
    <p:sldLayoutId id="2147483770" r:id="rId22"/>
    <p:sldLayoutId id="2147483772" r:id="rId23"/>
    <p:sldLayoutId id="2147483773" r:id="rId24"/>
    <p:sldLayoutId id="2147483774" r:id="rId25"/>
    <p:sldLayoutId id="2147483776" r:id="rId26"/>
    <p:sldLayoutId id="2147483777" r:id="rId27"/>
    <p:sldLayoutId id="2147483778" r:id="rId28"/>
    <p:sldLayoutId id="2147483666" r:id="rId29"/>
    <p:sldLayoutId id="2147483775" r:id="rId30"/>
    <p:sldLayoutId id="2147483705" r:id="rId31"/>
    <p:sldLayoutId id="2147483689" r:id="rId32"/>
    <p:sldLayoutId id="2147483667" r:id="rId33"/>
    <p:sldLayoutId id="2147483751" r:id="rId34"/>
    <p:sldLayoutId id="2147483779" r:id="rId35"/>
    <p:sldLayoutId id="2147483780" r:id="rId36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2" pos="308" userDrawn="1">
          <p15:clr>
            <a:srgbClr val="F26B43"/>
          </p15:clr>
        </p15:guide>
        <p15:guide id="3" pos="5932" userDrawn="1">
          <p15:clr>
            <a:srgbClr val="F26B43"/>
          </p15:clr>
        </p15:guide>
        <p15:guide id="4" orient="horz" pos="742" userDrawn="1">
          <p15:clr>
            <a:srgbClr val="F26B43"/>
          </p15:clr>
        </p15:guide>
        <p15:guide id="6" orient="horz" pos="279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3061" userDrawn="1">
          <p15:clr>
            <a:srgbClr val="F26B43"/>
          </p15:clr>
        </p15:guide>
        <p15:guide id="9" pos="31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6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8.xml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8.xml"/><Relationship Id="rId3" Type="http://schemas.openxmlformats.org/officeDocument/2006/relationships/slideLayout" Target="../slideLayouts/slideLayout18.xml"/><Relationship Id="rId7" Type="http://schemas.openxmlformats.org/officeDocument/2006/relationships/chart" Target="../charts/chart107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chart" Target="../charts/chart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8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9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111.xml"/><Relationship Id="rId5" Type="http://schemas.openxmlformats.org/officeDocument/2006/relationships/image" Target="../media/image38.png"/><Relationship Id="rId4" Type="http://schemas.openxmlformats.org/officeDocument/2006/relationships/chart" Target="../charts/chart110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8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8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8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8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6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10" Type="http://schemas.openxmlformats.org/officeDocument/2006/relationships/hyperlink" Target="https://www.sedaily.com/NewsView/29TLHOK5QT" TargetMode="External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6.xml"/><Relationship Id="rId5" Type="http://schemas.openxmlformats.org/officeDocument/2006/relationships/image" Target="../media/image26.png"/><Relationship Id="rId4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8.png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9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18.xml"/><Relationship Id="rId5" Type="http://schemas.openxmlformats.org/officeDocument/2006/relationships/image" Target="../media/image30.jpeg"/><Relationship Id="rId4" Type="http://schemas.openxmlformats.org/officeDocument/2006/relationships/chart" Target="../charts/chart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21.xml"/><Relationship Id="rId5" Type="http://schemas.openxmlformats.org/officeDocument/2006/relationships/image" Target="../media/image31.png"/><Relationship Id="rId4" Type="http://schemas.openxmlformats.org/officeDocument/2006/relationships/chart" Target="../charts/char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24.xml"/><Relationship Id="rId5" Type="http://schemas.openxmlformats.org/officeDocument/2006/relationships/image" Target="../media/image32.png"/><Relationship Id="rId4" Type="http://schemas.openxmlformats.org/officeDocument/2006/relationships/chart" Target="../charts/chart2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4.jpe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27.xml"/><Relationship Id="rId5" Type="http://schemas.openxmlformats.org/officeDocument/2006/relationships/image" Target="../media/image33.jpeg"/><Relationship Id="rId4" Type="http://schemas.openxmlformats.org/officeDocument/2006/relationships/chart" Target="../charts/chart2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chart" Target="../charts/chart28.xml"/><Relationship Id="rId7" Type="http://schemas.openxmlformats.org/officeDocument/2006/relationships/chart" Target="../charts/chart3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10" Type="http://schemas.openxmlformats.org/officeDocument/2006/relationships/chart" Target="../charts/chart33.xml"/><Relationship Id="rId4" Type="http://schemas.openxmlformats.org/officeDocument/2006/relationships/chart" Target="../charts/chart29.xml"/><Relationship Id="rId9" Type="http://schemas.openxmlformats.org/officeDocument/2006/relationships/image" Target="../media/image36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7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7" Type="http://schemas.openxmlformats.org/officeDocument/2006/relationships/chart" Target="../charts/chart3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://www.thebell.co.kr/free/Content/ArticleView.asp?key=202306261436076960103657&amp;svccode=04" TargetMode="External"/><Relationship Id="rId5" Type="http://schemas.openxmlformats.org/officeDocument/2006/relationships/image" Target="../media/image18.png"/><Relationship Id="rId4" Type="http://schemas.openxmlformats.org/officeDocument/2006/relationships/chart" Target="../charts/chart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39.xml"/><Relationship Id="rId5" Type="http://schemas.openxmlformats.org/officeDocument/2006/relationships/image" Target="../media/image37.png"/><Relationship Id="rId4" Type="http://schemas.openxmlformats.org/officeDocument/2006/relationships/chart" Target="../charts/chart3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9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0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42.xml"/><Relationship Id="rId5" Type="http://schemas.openxmlformats.org/officeDocument/2006/relationships/image" Target="../media/image38.png"/><Relationship Id="rId4" Type="http://schemas.openxmlformats.org/officeDocument/2006/relationships/chart" Target="../charts/chart4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45.xml"/><Relationship Id="rId5" Type="http://schemas.openxmlformats.org/officeDocument/2006/relationships/image" Target="../media/image39.png"/><Relationship Id="rId4" Type="http://schemas.openxmlformats.org/officeDocument/2006/relationships/chart" Target="../charts/chart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48.xml"/><Relationship Id="rId5" Type="http://schemas.openxmlformats.org/officeDocument/2006/relationships/image" Target="../media/image40.png"/><Relationship Id="rId4" Type="http://schemas.openxmlformats.org/officeDocument/2006/relationships/chart" Target="../charts/chart4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42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51.xml"/><Relationship Id="rId5" Type="http://schemas.openxmlformats.org/officeDocument/2006/relationships/chart" Target="../charts/chart50.xml"/><Relationship Id="rId4" Type="http://schemas.openxmlformats.org/officeDocument/2006/relationships/chart" Target="../charts/chart49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5.xml"/><Relationship Id="rId3" Type="http://schemas.openxmlformats.org/officeDocument/2006/relationships/image" Target="../media/image43.png"/><Relationship Id="rId7" Type="http://schemas.openxmlformats.org/officeDocument/2006/relationships/chart" Target="../charts/chart54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53.xml"/><Relationship Id="rId5" Type="http://schemas.openxmlformats.org/officeDocument/2006/relationships/chart" Target="../charts/chart52.xml"/><Relationship Id="rId10" Type="http://schemas.openxmlformats.org/officeDocument/2006/relationships/chart" Target="../charts/chart57.xml"/><Relationship Id="rId4" Type="http://schemas.openxmlformats.org/officeDocument/2006/relationships/image" Target="../media/image44.png"/><Relationship Id="rId9" Type="http://schemas.openxmlformats.org/officeDocument/2006/relationships/chart" Target="../charts/chart5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60.xml"/><Relationship Id="rId5" Type="http://schemas.openxmlformats.org/officeDocument/2006/relationships/chart" Target="../charts/chart59.xml"/><Relationship Id="rId4" Type="http://schemas.openxmlformats.org/officeDocument/2006/relationships/image" Target="../media/image42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45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47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png"/><Relationship Id="rId5" Type="http://schemas.openxmlformats.org/officeDocument/2006/relationships/chart" Target="../charts/chart63.xml"/><Relationship Id="rId4" Type="http://schemas.openxmlformats.org/officeDocument/2006/relationships/chart" Target="../charts/chart6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4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7.png"/><Relationship Id="rId5" Type="http://schemas.openxmlformats.org/officeDocument/2006/relationships/chart" Target="../charts/chart66.xml"/><Relationship Id="rId4" Type="http://schemas.openxmlformats.org/officeDocument/2006/relationships/chart" Target="../charts/chart65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2.xml"/><Relationship Id="rId3" Type="http://schemas.openxmlformats.org/officeDocument/2006/relationships/chart" Target="../charts/chart67.xml"/><Relationship Id="rId7" Type="http://schemas.openxmlformats.org/officeDocument/2006/relationships/chart" Target="../charts/chart71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70.xml"/><Relationship Id="rId5" Type="http://schemas.openxmlformats.org/officeDocument/2006/relationships/chart" Target="../charts/chart69.xml"/><Relationship Id="rId4" Type="http://schemas.openxmlformats.org/officeDocument/2006/relationships/chart" Target="../charts/chart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8.xml"/><Relationship Id="rId3" Type="http://schemas.openxmlformats.org/officeDocument/2006/relationships/chart" Target="../charts/chart73.xml"/><Relationship Id="rId7" Type="http://schemas.openxmlformats.org/officeDocument/2006/relationships/chart" Target="../charts/chart77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76.xml"/><Relationship Id="rId5" Type="http://schemas.openxmlformats.org/officeDocument/2006/relationships/chart" Target="../charts/chart75.xml"/><Relationship Id="rId4" Type="http://schemas.openxmlformats.org/officeDocument/2006/relationships/chart" Target="../charts/chart7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4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9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8.png"/><Relationship Id="rId5" Type="http://schemas.openxmlformats.org/officeDocument/2006/relationships/chart" Target="../charts/chart81.xml"/><Relationship Id="rId4" Type="http://schemas.openxmlformats.org/officeDocument/2006/relationships/chart" Target="../charts/chart80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7.xml"/><Relationship Id="rId3" Type="http://schemas.openxmlformats.org/officeDocument/2006/relationships/chart" Target="../charts/chart82.xml"/><Relationship Id="rId7" Type="http://schemas.openxmlformats.org/officeDocument/2006/relationships/chart" Target="../charts/chart86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85.xml"/><Relationship Id="rId5" Type="http://schemas.openxmlformats.org/officeDocument/2006/relationships/chart" Target="../charts/chart84.xml"/><Relationship Id="rId10" Type="http://schemas.openxmlformats.org/officeDocument/2006/relationships/image" Target="../media/image50.jpeg"/><Relationship Id="rId4" Type="http://schemas.openxmlformats.org/officeDocument/2006/relationships/chart" Target="../charts/chart83.xml"/><Relationship Id="rId9" Type="http://schemas.openxmlformats.org/officeDocument/2006/relationships/image" Target="../media/image49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9.xml"/><Relationship Id="rId3" Type="http://schemas.openxmlformats.org/officeDocument/2006/relationships/slideLayout" Target="../slideLayouts/slideLayout18.xml"/><Relationship Id="rId7" Type="http://schemas.openxmlformats.org/officeDocument/2006/relationships/chart" Target="../charts/chart8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chart" Target="../charts/chart90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2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1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chart" Target="../charts/chart93.xml"/><Relationship Id="rId4" Type="http://schemas.openxmlformats.org/officeDocument/2006/relationships/chart" Target="../charts/chart9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4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2.png"/><Relationship Id="rId5" Type="http://schemas.openxmlformats.org/officeDocument/2006/relationships/chart" Target="../charts/chart96.xml"/><Relationship Id="rId4" Type="http://schemas.openxmlformats.org/officeDocument/2006/relationships/chart" Target="../charts/chart95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7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3.png"/><Relationship Id="rId5" Type="http://schemas.openxmlformats.org/officeDocument/2006/relationships/chart" Target="../charts/chart99.xml"/><Relationship Id="rId4" Type="http://schemas.openxmlformats.org/officeDocument/2006/relationships/chart" Target="../charts/chart9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5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3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0.xml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png"/><Relationship Id="rId5" Type="http://schemas.openxmlformats.org/officeDocument/2006/relationships/chart" Target="../charts/chart102.xml"/><Relationship Id="rId4" Type="http://schemas.openxmlformats.org/officeDocument/2006/relationships/chart" Target="../charts/chart101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3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5.png"/><Relationship Id="rId5" Type="http://schemas.openxmlformats.org/officeDocument/2006/relationships/chart" Target="../charts/chart105.xml"/><Relationship Id="rId4" Type="http://schemas.openxmlformats.org/officeDocument/2006/relationships/chart" Target="../charts/chart104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4.jpeg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0.png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4.jpeg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8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8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4.jpe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19435FE-4434-470A-A829-5613EFC75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872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19435FE-4434-470A-A829-5613EFC75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61200" y="1514264"/>
            <a:ext cx="6356889" cy="3240000"/>
          </a:xfrm>
        </p:spPr>
        <p:txBody>
          <a:bodyPr vert="horz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ko-KR" altLang="en-US" sz="5400" b="1" noProof="0">
                <a:latin typeface="KoPub돋움체 Medium" panose="00000600000000000000" pitchFamily="2" charset="-127"/>
                <a:ea typeface="KoPub돋움체 Medium" panose="00000600000000000000" pitchFamily="2" charset="-127"/>
                <a:cs typeface="Microsoft Himalaya" panose="01010100010101010101" pitchFamily="2" charset="0"/>
              </a:rPr>
              <a:t>대규모기업집단</a:t>
            </a:r>
            <a:br>
              <a:rPr lang="en-US" altLang="ko-KR" sz="5400" b="1" noProof="0">
                <a:latin typeface="KoPub돋움체 Medium" panose="00000600000000000000" pitchFamily="2" charset="-127"/>
                <a:ea typeface="KoPub돋움체 Medium" panose="00000600000000000000" pitchFamily="2" charset="-127"/>
                <a:cs typeface="Microsoft Himalaya" panose="01010100010101010101" pitchFamily="2" charset="0"/>
              </a:rPr>
            </a:br>
            <a:r>
              <a:rPr lang="ko-KR" altLang="en-US" sz="5400" b="1" noProof="0">
                <a:latin typeface="KoPub돋움체 Medium" panose="00000600000000000000" pitchFamily="2" charset="-127"/>
                <a:ea typeface="KoPub돋움체 Medium" panose="00000600000000000000" pitchFamily="2" charset="-127"/>
                <a:cs typeface="Microsoft Himalaya" panose="01010100010101010101" pitchFamily="2" charset="0"/>
              </a:rPr>
              <a:t>자금조달 </a:t>
            </a:r>
            <a:r>
              <a:rPr lang="en-US" altLang="ko-KR" sz="5400" b="1" noProof="0">
                <a:latin typeface="KoPub돋움체 Medium" panose="00000600000000000000" pitchFamily="2" charset="-127"/>
                <a:ea typeface="KoPub돋움체 Medium" panose="00000600000000000000" pitchFamily="2" charset="-127"/>
                <a:cs typeface="Microsoft Himalaya" panose="01010100010101010101" pitchFamily="2" charset="0"/>
              </a:rPr>
              <a:t>Needs</a:t>
            </a:r>
            <a:endParaRPr lang="en-US" sz="5400" b="1" noProof="0">
              <a:latin typeface="KoPub돋움체 Medium" panose="00000600000000000000" pitchFamily="2" charset="-127"/>
              <a:ea typeface="KoPub돋움체 Medium" panose="00000600000000000000" pitchFamily="2" charset="-127"/>
              <a:cs typeface="Microsoft Himalaya" panose="01010100010101010101" pitchFamily="2" charset="0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body" sz="quarter" idx="11"/>
          </p:nvPr>
        </p:nvSpPr>
        <p:spPr>
          <a:xfrm>
            <a:off x="1061200" y="4968802"/>
            <a:ext cx="6356889" cy="810000"/>
          </a:xfrm>
        </p:spPr>
        <p:txBody>
          <a:bodyPr/>
          <a:lstStyle/>
          <a:p>
            <a:r>
              <a:rPr lang="en-US" sz="1400" b="0" noProof="0" dirty="0"/>
              <a:t>Deal Adv 2</a:t>
            </a:r>
          </a:p>
          <a:p>
            <a:pPr lvl="1"/>
            <a:r>
              <a:rPr lang="en-US" sz="1400" noProof="0" dirty="0"/>
              <a:t>—</a:t>
            </a:r>
          </a:p>
          <a:p>
            <a:pPr lvl="1"/>
            <a:r>
              <a:rPr lang="en-US" sz="1400" noProof="0" dirty="0"/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1448745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기업집단 상세현황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682306C5-EC26-49DF-918A-91B791999B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II.</a:t>
            </a:r>
            <a:endParaRPr lang="ko-KR" altLang="en-US" b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3517493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제적 구조조정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801824F-C316-B19F-D1BE-4F8CC42AEB75}"/>
              </a:ext>
            </a:extLst>
          </p:cNvPr>
          <p:cNvSpPr/>
          <p:nvPr/>
        </p:nvSpPr>
        <p:spPr>
          <a:xfrm>
            <a:off x="488950" y="1724907"/>
            <a:ext cx="826503" cy="2472189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EECD132-FC8F-8787-7870-376871268EA4}"/>
              </a:ext>
            </a:extLst>
          </p:cNvPr>
          <p:cNvSpPr/>
          <p:nvPr/>
        </p:nvSpPr>
        <p:spPr>
          <a:xfrm>
            <a:off x="1379622" y="1724907"/>
            <a:ext cx="5111572" cy="2472189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도체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SK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닉스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천 수처리센터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에 매각 추진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7) / SKC 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재편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7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닉스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.1Q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손실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4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구조 안정화 및 투자자금 확보 목적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양수자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츠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닉스에 임대 예정</a:t>
            </a:r>
            <a:endParaRPr lang="en-US" altLang="ko-KR" sz="900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C,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회사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유코어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및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펄스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파인세라믹스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부 매각 추진 중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7)</a:t>
            </a:r>
            <a:r>
              <a:rPr lang="en-US" altLang="ko-KR" sz="900" baseline="30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1)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SK</a:t>
            </a:r>
            <a:r>
              <a:rPr lang="ko-KR" altLang="en-US" sz="9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유코어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: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양수자 </a:t>
            </a:r>
            <a:r>
              <a:rPr lang="ko-KR" altLang="en-US" sz="9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글렌우드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E, 4,500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b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SK</a:t>
            </a:r>
            <a:r>
              <a:rPr lang="ko-KR" altLang="en-US" sz="9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펄스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파인세라믹스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양수자 </a:t>
            </a:r>
            <a:r>
              <a:rPr lang="ko-KR" altLang="en-US" sz="9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앤컴퍼니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4,000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endParaRPr lang="en-US" altLang="ko-KR" sz="900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12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C,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도체 테스트 장비업체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“ISC”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수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5%, 5,225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(’23.07)</a:t>
            </a:r>
          </a:p>
          <a:p>
            <a:pPr>
              <a:buClr>
                <a:srgbClr val="00338D"/>
              </a:buClr>
            </a:pP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배터리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SK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온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3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프리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PO 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단락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6)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 SKC, SK</a:t>
            </a:r>
            <a:r>
              <a:rPr lang="ko-KR" altLang="en-US" sz="10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넥실리스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800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억 투자유치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3.07)</a:t>
            </a:r>
            <a:endParaRPr lang="en-US" altLang="ko-KR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온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3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투자유치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투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E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컨소시엄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MBK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컨소시엄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SNB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캐피탈 등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3.06)</a:t>
            </a:r>
          </a:p>
          <a:p>
            <a:pPr marL="171450" indent="-80963">
              <a:spcAft>
                <a:spcPts val="12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C, 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배터리 </a:t>
            </a:r>
            <a:r>
              <a:rPr lang="ko-KR" altLang="en-US" sz="9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자회사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9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넥실리스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억원 투자유치 </a:t>
            </a:r>
            <a: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2.10)</a:t>
            </a:r>
          </a:p>
          <a:p>
            <a:pPr>
              <a:spcAft>
                <a:spcPts val="1200"/>
              </a:spcAft>
              <a:buClr>
                <a:srgbClr val="00338D"/>
              </a:buClr>
            </a:pP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친환경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SK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노베이션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1.2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유상증자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7) … ’24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친환경 자산비중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% 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목표</a:t>
            </a:r>
            <a:endParaRPr lang="en-US" altLang="ko-KR" sz="10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SK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퀘어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EQT </a:t>
            </a:r>
            <a:r>
              <a:rPr lang="ko-KR" altLang="en-US" sz="10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파트너스에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10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쉴더스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 매각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8,464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(‘23.03) 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6C0F064-FA0C-166C-8CE5-A9A8074359AF}"/>
              </a:ext>
            </a:extLst>
          </p:cNvPr>
          <p:cNvSpPr/>
          <p:nvPr/>
        </p:nvSpPr>
        <p:spPr>
          <a:xfrm>
            <a:off x="6555363" y="1724907"/>
            <a:ext cx="2861687" cy="2472189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 재편 및 자금 확보를 위해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적극적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中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근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M&amp;A Pattern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 spc="-70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핵심</a:t>
            </a:r>
            <a:r>
              <a:rPr lang="ko-KR" altLang="en-US" sz="1200" b="1" spc="-7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 매각 → 자금확보 → 신사업 인수</a:t>
            </a:r>
            <a:r>
              <a:rPr lang="ko-KR" altLang="en-US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200" b="1" spc="-7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K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사업 범위가 광범위한 만큼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 상황 지속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니터링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핵심사업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산 현황파악 필요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회사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응방안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pic>
        <p:nvPicPr>
          <p:cNvPr id="7" name="그림 6" descr="그래픽, 그래픽 디자인, 폰트, 클립아트이(가) 표시된 사진&#10;&#10;자동 생성된 설명">
            <a:extLst>
              <a:ext uri="{FF2B5EF4-FFF2-40B4-BE49-F238E27FC236}">
                <a16:creationId xmlns:a16="http://schemas.microsoft.com/office/drawing/2014/main" id="{878F5EA1-CF39-03D1-48A2-253491FD65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312" y="2594953"/>
            <a:ext cx="850326" cy="665473"/>
          </a:xfrm>
          <a:prstGeom prst="rect">
            <a:avLst/>
          </a:prstGeom>
        </p:spPr>
      </p:pic>
      <p:sp>
        <p:nvSpPr>
          <p:cNvPr id="10" name="직사각형 9">
            <a:extLst>
              <a:ext uri="{FF2B5EF4-FFF2-40B4-BE49-F238E27FC236}">
                <a16:creationId xmlns:a16="http://schemas.microsoft.com/office/drawing/2014/main" id="{D6DEED76-CFA5-BC39-174E-BAED52402A0B}"/>
              </a:ext>
            </a:extLst>
          </p:cNvPr>
          <p:cNvSpPr/>
          <p:nvPr/>
        </p:nvSpPr>
        <p:spPr>
          <a:xfrm>
            <a:off x="488950" y="4256317"/>
            <a:ext cx="826503" cy="1765072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99624C38-1C17-3AE2-3417-37A0765229BE}"/>
              </a:ext>
            </a:extLst>
          </p:cNvPr>
          <p:cNvSpPr/>
          <p:nvPr/>
        </p:nvSpPr>
        <p:spPr>
          <a:xfrm>
            <a:off x="1379622" y="4256317"/>
            <a:ext cx="5111572" cy="1765072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유동성 위기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실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진머티리얼즈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수 부담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6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진머티리얼즈</a:t>
            </a:r>
            <a:r>
              <a:rPr lang="en-US" altLang="ko-KR" sz="10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0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 </a:t>
            </a:r>
            <a:r>
              <a:rPr lang="ko-KR" altLang="en-US" sz="1000" err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에너지머티리얼즈</a:t>
            </a:r>
            <a:r>
              <a:rPr lang="en-US" altLang="ko-KR" sz="10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수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&amp;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석유화학단지 건설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&amp;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 지원</a:t>
            </a:r>
            <a:b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진머티리얼즈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수 </a:t>
            </a: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7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</a:t>
            </a: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도네시아 </a:t>
            </a:r>
            <a:r>
              <a:rPr lang="ko-KR" alt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텐주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초대형 석유화학단지 건설 </a:t>
            </a: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9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달러 투입</a:t>
            </a:r>
            <a:b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100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레고랜드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태 → 롯데건설 </a:t>
            </a: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,876</a:t>
            </a:r>
            <a:r>
              <a:rPr lang="ko-KR" altLang="en-US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지원</a:t>
            </a:r>
            <a:endParaRPr lang="en-US" altLang="ko-KR" sz="1000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8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신용등급 하락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AA+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→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A) …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용등급 동반 하락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지주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렌탈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캐피탈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altLang="ko-KR" sz="105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에너지머티리얼즈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산능력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톤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→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8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톤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증설 계획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3.07)</a:t>
            </a:r>
          </a:p>
          <a:p>
            <a:pPr marL="171450" indent="-80963">
              <a:spcAft>
                <a:spcPts val="8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4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투자금 조달 필요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상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톤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= 1,500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5B89994C-5722-0654-3F63-17603D48B5DC}"/>
              </a:ext>
            </a:extLst>
          </p:cNvPr>
          <p:cNvSpPr/>
          <p:nvPr/>
        </p:nvSpPr>
        <p:spPr>
          <a:xfrm>
            <a:off x="6555363" y="4256317"/>
            <a:ext cx="2861687" cy="1765072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중심 </a:t>
            </a:r>
            <a:r>
              <a:rPr lang="ko-KR" altLang="en-US" sz="12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배터리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확장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석유화학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 동시에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진행 중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→ </a:t>
            </a:r>
            <a:r>
              <a:rPr lang="ko-KR" altLang="en-US" sz="1200" spc="-8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학사업 의존도 </a:t>
            </a:r>
            <a:r>
              <a:rPr lang="en-US" altLang="ko-KR" sz="1200" spc="-8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igh</a:t>
            </a:r>
            <a:r>
              <a:rPr lang="en-US" altLang="ko-KR" sz="1200" spc="-80" baseline="30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1)</a:t>
            </a:r>
            <a:r>
              <a:rPr lang="en-US" altLang="ko-KR" sz="1200" spc="-8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&amp; </a:t>
            </a:r>
            <a:r>
              <a:rPr lang="ko-KR" altLang="en-US" sz="1200" b="1" spc="-8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1200" b="1" spc="-8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목적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핵심자산 매각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→ 유동성 지속 모니터링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&amp;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핵심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or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후순위 사업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산 현황 파악 필요</a:t>
            </a:r>
          </a:p>
        </p:txBody>
      </p:sp>
      <p:pic>
        <p:nvPicPr>
          <p:cNvPr id="3" name="그림 2" descr="그래픽, 폰트, 하트, 상징이(가) 표시된 사진&#10;&#10;자동 생성된 설명">
            <a:extLst>
              <a:ext uri="{FF2B5EF4-FFF2-40B4-BE49-F238E27FC236}">
                <a16:creationId xmlns:a16="http://schemas.microsoft.com/office/drawing/2014/main" id="{899E5160-7681-8AD0-D06E-853B33B044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9559" y="4838308"/>
            <a:ext cx="609685" cy="562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942840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67">
            <a:extLst>
              <a:ext uri="{FF2B5EF4-FFF2-40B4-BE49-F238E27FC236}">
                <a16:creationId xmlns:a16="http://schemas.microsoft.com/office/drawing/2014/main" id="{D758AA23-3AE6-017B-7C67-4957BBE55EA6}"/>
              </a:ext>
            </a:extLst>
          </p:cNvPr>
          <p:cNvSpPr/>
          <p:nvPr/>
        </p:nvSpPr>
        <p:spPr>
          <a:xfrm>
            <a:off x="980690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동주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동빈 등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너일가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394F8F3-A671-608A-F15C-FED08562AA8F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회사제시자료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모서리가 둥근 직사각형 167">
            <a:extLst>
              <a:ext uri="{FF2B5EF4-FFF2-40B4-BE49-F238E27FC236}">
                <a16:creationId xmlns:a16="http://schemas.microsoft.com/office/drawing/2014/main" id="{60353AF1-8126-AFEA-4A65-1F31CCBA9F74}"/>
              </a:ext>
            </a:extLst>
          </p:cNvPr>
          <p:cNvSpPr/>
          <p:nvPr/>
        </p:nvSpPr>
        <p:spPr>
          <a:xfrm>
            <a:off x="5235776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동빈</a:t>
            </a: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51606A2A-04ED-E1C2-956A-17C7CB4A3BB8}"/>
              </a:ext>
            </a:extLst>
          </p:cNvPr>
          <p:cNvCxnSpPr>
            <a:cxnSpLocks/>
          </p:cNvCxnSpPr>
          <p:nvPr/>
        </p:nvCxnSpPr>
        <p:spPr>
          <a:xfrm>
            <a:off x="1482301" y="2100825"/>
            <a:ext cx="0" cy="52807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622E774E-1FD1-5484-3D64-D535CD6BA810}"/>
              </a:ext>
            </a:extLst>
          </p:cNvPr>
          <p:cNvCxnSpPr>
            <a:cxnSpLocks/>
          </p:cNvCxnSpPr>
          <p:nvPr/>
        </p:nvCxnSpPr>
        <p:spPr>
          <a:xfrm>
            <a:off x="5744987" y="2100825"/>
            <a:ext cx="0" cy="2224566"/>
          </a:xfrm>
          <a:prstGeom prst="straightConnector1">
            <a:avLst/>
          </a:prstGeom>
          <a:ln>
            <a:solidFill>
              <a:srgbClr val="0033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A1409CFD-90B4-CCCD-7059-50E46B9154C9}"/>
              </a:ext>
            </a:extLst>
          </p:cNvPr>
          <p:cNvSpPr/>
          <p:nvPr/>
        </p:nvSpPr>
        <p:spPr>
          <a:xfrm>
            <a:off x="1151944" y="2220074"/>
            <a:ext cx="660713" cy="216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chemeClr val="accent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3%</a:t>
            </a:r>
            <a:endParaRPr lang="ko-KR" altLang="en-US" sz="900" err="1">
              <a:solidFill>
                <a:schemeClr val="accent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04A770B5-85A3-B65E-21D4-4DA165675B36}"/>
              </a:ext>
            </a:extLst>
          </p:cNvPr>
          <p:cNvSpPr/>
          <p:nvPr/>
        </p:nvSpPr>
        <p:spPr>
          <a:xfrm>
            <a:off x="5414630" y="3041323"/>
            <a:ext cx="660713" cy="216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chemeClr val="accent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.0%</a:t>
            </a:r>
            <a:endParaRPr lang="ko-KR" altLang="en-US" sz="900" err="1">
              <a:solidFill>
                <a:schemeClr val="accent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8" name="직선 연결선 57">
            <a:extLst>
              <a:ext uri="{FF2B5EF4-FFF2-40B4-BE49-F238E27FC236}">
                <a16:creationId xmlns:a16="http://schemas.microsoft.com/office/drawing/2014/main" id="{17DC5484-8046-B76F-4A42-4BF3ED68A8E6}"/>
              </a:ext>
            </a:extLst>
          </p:cNvPr>
          <p:cNvCxnSpPr>
            <a:cxnSpLocks/>
          </p:cNvCxnSpPr>
          <p:nvPr/>
        </p:nvCxnSpPr>
        <p:spPr>
          <a:xfrm>
            <a:off x="5744986" y="2419650"/>
            <a:ext cx="903464" cy="0"/>
          </a:xfrm>
          <a:prstGeom prst="line">
            <a:avLst/>
          </a:prstGeom>
          <a:ln>
            <a:solidFill>
              <a:srgbClr val="00338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2046212A-34CA-22A8-6DAC-5E7DE52A7B1B}"/>
              </a:ext>
            </a:extLst>
          </p:cNvPr>
          <p:cNvSpPr/>
          <p:nvPr/>
        </p:nvSpPr>
        <p:spPr>
          <a:xfrm>
            <a:off x="6648449" y="2208076"/>
            <a:ext cx="2739689" cy="1516200"/>
          </a:xfrm>
          <a:prstGeom prst="rect">
            <a:avLst/>
          </a:prstGeom>
          <a:solidFill>
            <a:srgbClr val="649CFF">
              <a:alpha val="10000"/>
            </a:srgbClr>
          </a:solidFill>
          <a:ln w="9525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D7FC079F-B91A-5928-ED99-32F48E55D812}"/>
              </a:ext>
            </a:extLst>
          </p:cNvPr>
          <p:cNvSpPr txBox="1">
            <a:spLocks/>
          </p:cNvSpPr>
          <p:nvPr/>
        </p:nvSpPr>
        <p:spPr>
          <a:xfrm>
            <a:off x="6648450" y="2220074"/>
            <a:ext cx="1440000" cy="1642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.6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멤버스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.3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물산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8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벤처스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.99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상사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.5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쇼핑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.2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역사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.7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25E7D78-65E3-D451-30DB-2A3BA24B8A00}"/>
              </a:ext>
            </a:extLst>
          </p:cNvPr>
          <p:cNvSpPr txBox="1">
            <a:spLocks/>
          </p:cNvSpPr>
          <p:nvPr/>
        </p:nvSpPr>
        <p:spPr>
          <a:xfrm>
            <a:off x="8018293" y="2222548"/>
            <a:ext cx="1440000" cy="1642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제과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9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칠성음료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1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캐피탈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.9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푸드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8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리아세븐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1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후지필름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.8%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6" name="모서리가 둥근 직사각형 167">
            <a:extLst>
              <a:ext uri="{FF2B5EF4-FFF2-40B4-BE49-F238E27FC236}">
                <a16:creationId xmlns:a16="http://schemas.microsoft.com/office/drawing/2014/main" id="{472965F3-E4BF-550E-9F73-691B8D83482B}"/>
              </a:ext>
            </a:extLst>
          </p:cNvPr>
          <p:cNvSpPr/>
          <p:nvPr/>
        </p:nvSpPr>
        <p:spPr>
          <a:xfrm>
            <a:off x="5244261" y="43472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지주</a:t>
            </a:r>
          </a:p>
        </p:txBody>
      </p:sp>
      <p:sp>
        <p:nvSpPr>
          <p:cNvPr id="67" name="모서리가 둥근 직사각형 167">
            <a:extLst>
              <a:ext uri="{FF2B5EF4-FFF2-40B4-BE49-F238E27FC236}">
                <a16:creationId xmlns:a16="http://schemas.microsoft.com/office/drawing/2014/main" id="{8E0A78BC-C675-4F80-FADD-E8B79BB2CC14}"/>
              </a:ext>
            </a:extLst>
          </p:cNvPr>
          <p:cNvSpPr/>
          <p:nvPr/>
        </p:nvSpPr>
        <p:spPr>
          <a:xfrm>
            <a:off x="980690" y="2645295"/>
            <a:ext cx="1008000" cy="288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윤사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C8FE0619-869B-B572-279E-16F84E03F02E}"/>
              </a:ext>
            </a:extLst>
          </p:cNvPr>
          <p:cNvCxnSpPr>
            <a:cxnSpLocks/>
          </p:cNvCxnSpPr>
          <p:nvPr/>
        </p:nvCxnSpPr>
        <p:spPr>
          <a:xfrm>
            <a:off x="1482300" y="2919600"/>
            <a:ext cx="0" cy="52807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8CC74CD9-BF4E-8ED2-7D6C-824B347C2E1C}"/>
              </a:ext>
            </a:extLst>
          </p:cNvPr>
          <p:cNvSpPr/>
          <p:nvPr/>
        </p:nvSpPr>
        <p:spPr>
          <a:xfrm>
            <a:off x="1151943" y="3038849"/>
            <a:ext cx="660713" cy="216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chemeClr val="accent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8.1%</a:t>
            </a:r>
            <a:endParaRPr lang="ko-KR" altLang="en-US" sz="900" err="1">
              <a:solidFill>
                <a:schemeClr val="accent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B083F888-A2B6-C6C4-E440-C0C1678ABAA5}"/>
              </a:ext>
            </a:extLst>
          </p:cNvPr>
          <p:cNvSpPr/>
          <p:nvPr/>
        </p:nvSpPr>
        <p:spPr>
          <a:xfrm>
            <a:off x="978299" y="346027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홀딩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F05E9472-1B55-C915-5C16-F1A12E8C24C1}"/>
              </a:ext>
            </a:extLst>
          </p:cNvPr>
          <p:cNvSpPr/>
          <p:nvPr/>
        </p:nvSpPr>
        <p:spPr>
          <a:xfrm>
            <a:off x="978299" y="43472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텔롯데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607EF1D4-0688-F106-C215-67B081F68156}"/>
              </a:ext>
            </a:extLst>
          </p:cNvPr>
          <p:cNvCxnSpPr>
            <a:cxnSpLocks/>
          </p:cNvCxnSpPr>
          <p:nvPr/>
        </p:nvCxnSpPr>
        <p:spPr>
          <a:xfrm>
            <a:off x="1467913" y="3797316"/>
            <a:ext cx="0" cy="52807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F7B656EF-5E83-529C-FFC1-6292F0830287}"/>
              </a:ext>
            </a:extLst>
          </p:cNvPr>
          <p:cNvSpPr/>
          <p:nvPr/>
        </p:nvSpPr>
        <p:spPr>
          <a:xfrm>
            <a:off x="1137556" y="3916565"/>
            <a:ext cx="660713" cy="216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chemeClr val="accent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.1%</a:t>
            </a:r>
            <a:endParaRPr lang="ko-KR" altLang="en-US" sz="900" err="1">
              <a:solidFill>
                <a:schemeClr val="accent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CDBCDB72-B47F-16DC-F86A-521754130FA7}"/>
              </a:ext>
            </a:extLst>
          </p:cNvPr>
          <p:cNvCxnSpPr>
            <a:cxnSpLocks/>
            <a:stCxn id="71" idx="3"/>
          </p:cNvCxnSpPr>
          <p:nvPr/>
        </p:nvCxnSpPr>
        <p:spPr>
          <a:xfrm>
            <a:off x="1986299" y="4527255"/>
            <a:ext cx="324947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직선 화살표 연결선 89">
            <a:extLst>
              <a:ext uri="{FF2B5EF4-FFF2-40B4-BE49-F238E27FC236}">
                <a16:creationId xmlns:a16="http://schemas.microsoft.com/office/drawing/2014/main" id="{43109740-053F-F0DF-7EDB-8F0E2EB2D5C8}"/>
              </a:ext>
            </a:extLst>
          </p:cNvPr>
          <p:cNvCxnSpPr>
            <a:cxnSpLocks/>
          </p:cNvCxnSpPr>
          <p:nvPr/>
        </p:nvCxnSpPr>
        <p:spPr>
          <a:xfrm>
            <a:off x="1459450" y="4686688"/>
            <a:ext cx="0" cy="504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>
            <a:extLst>
              <a:ext uri="{FF2B5EF4-FFF2-40B4-BE49-F238E27FC236}">
                <a16:creationId xmlns:a16="http://schemas.microsoft.com/office/drawing/2014/main" id="{E935A7BE-4561-C7EF-6D9E-DDE3F3CE7AAB}"/>
              </a:ext>
            </a:extLst>
          </p:cNvPr>
          <p:cNvCxnSpPr>
            <a:cxnSpLocks/>
          </p:cNvCxnSpPr>
          <p:nvPr/>
        </p:nvCxnSpPr>
        <p:spPr>
          <a:xfrm flipH="1">
            <a:off x="791974" y="4801147"/>
            <a:ext cx="3389181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D1F7E1ED-AF17-9C0B-318B-94DA5E85F7A2}"/>
              </a:ext>
            </a:extLst>
          </p:cNvPr>
          <p:cNvCxnSpPr>
            <a:cxnSpLocks/>
          </p:cNvCxnSpPr>
          <p:nvPr/>
        </p:nvCxnSpPr>
        <p:spPr>
          <a:xfrm>
            <a:off x="2135725" y="480114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F9A52656-31BF-BF6F-7779-1D941FE79412}"/>
              </a:ext>
            </a:extLst>
          </p:cNvPr>
          <p:cNvCxnSpPr>
            <a:cxnSpLocks/>
          </p:cNvCxnSpPr>
          <p:nvPr/>
        </p:nvCxnSpPr>
        <p:spPr>
          <a:xfrm>
            <a:off x="2813148" y="4800793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>
            <a:extLst>
              <a:ext uri="{FF2B5EF4-FFF2-40B4-BE49-F238E27FC236}">
                <a16:creationId xmlns:a16="http://schemas.microsoft.com/office/drawing/2014/main" id="{0694BFDE-6889-98F9-7237-59BE9D42DB1F}"/>
              </a:ext>
            </a:extLst>
          </p:cNvPr>
          <p:cNvCxnSpPr>
            <a:cxnSpLocks/>
          </p:cNvCxnSpPr>
          <p:nvPr/>
        </p:nvCxnSpPr>
        <p:spPr>
          <a:xfrm>
            <a:off x="3490374" y="480114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2011D034-81CA-E006-B084-CD1213088B51}"/>
              </a:ext>
            </a:extLst>
          </p:cNvPr>
          <p:cNvCxnSpPr>
            <a:cxnSpLocks/>
          </p:cNvCxnSpPr>
          <p:nvPr/>
        </p:nvCxnSpPr>
        <p:spPr>
          <a:xfrm>
            <a:off x="4181155" y="4800792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07D9DD75-99F6-8DEB-9CD3-38738E363EAE}"/>
              </a:ext>
            </a:extLst>
          </p:cNvPr>
          <p:cNvCxnSpPr>
            <a:cxnSpLocks/>
          </p:cNvCxnSpPr>
          <p:nvPr/>
        </p:nvCxnSpPr>
        <p:spPr>
          <a:xfrm>
            <a:off x="791289" y="4797617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E0D86BE8-630C-835C-9E0C-2A0AD18CCBDE}"/>
              </a:ext>
            </a:extLst>
          </p:cNvPr>
          <p:cNvSpPr/>
          <p:nvPr/>
        </p:nvSpPr>
        <p:spPr>
          <a:xfrm>
            <a:off x="1279305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물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</a:t>
            </a: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B273A0D0-3BB2-EEF2-C901-98E71F85CD4C}"/>
              </a:ext>
            </a:extLst>
          </p:cNvPr>
          <p:cNvSpPr/>
          <p:nvPr/>
        </p:nvSpPr>
        <p:spPr>
          <a:xfrm>
            <a:off x="1953258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7" name="모서리가 둥근 직사각형 167">
            <a:extLst>
              <a:ext uri="{FF2B5EF4-FFF2-40B4-BE49-F238E27FC236}">
                <a16:creationId xmlns:a16="http://schemas.microsoft.com/office/drawing/2014/main" id="{B5FCC2C1-3A4B-FF4D-D30C-1D4B35E5EA19}"/>
              </a:ext>
            </a:extLst>
          </p:cNvPr>
          <p:cNvSpPr/>
          <p:nvPr/>
        </p:nvSpPr>
        <p:spPr>
          <a:xfrm>
            <a:off x="605352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캐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탈</a:t>
            </a:r>
          </a:p>
        </p:txBody>
      </p:sp>
      <p:sp>
        <p:nvSpPr>
          <p:cNvPr id="98" name="모서리가 둥근 직사각형 167">
            <a:extLst>
              <a:ext uri="{FF2B5EF4-FFF2-40B4-BE49-F238E27FC236}">
                <a16:creationId xmlns:a16="http://schemas.microsoft.com/office/drawing/2014/main" id="{CBF06004-9F89-B1BC-0C1D-D7565DE2F51B}"/>
              </a:ext>
            </a:extLst>
          </p:cNvPr>
          <p:cNvSpPr/>
          <p:nvPr/>
        </p:nvSpPr>
        <p:spPr>
          <a:xfrm>
            <a:off x="2627211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탈</a:t>
            </a:r>
            <a:endParaRPr kumimoji="0" lang="ko-KR" altLang="en-US" sz="900" b="1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31D70668-EBFD-88A8-DB6D-30D557314C24}"/>
              </a:ext>
            </a:extLst>
          </p:cNvPr>
          <p:cNvSpPr/>
          <p:nvPr/>
        </p:nvSpPr>
        <p:spPr>
          <a:xfrm>
            <a:off x="3301164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늄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0" name="모서리가 둥근 직사각형 167">
            <a:extLst>
              <a:ext uri="{FF2B5EF4-FFF2-40B4-BE49-F238E27FC236}">
                <a16:creationId xmlns:a16="http://schemas.microsoft.com/office/drawing/2014/main" id="{DC8B4FC4-AED0-1AE6-B8C0-F4BAEE2C6F48}"/>
              </a:ext>
            </a:extLst>
          </p:cNvPr>
          <p:cNvSpPr/>
          <p:nvPr/>
        </p:nvSpPr>
        <p:spPr>
          <a:xfrm>
            <a:off x="3975119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처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EE9F082E-D1BF-454C-1F5B-B657092C6DC5}"/>
              </a:ext>
            </a:extLst>
          </p:cNvPr>
          <p:cNvSpPr/>
          <p:nvPr/>
        </p:nvSpPr>
        <p:spPr>
          <a:xfrm>
            <a:off x="505746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2.6%</a:t>
            </a:r>
            <a:endParaRPr lang="ko-KR" altLang="en-US" sz="900" err="1">
              <a:solidFill>
                <a:srgbClr val="2272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91F36D96-9117-3E5A-A8C2-3A699812BDCB}"/>
              </a:ext>
            </a:extLst>
          </p:cNvPr>
          <p:cNvSpPr/>
          <p:nvPr/>
        </p:nvSpPr>
        <p:spPr>
          <a:xfrm>
            <a:off x="1183051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2.8%</a:t>
            </a:r>
            <a:endParaRPr lang="ko-KR" altLang="en-US" sz="900" err="1">
              <a:solidFill>
                <a:srgbClr val="2272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E0B511AB-6277-3EC2-635B-5C667541DBC8}"/>
              </a:ext>
            </a:extLst>
          </p:cNvPr>
          <p:cNvSpPr/>
          <p:nvPr/>
        </p:nvSpPr>
        <p:spPr>
          <a:xfrm>
            <a:off x="1860356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3.1%</a:t>
            </a:r>
            <a:endParaRPr lang="ko-KR" altLang="en-US" sz="900" err="1">
              <a:solidFill>
                <a:srgbClr val="2272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B57850F9-364C-DB9C-A765-D10702807614}"/>
              </a:ext>
            </a:extLst>
          </p:cNvPr>
          <p:cNvSpPr/>
          <p:nvPr/>
        </p:nvSpPr>
        <p:spPr>
          <a:xfrm>
            <a:off x="2537661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.8%</a:t>
            </a:r>
            <a:endParaRPr lang="ko-KR" altLang="en-US" sz="900" err="1">
              <a:solidFill>
                <a:srgbClr val="2272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CBEAFC4D-476F-F942-37CA-3AFB6892F6AD}"/>
              </a:ext>
            </a:extLst>
          </p:cNvPr>
          <p:cNvSpPr/>
          <p:nvPr/>
        </p:nvSpPr>
        <p:spPr>
          <a:xfrm>
            <a:off x="3214966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8.2%</a:t>
            </a:r>
            <a:endParaRPr lang="ko-KR" altLang="en-US" sz="900" err="1">
              <a:solidFill>
                <a:srgbClr val="2272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5E63055C-8169-80AA-FA50-EA9FD87B753E}"/>
              </a:ext>
            </a:extLst>
          </p:cNvPr>
          <p:cNvSpPr/>
          <p:nvPr/>
        </p:nvSpPr>
        <p:spPr>
          <a:xfrm>
            <a:off x="3892269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.0%</a:t>
            </a:r>
            <a:endParaRPr lang="ko-KR" altLang="en-US" sz="900" err="1">
              <a:solidFill>
                <a:srgbClr val="2272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F1D1182A-C55A-76E6-28A6-1A5F19E5B546}"/>
              </a:ext>
            </a:extLst>
          </p:cNvPr>
          <p:cNvSpPr/>
          <p:nvPr/>
        </p:nvSpPr>
        <p:spPr>
          <a:xfrm>
            <a:off x="3280681" y="4412221"/>
            <a:ext cx="660713" cy="216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chemeClr val="accent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1.1%</a:t>
            </a:r>
            <a:endParaRPr lang="ko-KR" altLang="en-US" sz="900" err="1">
              <a:solidFill>
                <a:schemeClr val="accent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E09CF595-FBD4-30C8-787F-F7D004750A29}"/>
              </a:ext>
            </a:extLst>
          </p:cNvPr>
          <p:cNvCxnSpPr>
            <a:cxnSpLocks/>
          </p:cNvCxnSpPr>
          <p:nvPr/>
        </p:nvCxnSpPr>
        <p:spPr>
          <a:xfrm>
            <a:off x="5734530" y="4701480"/>
            <a:ext cx="0" cy="504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54F66CF3-8946-27AA-2093-AECFACAC3A93}"/>
              </a:ext>
            </a:extLst>
          </p:cNvPr>
          <p:cNvCxnSpPr>
            <a:cxnSpLocks/>
          </p:cNvCxnSpPr>
          <p:nvPr/>
        </p:nvCxnSpPr>
        <p:spPr>
          <a:xfrm flipH="1">
            <a:off x="5067054" y="4803239"/>
            <a:ext cx="4027140" cy="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F0952DBC-CD40-8190-FD20-A74D19077045}"/>
              </a:ext>
            </a:extLst>
          </p:cNvPr>
          <p:cNvCxnSpPr>
            <a:cxnSpLocks/>
          </p:cNvCxnSpPr>
          <p:nvPr/>
        </p:nvCxnSpPr>
        <p:spPr>
          <a:xfrm>
            <a:off x="6410805" y="4803238"/>
            <a:ext cx="0" cy="360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FC0750F1-C4A7-7DB3-A44B-2280B700DD86}"/>
              </a:ext>
            </a:extLst>
          </p:cNvPr>
          <p:cNvCxnSpPr>
            <a:cxnSpLocks/>
          </p:cNvCxnSpPr>
          <p:nvPr/>
        </p:nvCxnSpPr>
        <p:spPr>
          <a:xfrm>
            <a:off x="7088228" y="4802885"/>
            <a:ext cx="0" cy="360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23E50151-FDBA-2638-5C5A-73C2FE6876CB}"/>
              </a:ext>
            </a:extLst>
          </p:cNvPr>
          <p:cNvCxnSpPr>
            <a:cxnSpLocks/>
          </p:cNvCxnSpPr>
          <p:nvPr/>
        </p:nvCxnSpPr>
        <p:spPr>
          <a:xfrm>
            <a:off x="7765454" y="4803238"/>
            <a:ext cx="0" cy="360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FEA14854-8C22-9931-B518-FE0CCE8B3284}"/>
              </a:ext>
            </a:extLst>
          </p:cNvPr>
          <p:cNvCxnSpPr>
            <a:cxnSpLocks/>
          </p:cNvCxnSpPr>
          <p:nvPr/>
        </p:nvCxnSpPr>
        <p:spPr>
          <a:xfrm>
            <a:off x="8456235" y="4802884"/>
            <a:ext cx="0" cy="360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CEBD24FD-D1A9-9A63-0576-34AD47B8EA77}"/>
              </a:ext>
            </a:extLst>
          </p:cNvPr>
          <p:cNvCxnSpPr>
            <a:cxnSpLocks/>
          </p:cNvCxnSpPr>
          <p:nvPr/>
        </p:nvCxnSpPr>
        <p:spPr>
          <a:xfrm>
            <a:off x="5066369" y="4799709"/>
            <a:ext cx="0" cy="360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모서리가 둥근 직사각형 167">
            <a:extLst>
              <a:ext uri="{FF2B5EF4-FFF2-40B4-BE49-F238E27FC236}">
                <a16:creationId xmlns:a16="http://schemas.microsoft.com/office/drawing/2014/main" id="{1AB245EC-3030-549E-92F7-80D9D1C7657C}"/>
              </a:ext>
            </a:extLst>
          </p:cNvPr>
          <p:cNvSpPr/>
          <p:nvPr/>
        </p:nvSpPr>
        <p:spPr>
          <a:xfrm>
            <a:off x="5554385" y="5146964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칠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음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료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4" name="모서리가 둥근 직사각형 167">
            <a:extLst>
              <a:ext uri="{FF2B5EF4-FFF2-40B4-BE49-F238E27FC236}">
                <a16:creationId xmlns:a16="http://schemas.microsoft.com/office/drawing/2014/main" id="{89EA38C1-8E29-F929-EFAF-7AD8F1CEB9CE}"/>
              </a:ext>
            </a:extLst>
          </p:cNvPr>
          <p:cNvSpPr/>
          <p:nvPr/>
        </p:nvSpPr>
        <p:spPr>
          <a:xfrm>
            <a:off x="6228338" y="5146964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5" name="모서리가 둥근 직사각형 167">
            <a:extLst>
              <a:ext uri="{FF2B5EF4-FFF2-40B4-BE49-F238E27FC236}">
                <a16:creationId xmlns:a16="http://schemas.microsoft.com/office/drawing/2014/main" id="{B1EBA518-DFCF-783C-F369-B08F6301631C}"/>
              </a:ext>
            </a:extLst>
          </p:cNvPr>
          <p:cNvSpPr/>
          <p:nvPr/>
        </p:nvSpPr>
        <p:spPr>
          <a:xfrm>
            <a:off x="4880432" y="5146964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핑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6" name="모서리가 둥근 직사각형 167">
            <a:extLst>
              <a:ext uri="{FF2B5EF4-FFF2-40B4-BE49-F238E27FC236}">
                <a16:creationId xmlns:a16="http://schemas.microsoft.com/office/drawing/2014/main" id="{8EB2BD11-5BA6-0AD8-8CF6-FCF5C716D796}"/>
              </a:ext>
            </a:extLst>
          </p:cNvPr>
          <p:cNvSpPr/>
          <p:nvPr/>
        </p:nvSpPr>
        <p:spPr>
          <a:xfrm>
            <a:off x="6902291" y="5146964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7" name="모서리가 둥근 직사각형 167">
            <a:extLst>
              <a:ext uri="{FF2B5EF4-FFF2-40B4-BE49-F238E27FC236}">
                <a16:creationId xmlns:a16="http://schemas.microsoft.com/office/drawing/2014/main" id="{73CA2CBA-8232-F44E-5A36-F99D91275CFB}"/>
              </a:ext>
            </a:extLst>
          </p:cNvPr>
          <p:cNvSpPr/>
          <p:nvPr/>
        </p:nvSpPr>
        <p:spPr>
          <a:xfrm>
            <a:off x="7576244" y="5146964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칼</a:t>
            </a:r>
          </a:p>
        </p:txBody>
      </p:sp>
      <p:sp>
        <p:nvSpPr>
          <p:cNvPr id="128" name="모서리가 둥근 직사각형 167">
            <a:extLst>
              <a:ext uri="{FF2B5EF4-FFF2-40B4-BE49-F238E27FC236}">
                <a16:creationId xmlns:a16="http://schemas.microsoft.com/office/drawing/2014/main" id="{AC12C238-0C23-B14A-34B1-462BF7707D4D}"/>
              </a:ext>
            </a:extLst>
          </p:cNvPr>
          <p:cNvSpPr/>
          <p:nvPr/>
        </p:nvSpPr>
        <p:spPr>
          <a:xfrm>
            <a:off x="8250199" y="5146964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A665E5AC-6FD0-69E3-74BE-E3F5FADEFD46}"/>
              </a:ext>
            </a:extLst>
          </p:cNvPr>
          <p:cNvSpPr/>
          <p:nvPr/>
        </p:nvSpPr>
        <p:spPr>
          <a:xfrm>
            <a:off x="4780826" y="4912984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.0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635C2300-9A27-F01C-5CF5-9CD3BBDCF86C}"/>
              </a:ext>
            </a:extLst>
          </p:cNvPr>
          <p:cNvSpPr/>
          <p:nvPr/>
        </p:nvSpPr>
        <p:spPr>
          <a:xfrm>
            <a:off x="5458131" y="4912984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5.0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3F68F74D-9581-7578-2440-C5A0C58086D2}"/>
              </a:ext>
            </a:extLst>
          </p:cNvPr>
          <p:cNvSpPr/>
          <p:nvPr/>
        </p:nvSpPr>
        <p:spPr>
          <a:xfrm>
            <a:off x="6135436" y="4912984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7.5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DE336CAE-8682-DA1C-B10C-9E82A0BC170F}"/>
              </a:ext>
            </a:extLst>
          </p:cNvPr>
          <p:cNvSpPr/>
          <p:nvPr/>
        </p:nvSpPr>
        <p:spPr>
          <a:xfrm>
            <a:off x="6812741" y="4912984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5.0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BFAFAF26-1F64-1DB7-0857-865AD2A74241}"/>
              </a:ext>
            </a:extLst>
          </p:cNvPr>
          <p:cNvSpPr/>
          <p:nvPr/>
        </p:nvSpPr>
        <p:spPr>
          <a:xfrm>
            <a:off x="7490046" y="4912984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5.6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1439FF82-C36A-212C-7121-CE534D18F5D9}"/>
              </a:ext>
            </a:extLst>
          </p:cNvPr>
          <p:cNvSpPr/>
          <p:nvPr/>
        </p:nvSpPr>
        <p:spPr>
          <a:xfrm>
            <a:off x="8167349" y="4912984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4.8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1" name="직선 화살표 연결선 140">
            <a:extLst>
              <a:ext uri="{FF2B5EF4-FFF2-40B4-BE49-F238E27FC236}">
                <a16:creationId xmlns:a16="http://schemas.microsoft.com/office/drawing/2014/main" id="{7502AEE2-4FA3-8342-2651-E3186F9B06B4}"/>
              </a:ext>
            </a:extLst>
          </p:cNvPr>
          <p:cNvCxnSpPr>
            <a:cxnSpLocks/>
          </p:cNvCxnSpPr>
          <p:nvPr/>
        </p:nvCxnSpPr>
        <p:spPr>
          <a:xfrm>
            <a:off x="9094194" y="4800792"/>
            <a:ext cx="0" cy="360000"/>
          </a:xfrm>
          <a:prstGeom prst="straightConnector1">
            <a:avLst/>
          </a:prstGeom>
          <a:ln>
            <a:solidFill>
              <a:srgbClr val="00B8F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모서리가 둥근 직사각형 167">
            <a:extLst>
              <a:ext uri="{FF2B5EF4-FFF2-40B4-BE49-F238E27FC236}">
                <a16:creationId xmlns:a16="http://schemas.microsoft.com/office/drawing/2014/main" id="{64F710CE-5046-AFEB-9CA3-166F2DA44E2F}"/>
              </a:ext>
            </a:extLst>
          </p:cNvPr>
          <p:cNvSpPr/>
          <p:nvPr/>
        </p:nvSpPr>
        <p:spPr>
          <a:xfrm>
            <a:off x="8888158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홍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획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CC4A826F-79BA-0B0A-FB41-71C622287EC3}"/>
              </a:ext>
            </a:extLst>
          </p:cNvPr>
          <p:cNvSpPr/>
          <p:nvPr/>
        </p:nvSpPr>
        <p:spPr>
          <a:xfrm>
            <a:off x="8805308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solidFill>
              <a:srgbClr val="00B8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>
                <a:solidFill>
                  <a:srgbClr val="00B8F5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8.7%</a:t>
            </a:r>
            <a:endParaRPr lang="ko-KR" altLang="en-US" sz="900" err="1">
              <a:solidFill>
                <a:srgbClr val="00B8F5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6513974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석유화학 업황</a:t>
            </a:r>
            <a:r>
              <a:rPr lang="ko-KR" altLang="en-US" sz="20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0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1/2)</a:t>
            </a:r>
            <a:r>
              <a:rPr lang="ko-KR" altLang="en-US" sz="15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5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15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發 공급과잉 </a:t>
            </a:r>
            <a:r>
              <a:rPr lang="en-US" altLang="ko-KR" sz="15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</a:t>
            </a:r>
            <a:r>
              <a:rPr lang="ko-KR" altLang="en-US" sz="15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 수요부진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D6BE09CC-974D-C5B0-841B-1168DBE37F89}"/>
              </a:ext>
            </a:extLst>
          </p:cNvPr>
          <p:cNvSpPr/>
          <p:nvPr/>
        </p:nvSpPr>
        <p:spPr>
          <a:xfrm>
            <a:off x="488950" y="6027232"/>
            <a:ext cx="8928100" cy="216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te 1: LG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학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800" err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화솔루션의 경우 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ART 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시 석유화학부문 영업이익률</a:t>
            </a:r>
            <a:endParaRPr lang="en-US" altLang="ko-KR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te 2: ’23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~4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기준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C07A3915-57FA-223C-1C6E-4EBD9526A45C}"/>
              </a:ext>
            </a:extLst>
          </p:cNvPr>
          <p:cNvSpPr/>
          <p:nvPr/>
        </p:nvSpPr>
        <p:spPr>
          <a:xfrm>
            <a:off x="488950" y="1440000"/>
            <a:ext cx="4356000" cy="216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의 지속적 설비 증설 및 공급 과잉 </a:t>
            </a:r>
          </a:p>
        </p:txBody>
      </p:sp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0B06D2C7-8DEE-691B-A7D8-506B087968B7}"/>
              </a:ext>
            </a:extLst>
          </p:cNvPr>
          <p:cNvGraphicFramePr>
            <a:graphicFrameLocks/>
          </p:cNvGraphicFramePr>
          <p:nvPr/>
        </p:nvGraphicFramePr>
        <p:xfrm>
          <a:off x="488950" y="4288759"/>
          <a:ext cx="4370388" cy="1752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표 17">
            <a:extLst>
              <a:ext uri="{FF2B5EF4-FFF2-40B4-BE49-F238E27FC236}">
                <a16:creationId xmlns:a16="http://schemas.microsoft.com/office/drawing/2014/main" id="{C1E14FD5-4F65-CD35-D90C-8CEE56549E88}"/>
              </a:ext>
            </a:extLst>
          </p:cNvPr>
          <p:cNvGraphicFramePr>
            <a:graphicFrameLocks noGrp="1"/>
          </p:cNvGraphicFramePr>
          <p:nvPr/>
        </p:nvGraphicFramePr>
        <p:xfrm>
          <a:off x="504000" y="4133700"/>
          <a:ext cx="4370388" cy="1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5194">
                  <a:extLst>
                    <a:ext uri="{9D8B030D-6E8A-4147-A177-3AD203B41FA5}">
                      <a16:colId xmlns:a16="http://schemas.microsoft.com/office/drawing/2014/main" val="2940550432"/>
                    </a:ext>
                  </a:extLst>
                </a:gridCol>
                <a:gridCol w="2185194">
                  <a:extLst>
                    <a:ext uri="{9D8B030D-6E8A-4147-A177-3AD203B41FA5}">
                      <a16:colId xmlns:a16="http://schemas.microsoft.com/office/drawing/2014/main" val="3893294915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[</a:t>
                      </a:r>
                      <a:r>
                        <a:rPr lang="ko-KR" altLang="en-US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글로벌 에틸렌 수급 추이</a:t>
                      </a:r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전망</a:t>
                      </a:r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 </a:t>
                      </a:r>
                      <a:r>
                        <a:rPr lang="ko-KR" altLang="en-US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및 가동률</a:t>
                      </a:r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]</a:t>
                      </a:r>
                      <a:endParaRPr lang="ko-KR" altLang="en-US" sz="800">
                        <a:solidFill>
                          <a:srgbClr val="00338D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위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: </a:t>
                      </a:r>
                      <a:r>
                        <a:rPr lang="ko-KR" altLang="en-US" sz="700" b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백만톤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좌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, %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우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, Source: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한국신용평가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endParaRPr lang="ko-KR" altLang="en-US" sz="700" b="0">
                        <a:solidFill>
                          <a:schemeClr val="bg1">
                            <a:lumMod val="50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316186"/>
                  </a:ext>
                </a:extLst>
              </a:tr>
            </a:tbl>
          </a:graphicData>
        </a:graphic>
      </p:graphicFrame>
      <p:sp>
        <p:nvSpPr>
          <p:cNvPr id="19" name="직사각형 18">
            <a:extLst>
              <a:ext uri="{FF2B5EF4-FFF2-40B4-BE49-F238E27FC236}">
                <a16:creationId xmlns:a16="http://schemas.microsoft.com/office/drawing/2014/main" id="{886B89CA-EBD0-390D-4533-D7E20B547FE0}"/>
              </a:ext>
            </a:extLst>
          </p:cNvPr>
          <p:cNvSpPr/>
          <p:nvPr/>
        </p:nvSpPr>
        <p:spPr>
          <a:xfrm>
            <a:off x="5051194" y="1440000"/>
            <a:ext cx="4356000" cy="216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석유화학기업 영업이익률 감소세</a:t>
            </a:r>
          </a:p>
        </p:txBody>
      </p:sp>
      <p:graphicFrame>
        <p:nvGraphicFramePr>
          <p:cNvPr id="20" name="차트 19">
            <a:extLst>
              <a:ext uri="{FF2B5EF4-FFF2-40B4-BE49-F238E27FC236}">
                <a16:creationId xmlns:a16="http://schemas.microsoft.com/office/drawing/2014/main" id="{20D1BFD4-2D91-F8C7-8A4F-91BA2024E4DE}"/>
              </a:ext>
            </a:extLst>
          </p:cNvPr>
          <p:cNvGraphicFramePr>
            <a:graphicFrameLocks/>
          </p:cNvGraphicFramePr>
          <p:nvPr/>
        </p:nvGraphicFramePr>
        <p:xfrm>
          <a:off x="489544" y="1934204"/>
          <a:ext cx="4377050" cy="2131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표 20">
            <a:extLst>
              <a:ext uri="{FF2B5EF4-FFF2-40B4-BE49-F238E27FC236}">
                <a16:creationId xmlns:a16="http://schemas.microsoft.com/office/drawing/2014/main" id="{3393D6DF-EEEA-7074-1E45-6D5AC1B77E53}"/>
              </a:ext>
            </a:extLst>
          </p:cNvPr>
          <p:cNvGraphicFramePr>
            <a:graphicFrameLocks noGrp="1"/>
          </p:cNvGraphicFramePr>
          <p:nvPr/>
        </p:nvGraphicFramePr>
        <p:xfrm>
          <a:off x="504000" y="1711696"/>
          <a:ext cx="4370388" cy="1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5194">
                  <a:extLst>
                    <a:ext uri="{9D8B030D-6E8A-4147-A177-3AD203B41FA5}">
                      <a16:colId xmlns:a16="http://schemas.microsoft.com/office/drawing/2014/main" val="2940550432"/>
                    </a:ext>
                  </a:extLst>
                </a:gridCol>
                <a:gridCol w="2185194">
                  <a:extLst>
                    <a:ext uri="{9D8B030D-6E8A-4147-A177-3AD203B41FA5}">
                      <a16:colId xmlns:a16="http://schemas.microsoft.com/office/drawing/2014/main" val="3893294915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[</a:t>
                      </a:r>
                      <a:r>
                        <a:rPr lang="ko-KR" altLang="en-US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중국 에틸렌 생산능력 및 글로벌 점유율 추이</a:t>
                      </a:r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]</a:t>
                      </a:r>
                      <a:endParaRPr lang="ko-KR" altLang="en-US" sz="800" baseline="30000">
                        <a:solidFill>
                          <a:srgbClr val="00338D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위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: </a:t>
                      </a:r>
                      <a:r>
                        <a:rPr lang="ko-KR" altLang="en-US" sz="700" b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백만톤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좌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, %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우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, Source: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ICIS, IBK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증권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endParaRPr lang="ko-KR" altLang="en-US" sz="700" b="0">
                        <a:solidFill>
                          <a:schemeClr val="bg1">
                            <a:lumMod val="50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316186"/>
                  </a:ext>
                </a:extLst>
              </a:tr>
            </a:tbl>
          </a:graphicData>
        </a:graphic>
      </p:graphicFrame>
      <p:sp>
        <p:nvSpPr>
          <p:cNvPr id="22" name="화살표: 오른쪽 21">
            <a:extLst>
              <a:ext uri="{FF2B5EF4-FFF2-40B4-BE49-F238E27FC236}">
                <a16:creationId xmlns:a16="http://schemas.microsoft.com/office/drawing/2014/main" id="{AB89BDC5-C1C4-7F18-6390-BD3BF6EFD1A7}"/>
              </a:ext>
            </a:extLst>
          </p:cNvPr>
          <p:cNvSpPr/>
          <p:nvPr/>
        </p:nvSpPr>
        <p:spPr>
          <a:xfrm rot="20935068">
            <a:off x="1135667" y="2853876"/>
            <a:ext cx="2980662" cy="275815"/>
          </a:xfrm>
          <a:prstGeom prst="rightArrow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AGR 18% … </a:t>
            </a:r>
            <a:r>
              <a:rPr lang="ko-KR" altLang="en-US" sz="8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은 자급률 상승을 위해 설비 증설 지속 중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2842731E-F5FE-410C-2F4C-65AFA6E2A4C1}"/>
              </a:ext>
            </a:extLst>
          </p:cNvPr>
          <p:cNvSpPr/>
          <p:nvPr/>
        </p:nvSpPr>
        <p:spPr>
          <a:xfrm>
            <a:off x="5046663" y="3977973"/>
            <a:ext cx="4377050" cy="226583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>
              <a:spcAft>
                <a:spcPts val="300"/>
              </a:spcAft>
            </a:pP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우호적인 석유화학 업황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 주도 공급과잉 </a:t>
            </a:r>
            <a:r>
              <a:rPr lang="en-US" altLang="ko-KR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</a:t>
            </a:r>
            <a:r>
              <a:rPr lang="ko-KR" altLang="en-US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중국</a:t>
            </a:r>
            <a:r>
              <a:rPr lang="en-US" altLang="ko-KR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5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오프닝</a:t>
            </a:r>
            <a:r>
              <a:rPr lang="ko-KR" altLang="en-US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but </a:t>
            </a:r>
            <a:r>
              <a:rPr lang="ko-KR" altLang="en-US" sz="9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요 개선 부진</a:t>
            </a:r>
            <a:endParaRPr lang="en-US" altLang="ko-KR" sz="95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</a:pPr>
            <a:r>
              <a:rPr lang="ko-KR" altLang="en-US" sz="900" b="1" u="sng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 수출비중 </a:t>
            </a:r>
            <a:r>
              <a:rPr lang="en-US" altLang="ko-KR" sz="900" b="1" u="sng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igh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…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조업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9.4%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비 화학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8%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준</a:t>
            </a:r>
            <a:r>
              <a:rPr lang="en-US" altLang="ko-KR" sz="900" baseline="300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</a:p>
          <a:p>
            <a:pPr marL="171450" indent="-171450"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’23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년 중국 설비증설에 따른 </a:t>
            </a:r>
            <a:r>
              <a:rPr lang="ko-KR" altLang="en-US" sz="900" b="1" u="sng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공급 과잉 </a:t>
            </a:r>
            <a:r>
              <a:rPr lang="en-US" altLang="ko-KR" sz="900" b="1" u="sng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+ </a:t>
            </a:r>
            <a:r>
              <a:rPr lang="ko-KR" altLang="en-US" sz="900" b="1" u="sng" err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오프닝</a:t>
            </a:r>
            <a:r>
              <a:rPr lang="ko-KR" altLang="en-US" sz="900" b="1" u="sng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수요 개선 부진으로 수익성 악화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지속</a:t>
            </a:r>
            <a:endParaRPr lang="en-US" altLang="ko-KR" sz="90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>
              <a:spcAft>
                <a:spcPts val="1200"/>
              </a:spcAft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국내 석유화학 업체들은 활발히 </a:t>
            </a:r>
            <a:r>
              <a:rPr lang="ko-KR" altLang="en-US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트폴리오 다각화</a:t>
            </a:r>
            <a:r>
              <a:rPr lang="en-US" altLang="ko-KR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2</a:t>
            </a:r>
            <a:r>
              <a:rPr lang="ko-KR" altLang="en-US" sz="900" b="1" u="sng" err="1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차전지</a:t>
            </a:r>
            <a:r>
              <a:rPr lang="en-US" altLang="ko-KR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반도체</a:t>
            </a:r>
            <a:r>
              <a:rPr lang="en-US" altLang="ko-KR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ko-KR" altLang="en-US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친환경</a:t>
            </a:r>
            <a:r>
              <a:rPr lang="en-US" altLang="ko-KR" sz="900" b="1" u="sng">
                <a:solidFill>
                  <a:srgbClr val="1E49E2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中</a:t>
            </a:r>
            <a:endParaRPr lang="en-US" altLang="ko-KR" sz="90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</a:pP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도별 산업 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istory </a:t>
            </a:r>
            <a:r>
              <a:rPr lang="ko-KR" altLang="en-US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</a:p>
          <a:p>
            <a:pPr marL="171450" indent="-171450"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2021</a:t>
            </a:r>
            <a:r>
              <a:rPr lang="ko-KR" altLang="en-US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년</a:t>
            </a:r>
            <a:r>
              <a:rPr lang="en-US" altLang="ko-KR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상반기 </a:t>
            </a:r>
            <a:r>
              <a:rPr lang="ko-KR" altLang="en-US" sz="900" err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팬데믹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수요 회복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+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미국 한파로 인한 텍사스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,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루이지애나 설비 가동 중단으로 수급 개선 → 호황기 수준 실적</a:t>
            </a:r>
            <a:endParaRPr lang="en-US" altLang="ko-KR" sz="90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2022</a:t>
            </a:r>
            <a:r>
              <a:rPr lang="ko-KR" altLang="en-US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년</a:t>
            </a:r>
            <a:r>
              <a:rPr lang="en-US" altLang="ko-KR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 설비 증설 본격화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+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 </a:t>
            </a:r>
            <a:r>
              <a:rPr lang="ko-KR" altLang="en-US" sz="900" err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팬데믹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봉쇄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+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유가 원재료비 부담 → 실적 악화</a:t>
            </a:r>
            <a:endParaRPr lang="en-US" altLang="ko-KR" sz="90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71450" indent="-171450"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(2023</a:t>
            </a:r>
            <a:r>
              <a:rPr lang="ko-KR" altLang="en-US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년 상반기</a:t>
            </a:r>
            <a:r>
              <a:rPr lang="en-US" altLang="ko-KR" sz="900" b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)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 설비 증설 지속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+ 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국 </a:t>
            </a:r>
            <a:r>
              <a:rPr lang="ko-KR" altLang="en-US" sz="900" err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오프닝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but</a:t>
            </a:r>
            <a:r>
              <a:rPr lang="ko-KR" altLang="en-US" sz="9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수요 개선 부진</a:t>
            </a:r>
            <a:endParaRPr lang="en-US" altLang="ko-KR" sz="90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9875" indent="-182563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Upstream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: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주 생산품인 </a:t>
            </a:r>
            <a:r>
              <a:rPr lang="ko-KR" altLang="en-US" sz="800" err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올레핀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마진 스프레드 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BEP 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하회</a:t>
            </a:r>
            <a:endParaRPr lang="en-US" altLang="ko-KR" sz="800">
              <a:solidFill>
                <a:schemeClr val="tx1">
                  <a:lumMod val="65000"/>
                  <a:lumOff val="3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269875" indent="-182563">
              <a:buClr>
                <a:schemeClr val="tx1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Downstream :  </a:t>
            </a:r>
            <a:r>
              <a:rPr lang="ko-KR" alt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요위축에 따른 화학부문 수익성 악화 </a:t>
            </a:r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/</a:t>
            </a:r>
            <a:r>
              <a:rPr lang="en-US" altLang="ko-KR" sz="8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800" err="1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화학</a:t>
            </a:r>
            <a:r>
              <a:rPr lang="ko-KR" altLang="en-US" sz="800">
                <a:solidFill>
                  <a:schemeClr val="tx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부문으로 실적 상쇄</a:t>
            </a:r>
            <a:endParaRPr lang="en-US" altLang="ko-KR" sz="800">
              <a:solidFill>
                <a:schemeClr val="tx1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graphicFrame>
        <p:nvGraphicFramePr>
          <p:cNvPr id="2" name="차트 1">
            <a:extLst>
              <a:ext uri="{FF2B5EF4-FFF2-40B4-BE49-F238E27FC236}">
                <a16:creationId xmlns:a16="http://schemas.microsoft.com/office/drawing/2014/main" id="{7E651FEC-2276-26FA-F93A-2FE353C82F9C}"/>
              </a:ext>
            </a:extLst>
          </p:cNvPr>
          <p:cNvGraphicFramePr>
            <a:graphicFrameLocks/>
          </p:cNvGraphicFramePr>
          <p:nvPr/>
        </p:nvGraphicFramePr>
        <p:xfrm>
          <a:off x="5047346" y="1839595"/>
          <a:ext cx="4356000" cy="2294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021E6DB5-D244-F542-3A9E-ED14B66772AC}"/>
              </a:ext>
            </a:extLst>
          </p:cNvPr>
          <p:cNvGraphicFramePr>
            <a:graphicFrameLocks noGrp="1"/>
          </p:cNvGraphicFramePr>
          <p:nvPr/>
        </p:nvGraphicFramePr>
        <p:xfrm>
          <a:off x="5062396" y="1714690"/>
          <a:ext cx="4370388" cy="1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5194">
                  <a:extLst>
                    <a:ext uri="{9D8B030D-6E8A-4147-A177-3AD203B41FA5}">
                      <a16:colId xmlns:a16="http://schemas.microsoft.com/office/drawing/2014/main" val="2940550432"/>
                    </a:ext>
                  </a:extLst>
                </a:gridCol>
                <a:gridCol w="2185194">
                  <a:extLst>
                    <a:ext uri="{9D8B030D-6E8A-4147-A177-3AD203B41FA5}">
                      <a16:colId xmlns:a16="http://schemas.microsoft.com/office/drawing/2014/main" val="3893294915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[</a:t>
                      </a:r>
                      <a:r>
                        <a:rPr lang="ko-KR" altLang="en-US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주요 기업별 영업이익률 추이</a:t>
                      </a:r>
                      <a:r>
                        <a:rPr lang="en-US" altLang="ko-KR" sz="8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]</a:t>
                      </a:r>
                      <a:r>
                        <a:rPr lang="en-US" altLang="ko-KR" sz="800" baseline="30000">
                          <a:solidFill>
                            <a:srgbClr val="00338D"/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1</a:t>
                      </a:r>
                      <a:endParaRPr lang="ko-KR" altLang="en-US" sz="800" baseline="30000">
                        <a:solidFill>
                          <a:srgbClr val="00338D"/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단위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: </a:t>
                      </a:r>
                      <a:r>
                        <a:rPr lang="ko-KR" altLang="en-US" sz="700" b="0" err="1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백만톤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좌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, %(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우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, Source:</a:t>
                      </a:r>
                      <a:r>
                        <a:rPr lang="ko-KR" altLang="en-US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 한국신용평가</a:t>
                      </a:r>
                      <a:r>
                        <a:rPr lang="en-US" altLang="ko-KR" sz="700" b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KoPub돋움체 Light" panose="00000300000000000000" pitchFamily="2" charset="-127"/>
                          <a:ea typeface="KoPub돋움체 Light" panose="00000300000000000000" pitchFamily="2" charset="-127"/>
                        </a:rPr>
                        <a:t>)</a:t>
                      </a:r>
                      <a:endParaRPr lang="ko-KR" altLang="en-US" sz="700" b="0">
                        <a:solidFill>
                          <a:schemeClr val="bg1">
                            <a:lumMod val="50000"/>
                          </a:schemeClr>
                        </a:solidFill>
                        <a:latin typeface="KoPub돋움체 Light" panose="00000300000000000000" pitchFamily="2" charset="-127"/>
                        <a:ea typeface="KoPub돋움체 Light" panose="00000300000000000000" pitchFamily="2" charset="-127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3161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128613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 err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치디씨</a:t>
            </a:r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디씨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" name="직선 화살표 연결선 2">
            <a:extLst>
              <a:ext uri="{FF2B5EF4-FFF2-40B4-BE49-F238E27FC236}">
                <a16:creationId xmlns:a16="http://schemas.microsoft.com/office/drawing/2014/main" id="{139A208E-666A-CE60-6BEF-38A90545229F}"/>
              </a:ext>
            </a:extLst>
          </p:cNvPr>
          <p:cNvCxnSpPr>
            <a:cxnSpLocks/>
          </p:cNvCxnSpPr>
          <p:nvPr/>
        </p:nvCxnSpPr>
        <p:spPr>
          <a:xfrm>
            <a:off x="983552" y="2256074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모서리가 둥근 직사각형 167">
            <a:extLst>
              <a:ext uri="{FF2B5EF4-FFF2-40B4-BE49-F238E27FC236}">
                <a16:creationId xmlns:a16="http://schemas.microsoft.com/office/drawing/2014/main" id="{AA9964D1-DBA5-E124-8FAD-5D466B05E9E5}"/>
              </a:ext>
            </a:extLst>
          </p:cNvPr>
          <p:cNvSpPr/>
          <p:nvPr/>
        </p:nvSpPr>
        <p:spPr>
          <a:xfrm>
            <a:off x="4450131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치디씨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96E20B62-613B-CA0D-B21A-0B9A9A21F95B}"/>
              </a:ext>
            </a:extLst>
          </p:cNvPr>
          <p:cNvCxnSpPr>
            <a:cxnSpLocks/>
          </p:cNvCxnSpPr>
          <p:nvPr/>
        </p:nvCxnSpPr>
        <p:spPr>
          <a:xfrm>
            <a:off x="3766765" y="4728258"/>
            <a:ext cx="0" cy="393071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1591EADD-D8B5-DAC1-9946-A544F1B9DAAD}"/>
              </a:ext>
            </a:extLst>
          </p:cNvPr>
          <p:cNvCxnSpPr>
            <a:cxnSpLocks/>
          </p:cNvCxnSpPr>
          <p:nvPr/>
        </p:nvCxnSpPr>
        <p:spPr>
          <a:xfrm flipH="1">
            <a:off x="2428318" y="4728258"/>
            <a:ext cx="5408948" cy="353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9EB71A2C-DDDD-AC27-34B9-596BB63CF207}"/>
              </a:ext>
            </a:extLst>
          </p:cNvPr>
          <p:cNvCxnSpPr>
            <a:cxnSpLocks/>
          </p:cNvCxnSpPr>
          <p:nvPr/>
        </p:nvCxnSpPr>
        <p:spPr>
          <a:xfrm>
            <a:off x="4443040" y="473178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59962619-2553-4A28-3A5D-D6B0069EE51E}"/>
              </a:ext>
            </a:extLst>
          </p:cNvPr>
          <p:cNvCxnSpPr>
            <a:cxnSpLocks/>
          </p:cNvCxnSpPr>
          <p:nvPr/>
        </p:nvCxnSpPr>
        <p:spPr>
          <a:xfrm>
            <a:off x="5120463" y="4731434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8966E566-63E9-659A-65D2-C3E3249D6A66}"/>
              </a:ext>
            </a:extLst>
          </p:cNvPr>
          <p:cNvCxnSpPr>
            <a:cxnSpLocks/>
          </p:cNvCxnSpPr>
          <p:nvPr/>
        </p:nvCxnSpPr>
        <p:spPr>
          <a:xfrm>
            <a:off x="5797689" y="473178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51354668-DFA1-A46C-28CD-03EE772C7CDD}"/>
              </a:ext>
            </a:extLst>
          </p:cNvPr>
          <p:cNvCxnSpPr>
            <a:cxnSpLocks/>
          </p:cNvCxnSpPr>
          <p:nvPr/>
        </p:nvCxnSpPr>
        <p:spPr>
          <a:xfrm>
            <a:off x="6488470" y="473143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5806D6DE-3A1B-00FB-1D2A-AF75CC0E565C}"/>
              </a:ext>
            </a:extLst>
          </p:cNvPr>
          <p:cNvCxnSpPr>
            <a:cxnSpLocks/>
          </p:cNvCxnSpPr>
          <p:nvPr/>
        </p:nvCxnSpPr>
        <p:spPr>
          <a:xfrm>
            <a:off x="3098604" y="4728258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타원 14">
            <a:extLst>
              <a:ext uri="{FF2B5EF4-FFF2-40B4-BE49-F238E27FC236}">
                <a16:creationId xmlns:a16="http://schemas.microsoft.com/office/drawing/2014/main" id="{2F7FD180-7EBE-B7CD-6E53-95E1DFFF3A05}"/>
              </a:ext>
            </a:extLst>
          </p:cNvPr>
          <p:cNvSpPr/>
          <p:nvPr/>
        </p:nvSpPr>
        <p:spPr>
          <a:xfrm>
            <a:off x="2813061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8A054A27-A8FA-0A2B-9B5E-DC45052D0B31}"/>
              </a:ext>
            </a:extLst>
          </p:cNvPr>
          <p:cNvSpPr/>
          <p:nvPr/>
        </p:nvSpPr>
        <p:spPr>
          <a:xfrm>
            <a:off x="3490366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타원 18">
            <a:extLst>
              <a:ext uri="{FF2B5EF4-FFF2-40B4-BE49-F238E27FC236}">
                <a16:creationId xmlns:a16="http://schemas.microsoft.com/office/drawing/2014/main" id="{7C2C20ED-FC84-16F9-B0C8-D258C8A13EB5}"/>
              </a:ext>
            </a:extLst>
          </p:cNvPr>
          <p:cNvSpPr/>
          <p:nvPr/>
        </p:nvSpPr>
        <p:spPr>
          <a:xfrm>
            <a:off x="4167671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6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D840D28E-E256-6CA2-779E-01FBEDEBA4B5}"/>
              </a:ext>
            </a:extLst>
          </p:cNvPr>
          <p:cNvSpPr/>
          <p:nvPr/>
        </p:nvSpPr>
        <p:spPr>
          <a:xfrm>
            <a:off x="4844976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6.9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516AA68C-1D85-45AD-FBD9-0E512342009C}"/>
              </a:ext>
            </a:extLst>
          </p:cNvPr>
          <p:cNvSpPr/>
          <p:nvPr/>
        </p:nvSpPr>
        <p:spPr>
          <a:xfrm>
            <a:off x="5522281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2" name="타원 21">
            <a:extLst>
              <a:ext uri="{FF2B5EF4-FFF2-40B4-BE49-F238E27FC236}">
                <a16:creationId xmlns:a16="http://schemas.microsoft.com/office/drawing/2014/main" id="{85A63F91-186D-34DA-944E-5CFA156E8CF7}"/>
              </a:ext>
            </a:extLst>
          </p:cNvPr>
          <p:cNvSpPr/>
          <p:nvPr/>
        </p:nvSpPr>
        <p:spPr>
          <a:xfrm>
            <a:off x="6199584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BC553463-3D2D-5A48-FF6B-48EA68B9DB38}"/>
              </a:ext>
            </a:extLst>
          </p:cNvPr>
          <p:cNvCxnSpPr>
            <a:cxnSpLocks/>
          </p:cNvCxnSpPr>
          <p:nvPr/>
        </p:nvCxnSpPr>
        <p:spPr>
          <a:xfrm flipH="1">
            <a:off x="307277" y="2243798"/>
            <a:ext cx="9291446" cy="791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41F26062-590D-407A-BA20-CB222DAF99E1}"/>
              </a:ext>
            </a:extLst>
          </p:cNvPr>
          <p:cNvCxnSpPr>
            <a:cxnSpLocks/>
          </p:cNvCxnSpPr>
          <p:nvPr/>
        </p:nvCxnSpPr>
        <p:spPr>
          <a:xfrm>
            <a:off x="1651713" y="2251707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F584FDC3-9DEA-B86A-99C3-B0A1090C70F7}"/>
              </a:ext>
            </a:extLst>
          </p:cNvPr>
          <p:cNvCxnSpPr>
            <a:cxnSpLocks/>
          </p:cNvCxnSpPr>
          <p:nvPr/>
        </p:nvCxnSpPr>
        <p:spPr>
          <a:xfrm>
            <a:off x="3006362" y="2251707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D841F912-5CB0-4B81-0972-8DBBD0B82175}"/>
              </a:ext>
            </a:extLst>
          </p:cNvPr>
          <p:cNvCxnSpPr>
            <a:cxnSpLocks/>
          </p:cNvCxnSpPr>
          <p:nvPr/>
        </p:nvCxnSpPr>
        <p:spPr>
          <a:xfrm>
            <a:off x="3627293" y="2251353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2CA9AE47-4793-7942-7443-AA9880654385}"/>
              </a:ext>
            </a:extLst>
          </p:cNvPr>
          <p:cNvCxnSpPr>
            <a:cxnSpLocks/>
          </p:cNvCxnSpPr>
          <p:nvPr/>
        </p:nvCxnSpPr>
        <p:spPr>
          <a:xfrm>
            <a:off x="307277" y="2256074"/>
            <a:ext cx="0" cy="1080835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타원 45">
            <a:extLst>
              <a:ext uri="{FF2B5EF4-FFF2-40B4-BE49-F238E27FC236}">
                <a16:creationId xmlns:a16="http://schemas.microsoft.com/office/drawing/2014/main" id="{6723DBD0-DA38-7648-8F54-EB6FA88BD763}"/>
              </a:ext>
            </a:extLst>
          </p:cNvPr>
          <p:cNvSpPr/>
          <p:nvPr/>
        </p:nvSpPr>
        <p:spPr>
          <a:xfrm>
            <a:off x="20845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9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1" name="타원 50">
            <a:extLst>
              <a:ext uri="{FF2B5EF4-FFF2-40B4-BE49-F238E27FC236}">
                <a16:creationId xmlns:a16="http://schemas.microsoft.com/office/drawing/2014/main" id="{5F7B838D-3B9A-F1C2-D21E-2FB243FF7D9F}"/>
              </a:ext>
            </a:extLst>
          </p:cNvPr>
          <p:cNvSpPr/>
          <p:nvPr/>
        </p:nvSpPr>
        <p:spPr>
          <a:xfrm>
            <a:off x="683769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5.2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3" name="타원 52">
            <a:extLst>
              <a:ext uri="{FF2B5EF4-FFF2-40B4-BE49-F238E27FC236}">
                <a16:creationId xmlns:a16="http://schemas.microsoft.com/office/drawing/2014/main" id="{F4DFCCB2-13CA-DCA1-FB92-1DA3C4D59B9B}"/>
              </a:ext>
            </a:extLst>
          </p:cNvPr>
          <p:cNvSpPr/>
          <p:nvPr/>
        </p:nvSpPr>
        <p:spPr>
          <a:xfrm>
            <a:off x="1346693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8.3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4" name="타원 53">
            <a:extLst>
              <a:ext uri="{FF2B5EF4-FFF2-40B4-BE49-F238E27FC236}">
                <a16:creationId xmlns:a16="http://schemas.microsoft.com/office/drawing/2014/main" id="{755A9917-F3CF-636C-7C16-344361EC6A7C}"/>
              </a:ext>
            </a:extLst>
          </p:cNvPr>
          <p:cNvSpPr/>
          <p:nvPr/>
        </p:nvSpPr>
        <p:spPr>
          <a:xfrm>
            <a:off x="2009617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7.1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5" name="타원 54">
            <a:extLst>
              <a:ext uri="{FF2B5EF4-FFF2-40B4-BE49-F238E27FC236}">
                <a16:creationId xmlns:a16="http://schemas.microsoft.com/office/drawing/2014/main" id="{41B0157C-1735-CE8B-D755-7BD27B28F27F}"/>
              </a:ext>
            </a:extLst>
          </p:cNvPr>
          <p:cNvSpPr/>
          <p:nvPr/>
        </p:nvSpPr>
        <p:spPr>
          <a:xfrm>
            <a:off x="2672541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6" name="타원 55">
            <a:extLst>
              <a:ext uri="{FF2B5EF4-FFF2-40B4-BE49-F238E27FC236}">
                <a16:creationId xmlns:a16="http://schemas.microsoft.com/office/drawing/2014/main" id="{478E84D9-0461-1973-DA93-E70F045862BF}"/>
              </a:ext>
            </a:extLst>
          </p:cNvPr>
          <p:cNvSpPr/>
          <p:nvPr/>
        </p:nvSpPr>
        <p:spPr>
          <a:xfrm>
            <a:off x="3335465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1.5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8" name="직선 화살표 연결선 57">
            <a:extLst>
              <a:ext uri="{FF2B5EF4-FFF2-40B4-BE49-F238E27FC236}">
                <a16:creationId xmlns:a16="http://schemas.microsoft.com/office/drawing/2014/main" id="{14239C70-B5C0-E8C1-E5F0-66FAFF873E17}"/>
              </a:ext>
            </a:extLst>
          </p:cNvPr>
          <p:cNvCxnSpPr>
            <a:cxnSpLocks/>
          </p:cNvCxnSpPr>
          <p:nvPr/>
        </p:nvCxnSpPr>
        <p:spPr>
          <a:xfrm>
            <a:off x="4297002" y="2249261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타원 58">
            <a:extLst>
              <a:ext uri="{FF2B5EF4-FFF2-40B4-BE49-F238E27FC236}">
                <a16:creationId xmlns:a16="http://schemas.microsoft.com/office/drawing/2014/main" id="{16B731DE-EDC3-E6F9-6734-62F5D3EF84CF}"/>
              </a:ext>
            </a:extLst>
          </p:cNvPr>
          <p:cNvSpPr/>
          <p:nvPr/>
        </p:nvSpPr>
        <p:spPr>
          <a:xfrm>
            <a:off x="3998389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4.3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2C89E3CB-67A9-14F0-5B79-1A5C00272C57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4954011" y="2100825"/>
            <a:ext cx="120" cy="1228436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타원 60">
            <a:extLst>
              <a:ext uri="{FF2B5EF4-FFF2-40B4-BE49-F238E27FC236}">
                <a16:creationId xmlns:a16="http://schemas.microsoft.com/office/drawing/2014/main" id="{B7EEBE5B-AF52-DE93-75CF-501AFDCDFEC3}"/>
              </a:ext>
            </a:extLst>
          </p:cNvPr>
          <p:cNvSpPr/>
          <p:nvPr/>
        </p:nvSpPr>
        <p:spPr>
          <a:xfrm>
            <a:off x="4661315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9FD2A99F-5206-F084-83B3-54B596705D4D}"/>
              </a:ext>
            </a:extLst>
          </p:cNvPr>
          <p:cNvCxnSpPr>
            <a:cxnSpLocks/>
          </p:cNvCxnSpPr>
          <p:nvPr/>
        </p:nvCxnSpPr>
        <p:spPr>
          <a:xfrm>
            <a:off x="334736" y="3466515"/>
            <a:ext cx="0" cy="1525738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타원 64">
            <a:extLst>
              <a:ext uri="{FF2B5EF4-FFF2-40B4-BE49-F238E27FC236}">
                <a16:creationId xmlns:a16="http://schemas.microsoft.com/office/drawing/2014/main" id="{10659832-F8B8-C63B-7028-AC3B21AFA03B}"/>
              </a:ext>
            </a:extLst>
          </p:cNvPr>
          <p:cNvSpPr/>
          <p:nvPr/>
        </p:nvSpPr>
        <p:spPr>
          <a:xfrm>
            <a:off x="46736" y="459689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6.7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B52ADC39-750C-DBC5-308C-82147F083CC0}"/>
              </a:ext>
            </a:extLst>
          </p:cNvPr>
          <p:cNvCxnSpPr>
            <a:cxnSpLocks/>
          </p:cNvCxnSpPr>
          <p:nvPr/>
        </p:nvCxnSpPr>
        <p:spPr>
          <a:xfrm>
            <a:off x="3627293" y="3458895"/>
            <a:ext cx="0" cy="1274381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55D8E6B5-C6ED-B5A3-78AF-C3A40FBF219A}"/>
              </a:ext>
            </a:extLst>
          </p:cNvPr>
          <p:cNvSpPr/>
          <p:nvPr/>
        </p:nvSpPr>
        <p:spPr>
          <a:xfrm>
            <a:off x="148799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0" name="모서리가 둥근 직사각형 167">
            <a:extLst>
              <a:ext uri="{FF2B5EF4-FFF2-40B4-BE49-F238E27FC236}">
                <a16:creationId xmlns:a16="http://schemas.microsoft.com/office/drawing/2014/main" id="{4FE4D642-2D7A-32E1-3789-B0F3BB1733B5}"/>
              </a:ext>
            </a:extLst>
          </p:cNvPr>
          <p:cNvSpPr/>
          <p:nvPr/>
        </p:nvSpPr>
        <p:spPr>
          <a:xfrm>
            <a:off x="141348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랩스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4" name="모서리가 둥근 직사각형 167">
            <a:extLst>
              <a:ext uri="{FF2B5EF4-FFF2-40B4-BE49-F238E27FC236}">
                <a16:creationId xmlns:a16="http://schemas.microsoft.com/office/drawing/2014/main" id="{8D601595-D93C-E2B5-949E-41DC8A39BB70}"/>
              </a:ext>
            </a:extLst>
          </p:cNvPr>
          <p:cNvSpPr/>
          <p:nvPr/>
        </p:nvSpPr>
        <p:spPr>
          <a:xfrm>
            <a:off x="1463270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피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5" name="모서리가 둥근 직사각형 167">
            <a:extLst>
              <a:ext uri="{FF2B5EF4-FFF2-40B4-BE49-F238E27FC236}">
                <a16:creationId xmlns:a16="http://schemas.microsoft.com/office/drawing/2014/main" id="{0038D926-0CD0-269F-6FE0-62FC483414C2}"/>
              </a:ext>
            </a:extLst>
          </p:cNvPr>
          <p:cNvSpPr/>
          <p:nvPr/>
        </p:nvSpPr>
        <p:spPr>
          <a:xfrm>
            <a:off x="2124231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크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몰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6" name="모서리가 둥근 직사각형 167">
            <a:extLst>
              <a:ext uri="{FF2B5EF4-FFF2-40B4-BE49-F238E27FC236}">
                <a16:creationId xmlns:a16="http://schemas.microsoft.com/office/drawing/2014/main" id="{A6D2FF97-3D12-FACE-3BB7-D68DF1E91693}"/>
              </a:ext>
            </a:extLst>
          </p:cNvPr>
          <p:cNvSpPr/>
          <p:nvPr/>
        </p:nvSpPr>
        <p:spPr>
          <a:xfrm>
            <a:off x="2785192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라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세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</a:t>
            </a:r>
          </a:p>
        </p:txBody>
      </p:sp>
      <p:sp>
        <p:nvSpPr>
          <p:cNvPr id="87" name="모서리가 둥근 직사각형 167">
            <a:extLst>
              <a:ext uri="{FF2B5EF4-FFF2-40B4-BE49-F238E27FC236}">
                <a16:creationId xmlns:a16="http://schemas.microsoft.com/office/drawing/2014/main" id="{18048152-1238-D31C-B42F-2D03DFF93C89}"/>
              </a:ext>
            </a:extLst>
          </p:cNvPr>
          <p:cNvSpPr/>
          <p:nvPr/>
        </p:nvSpPr>
        <p:spPr>
          <a:xfrm>
            <a:off x="3446153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업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8" name="모서리가 둥근 직사각형 167">
            <a:extLst>
              <a:ext uri="{FF2B5EF4-FFF2-40B4-BE49-F238E27FC236}">
                <a16:creationId xmlns:a16="http://schemas.microsoft.com/office/drawing/2014/main" id="{7B0BAC75-BB9D-0CDD-E8AA-4F0C0754C0F5}"/>
              </a:ext>
            </a:extLst>
          </p:cNvPr>
          <p:cNvSpPr/>
          <p:nvPr/>
        </p:nvSpPr>
        <p:spPr>
          <a:xfrm>
            <a:off x="4107114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창</a:t>
            </a: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B9990D27-0435-A173-62AC-1457D15236C5}"/>
              </a:ext>
            </a:extLst>
          </p:cNvPr>
          <p:cNvSpPr/>
          <p:nvPr/>
        </p:nvSpPr>
        <p:spPr>
          <a:xfrm>
            <a:off x="4768074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츠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93" name="직선 화살표 연결선 92">
            <a:extLst>
              <a:ext uri="{FF2B5EF4-FFF2-40B4-BE49-F238E27FC236}">
                <a16:creationId xmlns:a16="http://schemas.microsoft.com/office/drawing/2014/main" id="{63DDF3AE-8257-2F23-0784-F0A6EB1C617F}"/>
              </a:ext>
            </a:extLst>
          </p:cNvPr>
          <p:cNvCxnSpPr>
            <a:cxnSpLocks/>
          </p:cNvCxnSpPr>
          <p:nvPr/>
        </p:nvCxnSpPr>
        <p:spPr>
          <a:xfrm>
            <a:off x="7162425" y="4740896"/>
            <a:ext cx="0" cy="350537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타원 94">
            <a:extLst>
              <a:ext uri="{FF2B5EF4-FFF2-40B4-BE49-F238E27FC236}">
                <a16:creationId xmlns:a16="http://schemas.microsoft.com/office/drawing/2014/main" id="{EF2F7D13-27F4-80F1-5A38-2F1AC7FC0264}"/>
              </a:ext>
            </a:extLst>
          </p:cNvPr>
          <p:cNvSpPr/>
          <p:nvPr/>
        </p:nvSpPr>
        <p:spPr>
          <a:xfrm>
            <a:off x="6873539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2.1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01" name="직선 화살표 연결선 100">
            <a:extLst>
              <a:ext uri="{FF2B5EF4-FFF2-40B4-BE49-F238E27FC236}">
                <a16:creationId xmlns:a16="http://schemas.microsoft.com/office/drawing/2014/main" id="{5FA1F1AE-D123-8B1F-CCDD-B35939CB03FF}"/>
              </a:ext>
            </a:extLst>
          </p:cNvPr>
          <p:cNvCxnSpPr>
            <a:cxnSpLocks/>
          </p:cNvCxnSpPr>
          <p:nvPr/>
        </p:nvCxnSpPr>
        <p:spPr>
          <a:xfrm>
            <a:off x="2428318" y="473143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타원 101">
            <a:extLst>
              <a:ext uri="{FF2B5EF4-FFF2-40B4-BE49-F238E27FC236}">
                <a16:creationId xmlns:a16="http://schemas.microsoft.com/office/drawing/2014/main" id="{61FEAD2D-AD93-1ABA-A9DF-DC38920B41B3}"/>
              </a:ext>
            </a:extLst>
          </p:cNvPr>
          <p:cNvSpPr/>
          <p:nvPr/>
        </p:nvSpPr>
        <p:spPr>
          <a:xfrm>
            <a:off x="2139432" y="484153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9.9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5" name="모서리가 둥근 직사각형 167">
            <a:extLst>
              <a:ext uri="{FF2B5EF4-FFF2-40B4-BE49-F238E27FC236}">
                <a16:creationId xmlns:a16="http://schemas.microsoft.com/office/drawing/2014/main" id="{BC83AF88-4C64-7725-9034-80813F5FB179}"/>
              </a:ext>
            </a:extLst>
          </p:cNvPr>
          <p:cNvSpPr/>
          <p:nvPr/>
        </p:nvSpPr>
        <p:spPr>
          <a:xfrm>
            <a:off x="3586620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CE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8" name="모서리가 둥근 직사각형 167">
            <a:extLst>
              <a:ext uri="{FF2B5EF4-FFF2-40B4-BE49-F238E27FC236}">
                <a16:creationId xmlns:a16="http://schemas.microsoft.com/office/drawing/2014/main" id="{3BCD35A1-5DF2-18DB-1E2B-60F44EB4DCF9}"/>
              </a:ext>
            </a:extLst>
          </p:cNvPr>
          <p:cNvSpPr/>
          <p:nvPr/>
        </p:nvSpPr>
        <p:spPr>
          <a:xfrm>
            <a:off x="4260573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천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항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배후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지</a:t>
            </a:r>
          </a:p>
        </p:txBody>
      </p:sp>
      <p:sp>
        <p:nvSpPr>
          <p:cNvPr id="115" name="모서리가 둥근 직사각형 167">
            <a:extLst>
              <a:ext uri="{FF2B5EF4-FFF2-40B4-BE49-F238E27FC236}">
                <a16:creationId xmlns:a16="http://schemas.microsoft.com/office/drawing/2014/main" id="{A02759DB-5CE7-2100-36C0-F54ECAFEC6CE}"/>
              </a:ext>
            </a:extLst>
          </p:cNvPr>
          <p:cNvSpPr/>
          <p:nvPr/>
        </p:nvSpPr>
        <p:spPr>
          <a:xfrm>
            <a:off x="2912667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텔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6" name="모서리가 둥근 직사각형 167">
            <a:extLst>
              <a:ext uri="{FF2B5EF4-FFF2-40B4-BE49-F238E27FC236}">
                <a16:creationId xmlns:a16="http://schemas.microsoft.com/office/drawing/2014/main" id="{5B11108F-9636-5C93-764C-EB9C5116A038}"/>
              </a:ext>
            </a:extLst>
          </p:cNvPr>
          <p:cNvSpPr/>
          <p:nvPr/>
        </p:nvSpPr>
        <p:spPr>
          <a:xfrm>
            <a:off x="4934526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흥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울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결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로</a:t>
            </a:r>
          </a:p>
        </p:txBody>
      </p:sp>
      <p:sp>
        <p:nvSpPr>
          <p:cNvPr id="135" name="모서리가 둥근 직사각형 167">
            <a:extLst>
              <a:ext uri="{FF2B5EF4-FFF2-40B4-BE49-F238E27FC236}">
                <a16:creationId xmlns:a16="http://schemas.microsoft.com/office/drawing/2014/main" id="{BB45700F-5B39-5A6D-267C-276AB960B753}"/>
              </a:ext>
            </a:extLst>
          </p:cNvPr>
          <p:cNvSpPr/>
          <p:nvPr/>
        </p:nvSpPr>
        <p:spPr>
          <a:xfrm>
            <a:off x="5608479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광명</a:t>
            </a:r>
            <a:b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문화 복합</a:t>
            </a:r>
            <a:b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지 자산</a:t>
            </a:r>
            <a:b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리</a:t>
            </a:r>
          </a:p>
        </p:txBody>
      </p:sp>
      <p:sp>
        <p:nvSpPr>
          <p:cNvPr id="136" name="모서리가 둥근 직사각형 167">
            <a:extLst>
              <a:ext uri="{FF2B5EF4-FFF2-40B4-BE49-F238E27FC236}">
                <a16:creationId xmlns:a16="http://schemas.microsoft.com/office/drawing/2014/main" id="{8920BBF6-5EA6-F33D-87F5-9B3F668F51F2}"/>
              </a:ext>
            </a:extLst>
          </p:cNvPr>
          <p:cNvSpPr/>
          <p:nvPr/>
        </p:nvSpPr>
        <p:spPr>
          <a:xfrm>
            <a:off x="6282434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br>
              <a:rPr lang="en-US" altLang="ko-KR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파크 제</a:t>
            </a:r>
            <a:r>
              <a:rPr lang="en-US" altLang="ko-KR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lang="ko-KR" altLang="en-US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 위탁관리 부동산</a:t>
            </a:r>
            <a:br>
              <a:rPr lang="en-US" altLang="ko-KR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투자회사</a:t>
            </a:r>
            <a:endParaRPr kumimoji="0" lang="ko-KR" altLang="en-US" sz="6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37" name="모서리가 둥근 직사각형 167">
            <a:extLst>
              <a:ext uri="{FF2B5EF4-FFF2-40B4-BE49-F238E27FC236}">
                <a16:creationId xmlns:a16="http://schemas.microsoft.com/office/drawing/2014/main" id="{5BC9BB6F-0B26-9BDD-D931-9BC6844A739E}"/>
              </a:ext>
            </a:extLst>
          </p:cNvPr>
          <p:cNvSpPr/>
          <p:nvPr/>
        </p:nvSpPr>
        <p:spPr>
          <a:xfrm>
            <a:off x="6956389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" b="1" i="0" u="none" strike="noStrike" kern="1200" cap="none" spc="0" normalizeH="0" baseline="0" noProof="0">
                <a:ln>
                  <a:noFill/>
                </a:ln>
                <a:solidFill>
                  <a:srgbClr val="E5E5E5">
                    <a:lumMod val="25000"/>
                  </a:srgb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HDC</a:t>
            </a:r>
            <a:br>
              <a:rPr kumimoji="0" lang="en-US" altLang="ko-KR" sz="600" b="1" i="0" u="none" strike="noStrike" kern="1200" cap="none" spc="0" normalizeH="0" baseline="0" noProof="0">
                <a:ln>
                  <a:noFill/>
                </a:ln>
                <a:solidFill>
                  <a:srgbClr val="E5E5E5">
                    <a:lumMod val="25000"/>
                  </a:srgb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</a:br>
            <a:r>
              <a:rPr kumimoji="0" lang="ko-KR" altLang="en-US" sz="600" b="1" i="0" u="none" strike="noStrike" kern="1200" cap="none" spc="0" normalizeH="0" baseline="0" noProof="0">
                <a:ln>
                  <a:noFill/>
                </a:ln>
                <a:solidFill>
                  <a:srgbClr val="E5E5E5">
                    <a:lumMod val="25000"/>
                  </a:srgb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아이파크 제</a:t>
            </a:r>
            <a:r>
              <a:rPr lang="en-US" altLang="ko-KR" sz="600" b="1">
                <a:solidFill>
                  <a:srgbClr val="E5E5E5">
                    <a:lumMod val="25000"/>
                  </a:srgb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</a:t>
            </a:r>
            <a:r>
              <a:rPr kumimoji="0" lang="ko-KR" altLang="en-US" sz="600" b="1" i="0" u="none" strike="noStrike" kern="1200" cap="none" spc="0" normalizeH="0" baseline="0" noProof="0">
                <a:ln>
                  <a:noFill/>
                </a:ln>
                <a:solidFill>
                  <a:srgbClr val="E5E5E5">
                    <a:lumMod val="25000"/>
                  </a:srgb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호 위탁관리 부동산</a:t>
            </a:r>
            <a:br>
              <a:rPr kumimoji="0" lang="en-US" altLang="ko-KR" sz="600" b="1" i="0" u="none" strike="noStrike" kern="1200" cap="none" spc="0" normalizeH="0" baseline="0" noProof="0">
                <a:ln>
                  <a:noFill/>
                </a:ln>
                <a:solidFill>
                  <a:srgbClr val="E5E5E5">
                    <a:lumMod val="25000"/>
                  </a:srgb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</a:br>
            <a:r>
              <a:rPr kumimoji="0" lang="ko-KR" altLang="en-US" sz="600" b="1" i="0" u="none" strike="noStrike" kern="1200" cap="none" spc="0" normalizeH="0" baseline="0" noProof="0">
                <a:ln>
                  <a:noFill/>
                </a:ln>
                <a:solidFill>
                  <a:srgbClr val="E5E5E5">
                    <a:lumMod val="25000"/>
                  </a:srgb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투자회사</a:t>
            </a:r>
          </a:p>
        </p:txBody>
      </p:sp>
      <p:sp>
        <p:nvSpPr>
          <p:cNvPr id="138" name="모서리가 둥근 직사각형 167">
            <a:extLst>
              <a:ext uri="{FF2B5EF4-FFF2-40B4-BE49-F238E27FC236}">
                <a16:creationId xmlns:a16="http://schemas.microsoft.com/office/drawing/2014/main" id="{29742C8B-9218-FF9F-DBBE-B82F720DF3B7}"/>
              </a:ext>
            </a:extLst>
          </p:cNvPr>
          <p:cNvSpPr/>
          <p:nvPr/>
        </p:nvSpPr>
        <p:spPr>
          <a:xfrm>
            <a:off x="2222282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</a:t>
            </a:r>
            <a:endParaRPr lang="en-US" altLang="ko-KR" sz="9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트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40" name="모서리가 둥근 직사각형 167">
            <a:extLst>
              <a:ext uri="{FF2B5EF4-FFF2-40B4-BE49-F238E27FC236}">
                <a16:creationId xmlns:a16="http://schemas.microsoft.com/office/drawing/2014/main" id="{48C9A5BD-DE07-AE5F-108C-D4FFAFC6D7DA}"/>
              </a:ext>
            </a:extLst>
          </p:cNvPr>
          <p:cNvSpPr/>
          <p:nvPr/>
        </p:nvSpPr>
        <p:spPr>
          <a:xfrm>
            <a:off x="7650443" y="5078961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창 김포 고속도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46" name="직선 화살표 연결선 145">
            <a:extLst>
              <a:ext uri="{FF2B5EF4-FFF2-40B4-BE49-F238E27FC236}">
                <a16:creationId xmlns:a16="http://schemas.microsoft.com/office/drawing/2014/main" id="{2BA4B0C7-A8A6-F3B9-2D6C-C955C71E775C}"/>
              </a:ext>
            </a:extLst>
          </p:cNvPr>
          <p:cNvCxnSpPr>
            <a:cxnSpLocks/>
          </p:cNvCxnSpPr>
          <p:nvPr/>
        </p:nvCxnSpPr>
        <p:spPr>
          <a:xfrm>
            <a:off x="6285273" y="2250611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직선 화살표 연결선 147">
            <a:extLst>
              <a:ext uri="{FF2B5EF4-FFF2-40B4-BE49-F238E27FC236}">
                <a16:creationId xmlns:a16="http://schemas.microsoft.com/office/drawing/2014/main" id="{B1A61152-640F-D47C-FCCA-8C88ADA04E66}"/>
              </a:ext>
            </a:extLst>
          </p:cNvPr>
          <p:cNvCxnSpPr>
            <a:cxnSpLocks/>
          </p:cNvCxnSpPr>
          <p:nvPr/>
        </p:nvCxnSpPr>
        <p:spPr>
          <a:xfrm>
            <a:off x="6953434" y="2246244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직선 화살표 연결선 148">
            <a:extLst>
              <a:ext uri="{FF2B5EF4-FFF2-40B4-BE49-F238E27FC236}">
                <a16:creationId xmlns:a16="http://schemas.microsoft.com/office/drawing/2014/main" id="{BA55762A-AE8A-26D8-4724-BA8F4608293A}"/>
              </a:ext>
            </a:extLst>
          </p:cNvPr>
          <p:cNvCxnSpPr>
            <a:cxnSpLocks/>
          </p:cNvCxnSpPr>
          <p:nvPr/>
        </p:nvCxnSpPr>
        <p:spPr>
          <a:xfrm>
            <a:off x="8308083" y="2246244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직선 화살표 연결선 149">
            <a:extLst>
              <a:ext uri="{FF2B5EF4-FFF2-40B4-BE49-F238E27FC236}">
                <a16:creationId xmlns:a16="http://schemas.microsoft.com/office/drawing/2014/main" id="{21E6ED92-1D0F-7581-1720-4F92E37CA49D}"/>
              </a:ext>
            </a:extLst>
          </p:cNvPr>
          <p:cNvCxnSpPr>
            <a:cxnSpLocks/>
          </p:cNvCxnSpPr>
          <p:nvPr/>
        </p:nvCxnSpPr>
        <p:spPr>
          <a:xfrm>
            <a:off x="8929014" y="2245890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직선 화살표 연결선 150">
            <a:extLst>
              <a:ext uri="{FF2B5EF4-FFF2-40B4-BE49-F238E27FC236}">
                <a16:creationId xmlns:a16="http://schemas.microsoft.com/office/drawing/2014/main" id="{51D0ACDC-50AB-1429-746E-CDFE51105CDB}"/>
              </a:ext>
            </a:extLst>
          </p:cNvPr>
          <p:cNvCxnSpPr>
            <a:cxnSpLocks/>
          </p:cNvCxnSpPr>
          <p:nvPr/>
        </p:nvCxnSpPr>
        <p:spPr>
          <a:xfrm>
            <a:off x="5608998" y="2250611"/>
            <a:ext cx="0" cy="1080835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타원 151">
            <a:extLst>
              <a:ext uri="{FF2B5EF4-FFF2-40B4-BE49-F238E27FC236}">
                <a16:creationId xmlns:a16="http://schemas.microsoft.com/office/drawing/2014/main" id="{025A098D-1F8D-4973-8CF5-E70813AA6312}"/>
              </a:ext>
            </a:extLst>
          </p:cNvPr>
          <p:cNvSpPr/>
          <p:nvPr/>
        </p:nvSpPr>
        <p:spPr>
          <a:xfrm>
            <a:off x="5322566" y="23559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3" name="타원 152">
            <a:extLst>
              <a:ext uri="{FF2B5EF4-FFF2-40B4-BE49-F238E27FC236}">
                <a16:creationId xmlns:a16="http://schemas.microsoft.com/office/drawing/2014/main" id="{C86735AC-7967-85EA-D0AE-76EFBFA465D3}"/>
              </a:ext>
            </a:extLst>
          </p:cNvPr>
          <p:cNvSpPr/>
          <p:nvPr/>
        </p:nvSpPr>
        <p:spPr>
          <a:xfrm>
            <a:off x="5985490" y="23559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7.7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4" name="타원 153">
            <a:extLst>
              <a:ext uri="{FF2B5EF4-FFF2-40B4-BE49-F238E27FC236}">
                <a16:creationId xmlns:a16="http://schemas.microsoft.com/office/drawing/2014/main" id="{AC1C1F10-CD43-0053-BB96-0289FF7D2349}"/>
              </a:ext>
            </a:extLst>
          </p:cNvPr>
          <p:cNvSpPr/>
          <p:nvPr/>
        </p:nvSpPr>
        <p:spPr>
          <a:xfrm>
            <a:off x="6648414" y="23559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7.5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5" name="타원 154">
            <a:extLst>
              <a:ext uri="{FF2B5EF4-FFF2-40B4-BE49-F238E27FC236}">
                <a16:creationId xmlns:a16="http://schemas.microsoft.com/office/drawing/2014/main" id="{8A7BD100-8B21-0325-BB7E-F76CBB21795B}"/>
              </a:ext>
            </a:extLst>
          </p:cNvPr>
          <p:cNvSpPr/>
          <p:nvPr/>
        </p:nvSpPr>
        <p:spPr>
          <a:xfrm>
            <a:off x="7311338" y="23559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4.6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6" name="타원 155">
            <a:extLst>
              <a:ext uri="{FF2B5EF4-FFF2-40B4-BE49-F238E27FC236}">
                <a16:creationId xmlns:a16="http://schemas.microsoft.com/office/drawing/2014/main" id="{79B093B4-35A2-C263-3298-85CB13A5C473}"/>
              </a:ext>
            </a:extLst>
          </p:cNvPr>
          <p:cNvSpPr/>
          <p:nvPr/>
        </p:nvSpPr>
        <p:spPr>
          <a:xfrm>
            <a:off x="7974262" y="23559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6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7" name="타원 156">
            <a:extLst>
              <a:ext uri="{FF2B5EF4-FFF2-40B4-BE49-F238E27FC236}">
                <a16:creationId xmlns:a16="http://schemas.microsoft.com/office/drawing/2014/main" id="{B55951CC-B573-11CE-0D57-B1848C1021EB}"/>
              </a:ext>
            </a:extLst>
          </p:cNvPr>
          <p:cNvSpPr/>
          <p:nvPr/>
        </p:nvSpPr>
        <p:spPr>
          <a:xfrm>
            <a:off x="8637186" y="23559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0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A9E9FEC4-BB48-0264-E02F-A65B906AE496}"/>
              </a:ext>
            </a:extLst>
          </p:cNvPr>
          <p:cNvCxnSpPr>
            <a:cxnSpLocks/>
          </p:cNvCxnSpPr>
          <p:nvPr/>
        </p:nvCxnSpPr>
        <p:spPr>
          <a:xfrm>
            <a:off x="9598723" y="2243798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타원 158">
            <a:extLst>
              <a:ext uri="{FF2B5EF4-FFF2-40B4-BE49-F238E27FC236}">
                <a16:creationId xmlns:a16="http://schemas.microsoft.com/office/drawing/2014/main" id="{DA5B5E31-B46B-931F-A303-900F06DAF274}"/>
              </a:ext>
            </a:extLst>
          </p:cNvPr>
          <p:cNvSpPr/>
          <p:nvPr/>
        </p:nvSpPr>
        <p:spPr>
          <a:xfrm>
            <a:off x="9300110" y="235389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0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2" name="모서리가 둥근 직사각형 167">
            <a:extLst>
              <a:ext uri="{FF2B5EF4-FFF2-40B4-BE49-F238E27FC236}">
                <a16:creationId xmlns:a16="http://schemas.microsoft.com/office/drawing/2014/main" id="{75C14B80-909F-401E-69CE-B729DA2D5756}"/>
              </a:ext>
            </a:extLst>
          </p:cNvPr>
          <p:cNvSpPr/>
          <p:nvPr/>
        </p:nvSpPr>
        <p:spPr>
          <a:xfrm>
            <a:off x="5443069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</a:t>
            </a:r>
          </a:p>
        </p:txBody>
      </p:sp>
      <p:sp>
        <p:nvSpPr>
          <p:cNvPr id="163" name="모서리가 둥근 직사각형 167">
            <a:extLst>
              <a:ext uri="{FF2B5EF4-FFF2-40B4-BE49-F238E27FC236}">
                <a16:creationId xmlns:a16="http://schemas.microsoft.com/office/drawing/2014/main" id="{5C2A14AB-7785-0AF7-A64C-E71164E7F6A2}"/>
              </a:ext>
            </a:extLst>
          </p:cNvPr>
          <p:cNvSpPr/>
          <p:nvPr/>
        </p:nvSpPr>
        <p:spPr>
          <a:xfrm>
            <a:off x="6104030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민간</a:t>
            </a:r>
            <a:br>
              <a:rPr lang="en-US" altLang="ko-KR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임대</a:t>
            </a:r>
            <a:br>
              <a:rPr lang="en-US" altLang="ko-KR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택 </a:t>
            </a:r>
            <a:br>
              <a:rPr lang="en-US" altLang="ko-KR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lang="en-US" altLang="ko-KR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lang="ko-KR" altLang="en-US" sz="6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endParaRPr lang="en-US" altLang="ko-KR" sz="65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탁관리 부동산 투자회사</a:t>
            </a:r>
          </a:p>
        </p:txBody>
      </p:sp>
      <p:sp>
        <p:nvSpPr>
          <p:cNvPr id="164" name="모서리가 둥근 직사각형 167">
            <a:extLst>
              <a:ext uri="{FF2B5EF4-FFF2-40B4-BE49-F238E27FC236}">
                <a16:creationId xmlns:a16="http://schemas.microsoft.com/office/drawing/2014/main" id="{DA81B8A7-B41D-0AF2-F872-D707E54546F1}"/>
              </a:ext>
            </a:extLst>
          </p:cNvPr>
          <p:cNvSpPr/>
          <p:nvPr/>
        </p:nvSpPr>
        <p:spPr>
          <a:xfrm>
            <a:off x="6764991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크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나</a:t>
            </a:r>
          </a:p>
        </p:txBody>
      </p:sp>
      <p:sp>
        <p:nvSpPr>
          <p:cNvPr id="165" name="모서리가 둥근 직사각형 167">
            <a:extLst>
              <a:ext uri="{FF2B5EF4-FFF2-40B4-BE49-F238E27FC236}">
                <a16:creationId xmlns:a16="http://schemas.microsoft.com/office/drawing/2014/main" id="{73BF24FB-EA87-A912-0E3B-4B8E1B2B8377}"/>
              </a:ext>
            </a:extLst>
          </p:cNvPr>
          <p:cNvSpPr/>
          <p:nvPr/>
        </p:nvSpPr>
        <p:spPr>
          <a:xfrm>
            <a:off x="7425952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코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워</a:t>
            </a:r>
          </a:p>
        </p:txBody>
      </p:sp>
      <p:sp>
        <p:nvSpPr>
          <p:cNvPr id="166" name="모서리가 둥근 직사각형 167">
            <a:extLst>
              <a:ext uri="{FF2B5EF4-FFF2-40B4-BE49-F238E27FC236}">
                <a16:creationId xmlns:a16="http://schemas.microsoft.com/office/drawing/2014/main" id="{9950A1FF-7662-1F94-3DC7-63CAECA0840A}"/>
              </a:ext>
            </a:extLst>
          </p:cNvPr>
          <p:cNvSpPr/>
          <p:nvPr/>
        </p:nvSpPr>
        <p:spPr>
          <a:xfrm>
            <a:off x="8086913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북항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</a:t>
            </a:r>
          </a:p>
        </p:txBody>
      </p:sp>
      <p:sp>
        <p:nvSpPr>
          <p:cNvPr id="167" name="모서리가 둥근 직사각형 167">
            <a:extLst>
              <a:ext uri="{FF2B5EF4-FFF2-40B4-BE49-F238E27FC236}">
                <a16:creationId xmlns:a16="http://schemas.microsoft.com/office/drawing/2014/main" id="{3DF86997-2EDC-B0C1-51E7-D28EA5A0F899}"/>
              </a:ext>
            </a:extLst>
          </p:cNvPr>
          <p:cNvSpPr/>
          <p:nvPr/>
        </p:nvSpPr>
        <p:spPr>
          <a:xfrm>
            <a:off x="8747874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7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ONT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터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널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8" name="모서리가 둥근 직사각형 167">
            <a:extLst>
              <a:ext uri="{FF2B5EF4-FFF2-40B4-BE49-F238E27FC236}">
                <a16:creationId xmlns:a16="http://schemas.microsoft.com/office/drawing/2014/main" id="{348BF075-88D4-2F15-0885-0F4C60C9A0BC}"/>
              </a:ext>
            </a:extLst>
          </p:cNvPr>
          <p:cNvSpPr/>
          <p:nvPr/>
        </p:nvSpPr>
        <p:spPr>
          <a:xfrm>
            <a:off x="9408835" y="2621435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울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춘천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속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20" name="직선 화살표 연결선 219">
            <a:extLst>
              <a:ext uri="{FF2B5EF4-FFF2-40B4-BE49-F238E27FC236}">
                <a16:creationId xmlns:a16="http://schemas.microsoft.com/office/drawing/2014/main" id="{38641ABD-8E36-ED89-1949-C3832D75FE72}"/>
              </a:ext>
            </a:extLst>
          </p:cNvPr>
          <p:cNvCxnSpPr>
            <a:cxnSpLocks/>
          </p:cNvCxnSpPr>
          <p:nvPr/>
        </p:nvCxnSpPr>
        <p:spPr>
          <a:xfrm>
            <a:off x="981578" y="3466515"/>
            <a:ext cx="0" cy="1525738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타원 220">
            <a:extLst>
              <a:ext uri="{FF2B5EF4-FFF2-40B4-BE49-F238E27FC236}">
                <a16:creationId xmlns:a16="http://schemas.microsoft.com/office/drawing/2014/main" id="{636768DD-0C7B-752F-2DDF-C4CC8E209C3E}"/>
              </a:ext>
            </a:extLst>
          </p:cNvPr>
          <p:cNvSpPr/>
          <p:nvPr/>
        </p:nvSpPr>
        <p:spPr>
          <a:xfrm>
            <a:off x="693578" y="459689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4.1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1" name="모서리가 둥근 직사각형 167">
            <a:extLst>
              <a:ext uri="{FF2B5EF4-FFF2-40B4-BE49-F238E27FC236}">
                <a16:creationId xmlns:a16="http://schemas.microsoft.com/office/drawing/2014/main" id="{CDAE974F-5C44-32F2-B499-D16519208831}"/>
              </a:ext>
            </a:extLst>
          </p:cNvPr>
          <p:cNvSpPr/>
          <p:nvPr/>
        </p:nvSpPr>
        <p:spPr>
          <a:xfrm>
            <a:off x="802309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앤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콘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22" name="모서리가 둥근 직사각형 167">
            <a:extLst>
              <a:ext uri="{FF2B5EF4-FFF2-40B4-BE49-F238E27FC236}">
                <a16:creationId xmlns:a16="http://schemas.microsoft.com/office/drawing/2014/main" id="{D3D23DC7-07A6-3F29-F97E-6934D8895E4A}"/>
              </a:ext>
            </a:extLst>
          </p:cNvPr>
          <p:cNvSpPr/>
          <p:nvPr/>
        </p:nvSpPr>
        <p:spPr>
          <a:xfrm>
            <a:off x="802309" y="5075513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스턴 </a:t>
            </a:r>
            <a:r>
              <a:rPr lang="ko-KR" altLang="en-US" sz="6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lang="en-US" altLang="ko-KR" sz="6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13</a:t>
            </a:r>
            <a:r>
              <a:rPr lang="ko-KR" altLang="en-US" sz="6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 </a:t>
            </a:r>
            <a:r>
              <a:rPr lang="ko-KR" altLang="en-US" sz="7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로지스</a:t>
            </a:r>
            <a:r>
              <a:rPr lang="ko-KR" altLang="en-US" sz="7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7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인트서운</a:t>
            </a:r>
            <a:endParaRPr lang="en-US" altLang="ko-KR" sz="7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</a:t>
            </a:r>
            <a:r>
              <a:rPr lang="en-US" altLang="ko-KR" sz="7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V</a:t>
            </a:r>
            <a:endParaRPr kumimoji="0" lang="en-US" altLang="ko-KR" sz="7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24" name="직선 화살표 연결선 223">
            <a:extLst>
              <a:ext uri="{FF2B5EF4-FFF2-40B4-BE49-F238E27FC236}">
                <a16:creationId xmlns:a16="http://schemas.microsoft.com/office/drawing/2014/main" id="{B0E77336-AC1E-5A7F-AE6D-F1D4CF4CCEEC}"/>
              </a:ext>
            </a:extLst>
          </p:cNvPr>
          <p:cNvCxnSpPr>
            <a:cxnSpLocks/>
          </p:cNvCxnSpPr>
          <p:nvPr/>
        </p:nvCxnSpPr>
        <p:spPr>
          <a:xfrm>
            <a:off x="7837266" y="4729929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타원 224">
            <a:extLst>
              <a:ext uri="{FF2B5EF4-FFF2-40B4-BE49-F238E27FC236}">
                <a16:creationId xmlns:a16="http://schemas.microsoft.com/office/drawing/2014/main" id="{8D487F3D-4592-6BBE-F553-BBE94AD8A2D9}"/>
              </a:ext>
            </a:extLst>
          </p:cNvPr>
          <p:cNvSpPr/>
          <p:nvPr/>
        </p:nvSpPr>
        <p:spPr>
          <a:xfrm>
            <a:off x="7548380" y="484002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31" name="직선 화살표 연결선 230">
            <a:extLst>
              <a:ext uri="{FF2B5EF4-FFF2-40B4-BE49-F238E27FC236}">
                <a16:creationId xmlns:a16="http://schemas.microsoft.com/office/drawing/2014/main" id="{61CD3B51-6891-7C7A-DCD8-E997C93D3B33}"/>
              </a:ext>
            </a:extLst>
          </p:cNvPr>
          <p:cNvCxnSpPr>
            <a:cxnSpLocks/>
          </p:cNvCxnSpPr>
          <p:nvPr/>
        </p:nvCxnSpPr>
        <p:spPr>
          <a:xfrm>
            <a:off x="1475959" y="3495561"/>
            <a:ext cx="0" cy="231925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직선 화살표 연결선 232">
            <a:extLst>
              <a:ext uri="{FF2B5EF4-FFF2-40B4-BE49-F238E27FC236}">
                <a16:creationId xmlns:a16="http://schemas.microsoft.com/office/drawing/2014/main" id="{093D515A-75F0-5EE9-B0D5-AD3A58076022}"/>
              </a:ext>
            </a:extLst>
          </p:cNvPr>
          <p:cNvCxnSpPr>
            <a:cxnSpLocks/>
          </p:cNvCxnSpPr>
          <p:nvPr/>
        </p:nvCxnSpPr>
        <p:spPr>
          <a:xfrm>
            <a:off x="1810882" y="3494940"/>
            <a:ext cx="0" cy="232546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모서리가 둥근 직사각형 167">
            <a:extLst>
              <a:ext uri="{FF2B5EF4-FFF2-40B4-BE49-F238E27FC236}">
                <a16:creationId xmlns:a16="http://schemas.microsoft.com/office/drawing/2014/main" id="{ECD0F2D4-50DD-25F0-0376-B6060891AB23}"/>
              </a:ext>
            </a:extLst>
          </p:cNvPr>
          <p:cNvSpPr/>
          <p:nvPr/>
        </p:nvSpPr>
        <p:spPr>
          <a:xfrm>
            <a:off x="1290022" y="3739348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 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35" name="모서리가 둥근 직사각형 167">
            <a:extLst>
              <a:ext uri="{FF2B5EF4-FFF2-40B4-BE49-F238E27FC236}">
                <a16:creationId xmlns:a16="http://schemas.microsoft.com/office/drawing/2014/main" id="{393C55AA-AC64-EC32-B819-26F91F27972D}"/>
              </a:ext>
            </a:extLst>
          </p:cNvPr>
          <p:cNvSpPr/>
          <p:nvPr/>
        </p:nvSpPr>
        <p:spPr>
          <a:xfrm>
            <a:off x="1692335" y="3739348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씨제이</a:t>
            </a:r>
            <a:r>
              <a:rPr lang="ko-KR" altLang="en-US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 </a:t>
            </a:r>
            <a:r>
              <a:rPr lang="ko-KR" altLang="en-US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</a:t>
            </a:r>
            <a:endParaRPr lang="en-US" altLang="ko-KR" sz="8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솔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40" name="직선 화살표 연결선 239">
            <a:extLst>
              <a:ext uri="{FF2B5EF4-FFF2-40B4-BE49-F238E27FC236}">
                <a16:creationId xmlns:a16="http://schemas.microsoft.com/office/drawing/2014/main" id="{EA601390-2C65-8140-3DF1-9390D784300F}"/>
              </a:ext>
            </a:extLst>
          </p:cNvPr>
          <p:cNvCxnSpPr>
            <a:cxnSpLocks/>
          </p:cNvCxnSpPr>
          <p:nvPr/>
        </p:nvCxnSpPr>
        <p:spPr>
          <a:xfrm>
            <a:off x="5631470" y="3494940"/>
            <a:ext cx="0" cy="232546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모서리가 둥근 직사각형 167">
            <a:extLst>
              <a:ext uri="{FF2B5EF4-FFF2-40B4-BE49-F238E27FC236}">
                <a16:creationId xmlns:a16="http://schemas.microsoft.com/office/drawing/2014/main" id="{FFDBE528-4752-0C3B-B7A3-17F55F82A395}"/>
              </a:ext>
            </a:extLst>
          </p:cNvPr>
          <p:cNvSpPr/>
          <p:nvPr/>
        </p:nvSpPr>
        <p:spPr>
          <a:xfrm>
            <a:off x="5439640" y="3739348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래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44" name="타원 243">
            <a:extLst>
              <a:ext uri="{FF2B5EF4-FFF2-40B4-BE49-F238E27FC236}">
                <a16:creationId xmlns:a16="http://schemas.microsoft.com/office/drawing/2014/main" id="{C3BB5B0F-9D78-ED38-4AF0-73C8129BBADE}"/>
              </a:ext>
            </a:extLst>
          </p:cNvPr>
          <p:cNvSpPr/>
          <p:nvPr/>
        </p:nvSpPr>
        <p:spPr>
          <a:xfrm>
            <a:off x="1071579" y="358348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0.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45" name="타원 244">
            <a:extLst>
              <a:ext uri="{FF2B5EF4-FFF2-40B4-BE49-F238E27FC236}">
                <a16:creationId xmlns:a16="http://schemas.microsoft.com/office/drawing/2014/main" id="{3EFE3892-2105-9610-BD78-C37B00EDA5D2}"/>
              </a:ext>
            </a:extLst>
          </p:cNvPr>
          <p:cNvSpPr/>
          <p:nvPr/>
        </p:nvSpPr>
        <p:spPr>
          <a:xfrm>
            <a:off x="1671840" y="358348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1.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46" name="타원 245">
            <a:extLst>
              <a:ext uri="{FF2B5EF4-FFF2-40B4-BE49-F238E27FC236}">
                <a16:creationId xmlns:a16="http://schemas.microsoft.com/office/drawing/2014/main" id="{25536DF9-E8D1-F1CC-B5FD-6006477251E9}"/>
              </a:ext>
            </a:extLst>
          </p:cNvPr>
          <p:cNvSpPr/>
          <p:nvPr/>
        </p:nvSpPr>
        <p:spPr>
          <a:xfrm>
            <a:off x="5341868" y="357736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4.5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2548985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종합 부동산개발회사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획부터 분양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운영관리에 이르기까지 부동산개발사업의 전 과정 수행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뿐만 아니라 도시계획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설계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테리어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케팅 등 관련 분야에도 진출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자재 가격 상승과 분양 시장 냉각 등으로 개발사업 여건이 급속히 악화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만 올해는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용인역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플랫폼시티 등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규모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후분양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단지들의 매출 인식이 이뤄지면서 매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기록할 것으로 예상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익성 반등可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경기 파주 운정신도시에 공급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운정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푸르지오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파크라인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은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계약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물량이 대거 발생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취득세 전액지원과 가전제품 무료 제공을 내걸다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는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가량 할인 분양中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은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‘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편한세상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용인역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플랫폼시티’ 개발에 관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신한은행 등에게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57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리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.20%)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한카드 등에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6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리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.57%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차입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당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장에 자금을 대출한 총액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2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인데 이는 전년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170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다 크게 늘어난 규모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의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%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금리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대출은 없었으나 대구 남구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명동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도 같은 기간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자율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.17%~7.00%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상승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 규모는 급증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06457" y="1707465"/>
            <a:ext cx="712985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0BC224-805E-82DB-E593-96712C8EF94A}"/>
              </a:ext>
            </a:extLst>
          </p:cNvPr>
          <p:cNvSpPr txBox="1"/>
          <p:nvPr/>
        </p:nvSpPr>
        <p:spPr>
          <a:xfrm>
            <a:off x="2596231" y="4721098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43244ADF-139D-B84E-7156-8A1756F1B092}"/>
              </a:ext>
            </a:extLst>
          </p:cNvPr>
          <p:cNvCxnSpPr>
            <a:cxnSpLocks/>
          </p:cNvCxnSpPr>
          <p:nvPr/>
        </p:nvCxnSpPr>
        <p:spPr>
          <a:xfrm>
            <a:off x="594360" y="4935152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1FB7B1C5-634A-C487-0E7C-E7F41D13FF41}"/>
              </a:ext>
            </a:extLst>
          </p:cNvPr>
          <p:cNvCxnSpPr/>
          <p:nvPr/>
        </p:nvCxnSpPr>
        <p:spPr>
          <a:xfrm>
            <a:off x="4811209" y="4935152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330" name="Picture 2" descr="개발사업 부문 | MDM">
            <a:extLst>
              <a:ext uri="{FF2B5EF4-FFF2-40B4-BE49-F238E27FC236}">
                <a16:creationId xmlns:a16="http://schemas.microsoft.com/office/drawing/2014/main" id="{9B64234F-A32F-5FE6-F73D-D4123AE0CF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22" t="16905" r="44669" b="20020"/>
          <a:stretch/>
        </p:blipFill>
        <p:spPr bwMode="auto">
          <a:xfrm>
            <a:off x="811726" y="2021994"/>
            <a:ext cx="1170155" cy="105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1EE3F48-D767-F83A-02FC-F99AB9F6B35C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3084F82-D923-FD24-D748-9D371C29148F}"/>
              </a:ext>
            </a:extLst>
          </p:cNvPr>
          <p:cNvSpPr/>
          <p:nvPr/>
        </p:nvSpPr>
        <p:spPr>
          <a:xfrm>
            <a:off x="7697487" y="69409"/>
            <a:ext cx="2143125" cy="980061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률 추이에 매출액도 추가 부탁드립니다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  <a:endParaRPr lang="ko-KR" altLang="en-US" sz="1000" b="1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58B2EA0-1949-A768-60BE-B30942B3068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0" name="차트 9">
            <a:extLst>
              <a:ext uri="{FF2B5EF4-FFF2-40B4-BE49-F238E27FC236}">
                <a16:creationId xmlns:a16="http://schemas.microsoft.com/office/drawing/2014/main" id="{0908543E-F95D-AC9D-F690-E76ECD19B8FA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5231496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BB055F63-211D-0E25-3F9A-0B20CEB86D94}"/>
              </a:ext>
            </a:extLst>
          </p:cNvPr>
          <p:cNvCxnSpPr>
            <a:cxnSpLocks/>
          </p:cNvCxnSpPr>
          <p:nvPr/>
        </p:nvCxnSpPr>
        <p:spPr>
          <a:xfrm>
            <a:off x="2291894" y="2086898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3DFDA3FB-5F1E-02E7-D719-A3C8103AF50D}"/>
              </a:ext>
            </a:extLst>
          </p:cNvPr>
          <p:cNvCxnSpPr>
            <a:cxnSpLocks/>
          </p:cNvCxnSpPr>
          <p:nvPr/>
        </p:nvCxnSpPr>
        <p:spPr>
          <a:xfrm>
            <a:off x="3615020" y="2256074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영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모서리가 둥근 직사각형 167">
            <a:extLst>
              <a:ext uri="{FF2B5EF4-FFF2-40B4-BE49-F238E27FC236}">
                <a16:creationId xmlns:a16="http://schemas.microsoft.com/office/drawing/2014/main" id="{60353AF1-8126-AFEA-4A65-1F31CCBA9F74}"/>
              </a:ext>
            </a:extLst>
          </p:cNvPr>
          <p:cNvSpPr/>
          <p:nvPr/>
        </p:nvSpPr>
        <p:spPr>
          <a:xfrm>
            <a:off x="4450131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중근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90" name="직선 화살표 연결선 89">
            <a:extLst>
              <a:ext uri="{FF2B5EF4-FFF2-40B4-BE49-F238E27FC236}">
                <a16:creationId xmlns:a16="http://schemas.microsoft.com/office/drawing/2014/main" id="{43109740-053F-F0DF-7EDB-8F0E2EB2D5C8}"/>
              </a:ext>
            </a:extLst>
          </p:cNvPr>
          <p:cNvCxnSpPr>
            <a:cxnSpLocks/>
          </p:cNvCxnSpPr>
          <p:nvPr/>
        </p:nvCxnSpPr>
        <p:spPr>
          <a:xfrm>
            <a:off x="3932347" y="4878978"/>
            <a:ext cx="0" cy="393071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>
            <a:extLst>
              <a:ext uri="{FF2B5EF4-FFF2-40B4-BE49-F238E27FC236}">
                <a16:creationId xmlns:a16="http://schemas.microsoft.com/office/drawing/2014/main" id="{E935A7BE-4561-C7EF-6D9E-DDE3F3CE7AAB}"/>
              </a:ext>
            </a:extLst>
          </p:cNvPr>
          <p:cNvCxnSpPr>
            <a:cxnSpLocks/>
          </p:cNvCxnSpPr>
          <p:nvPr/>
        </p:nvCxnSpPr>
        <p:spPr>
          <a:xfrm flipH="1">
            <a:off x="2593900" y="4882508"/>
            <a:ext cx="4734107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D1F7E1ED-AF17-9C0B-318B-94DA5E85F7A2}"/>
              </a:ext>
            </a:extLst>
          </p:cNvPr>
          <p:cNvCxnSpPr>
            <a:cxnSpLocks/>
          </p:cNvCxnSpPr>
          <p:nvPr/>
        </p:nvCxnSpPr>
        <p:spPr>
          <a:xfrm>
            <a:off x="4608622" y="488250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F9A52656-31BF-BF6F-7779-1D941FE79412}"/>
              </a:ext>
            </a:extLst>
          </p:cNvPr>
          <p:cNvCxnSpPr>
            <a:cxnSpLocks/>
          </p:cNvCxnSpPr>
          <p:nvPr/>
        </p:nvCxnSpPr>
        <p:spPr>
          <a:xfrm>
            <a:off x="5286045" y="4882154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>
            <a:extLst>
              <a:ext uri="{FF2B5EF4-FFF2-40B4-BE49-F238E27FC236}">
                <a16:creationId xmlns:a16="http://schemas.microsoft.com/office/drawing/2014/main" id="{0694BFDE-6889-98F9-7237-59BE9D42DB1F}"/>
              </a:ext>
            </a:extLst>
          </p:cNvPr>
          <p:cNvCxnSpPr>
            <a:cxnSpLocks/>
          </p:cNvCxnSpPr>
          <p:nvPr/>
        </p:nvCxnSpPr>
        <p:spPr>
          <a:xfrm>
            <a:off x="5963271" y="488250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2011D034-81CA-E006-B084-CD1213088B51}"/>
              </a:ext>
            </a:extLst>
          </p:cNvPr>
          <p:cNvCxnSpPr>
            <a:cxnSpLocks/>
          </p:cNvCxnSpPr>
          <p:nvPr/>
        </p:nvCxnSpPr>
        <p:spPr>
          <a:xfrm>
            <a:off x="6654052" y="488215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07D9DD75-99F6-8DEB-9CD3-38738E363EAE}"/>
              </a:ext>
            </a:extLst>
          </p:cNvPr>
          <p:cNvCxnSpPr>
            <a:cxnSpLocks/>
          </p:cNvCxnSpPr>
          <p:nvPr/>
        </p:nvCxnSpPr>
        <p:spPr>
          <a:xfrm>
            <a:off x="3264186" y="4878978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타원 108">
            <a:extLst>
              <a:ext uri="{FF2B5EF4-FFF2-40B4-BE49-F238E27FC236}">
                <a16:creationId xmlns:a16="http://schemas.microsoft.com/office/drawing/2014/main" id="{EE9F082E-D1BF-454C-1F5B-B657092C6DC5}"/>
              </a:ext>
            </a:extLst>
          </p:cNvPr>
          <p:cNvSpPr/>
          <p:nvPr/>
        </p:nvSpPr>
        <p:spPr>
          <a:xfrm>
            <a:off x="2978643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0" name="타원 109">
            <a:extLst>
              <a:ext uri="{FF2B5EF4-FFF2-40B4-BE49-F238E27FC236}">
                <a16:creationId xmlns:a16="http://schemas.microsoft.com/office/drawing/2014/main" id="{91F36D96-9117-3E5A-A8C2-3A699812BDCB}"/>
              </a:ext>
            </a:extLst>
          </p:cNvPr>
          <p:cNvSpPr/>
          <p:nvPr/>
        </p:nvSpPr>
        <p:spPr>
          <a:xfrm>
            <a:off x="3655948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1" name="타원 110">
            <a:extLst>
              <a:ext uri="{FF2B5EF4-FFF2-40B4-BE49-F238E27FC236}">
                <a16:creationId xmlns:a16="http://schemas.microsoft.com/office/drawing/2014/main" id="{E0B511AB-6277-3EC2-635B-5C667541DBC8}"/>
              </a:ext>
            </a:extLst>
          </p:cNvPr>
          <p:cNvSpPr/>
          <p:nvPr/>
        </p:nvSpPr>
        <p:spPr>
          <a:xfrm>
            <a:off x="4333253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5.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2" name="타원 111">
            <a:extLst>
              <a:ext uri="{FF2B5EF4-FFF2-40B4-BE49-F238E27FC236}">
                <a16:creationId xmlns:a16="http://schemas.microsoft.com/office/drawing/2014/main" id="{B57850F9-364C-DB9C-A765-D10702807614}"/>
              </a:ext>
            </a:extLst>
          </p:cNvPr>
          <p:cNvSpPr/>
          <p:nvPr/>
        </p:nvSpPr>
        <p:spPr>
          <a:xfrm>
            <a:off x="5010558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3" name="타원 112">
            <a:extLst>
              <a:ext uri="{FF2B5EF4-FFF2-40B4-BE49-F238E27FC236}">
                <a16:creationId xmlns:a16="http://schemas.microsoft.com/office/drawing/2014/main" id="{CBEAFC4D-476F-F942-37CA-3AFB6892F6AD}"/>
              </a:ext>
            </a:extLst>
          </p:cNvPr>
          <p:cNvSpPr/>
          <p:nvPr/>
        </p:nvSpPr>
        <p:spPr>
          <a:xfrm>
            <a:off x="5687863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4" name="타원 113">
            <a:extLst>
              <a:ext uri="{FF2B5EF4-FFF2-40B4-BE49-F238E27FC236}">
                <a16:creationId xmlns:a16="http://schemas.microsoft.com/office/drawing/2014/main" id="{5E63055C-8169-80AA-FA50-EA9FD87B753E}"/>
              </a:ext>
            </a:extLst>
          </p:cNvPr>
          <p:cNvSpPr/>
          <p:nvPr/>
        </p:nvSpPr>
        <p:spPr>
          <a:xfrm>
            <a:off x="6365166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8.9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54F66CF3-8946-27AA-2093-AECFACAC3A93}"/>
              </a:ext>
            </a:extLst>
          </p:cNvPr>
          <p:cNvCxnSpPr>
            <a:cxnSpLocks/>
          </p:cNvCxnSpPr>
          <p:nvPr/>
        </p:nvCxnSpPr>
        <p:spPr>
          <a:xfrm flipH="1">
            <a:off x="2938745" y="2251708"/>
            <a:ext cx="464673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F0952DBC-CD40-8190-FD20-A74D19077045}"/>
              </a:ext>
            </a:extLst>
          </p:cNvPr>
          <p:cNvCxnSpPr>
            <a:cxnSpLocks/>
          </p:cNvCxnSpPr>
          <p:nvPr/>
        </p:nvCxnSpPr>
        <p:spPr>
          <a:xfrm>
            <a:off x="4283181" y="2251707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FC0750F1-C4A7-7DB3-A44B-2280B700DD86}"/>
              </a:ext>
            </a:extLst>
          </p:cNvPr>
          <p:cNvCxnSpPr>
            <a:cxnSpLocks/>
            <a:stCxn id="45" idx="2"/>
          </p:cNvCxnSpPr>
          <p:nvPr/>
        </p:nvCxnSpPr>
        <p:spPr>
          <a:xfrm>
            <a:off x="4954131" y="2100825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23E50151-FDBA-2638-5C5A-73C2FE6876CB}"/>
              </a:ext>
            </a:extLst>
          </p:cNvPr>
          <p:cNvCxnSpPr>
            <a:cxnSpLocks/>
          </p:cNvCxnSpPr>
          <p:nvPr/>
        </p:nvCxnSpPr>
        <p:spPr>
          <a:xfrm>
            <a:off x="5637830" y="2251707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FEA14854-8C22-9931-B518-FE0CCE8B3284}"/>
              </a:ext>
            </a:extLst>
          </p:cNvPr>
          <p:cNvCxnSpPr>
            <a:cxnSpLocks/>
          </p:cNvCxnSpPr>
          <p:nvPr/>
        </p:nvCxnSpPr>
        <p:spPr>
          <a:xfrm>
            <a:off x="6258761" y="2251353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CEBD24FD-D1A9-9A63-0576-34AD47B8EA77}"/>
              </a:ext>
            </a:extLst>
          </p:cNvPr>
          <p:cNvCxnSpPr>
            <a:cxnSpLocks/>
          </p:cNvCxnSpPr>
          <p:nvPr/>
        </p:nvCxnSpPr>
        <p:spPr>
          <a:xfrm>
            <a:off x="2938745" y="2256074"/>
            <a:ext cx="0" cy="1080835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타원 128">
            <a:extLst>
              <a:ext uri="{FF2B5EF4-FFF2-40B4-BE49-F238E27FC236}">
                <a16:creationId xmlns:a16="http://schemas.microsoft.com/office/drawing/2014/main" id="{A665E5AC-6FD0-69E3-74BE-E3F5FADEFD46}"/>
              </a:ext>
            </a:extLst>
          </p:cNvPr>
          <p:cNvSpPr/>
          <p:nvPr/>
        </p:nvSpPr>
        <p:spPr>
          <a:xfrm>
            <a:off x="2652313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2.8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0" name="타원 129">
            <a:extLst>
              <a:ext uri="{FF2B5EF4-FFF2-40B4-BE49-F238E27FC236}">
                <a16:creationId xmlns:a16="http://schemas.microsoft.com/office/drawing/2014/main" id="{635C2300-9A27-F01C-5CF5-9CD3BBDCF86C}"/>
              </a:ext>
            </a:extLst>
          </p:cNvPr>
          <p:cNvSpPr/>
          <p:nvPr/>
        </p:nvSpPr>
        <p:spPr>
          <a:xfrm>
            <a:off x="3315237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5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1" name="타원 130">
            <a:extLst>
              <a:ext uri="{FF2B5EF4-FFF2-40B4-BE49-F238E27FC236}">
                <a16:creationId xmlns:a16="http://schemas.microsoft.com/office/drawing/2014/main" id="{3F68F74D-9581-7578-2440-C5A0C58086D2}"/>
              </a:ext>
            </a:extLst>
          </p:cNvPr>
          <p:cNvSpPr/>
          <p:nvPr/>
        </p:nvSpPr>
        <p:spPr>
          <a:xfrm>
            <a:off x="3978161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1.5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2" name="타원 131">
            <a:extLst>
              <a:ext uri="{FF2B5EF4-FFF2-40B4-BE49-F238E27FC236}">
                <a16:creationId xmlns:a16="http://schemas.microsoft.com/office/drawing/2014/main" id="{DE336CAE-8682-DA1C-B10C-9E82A0BC170F}"/>
              </a:ext>
            </a:extLst>
          </p:cNvPr>
          <p:cNvSpPr/>
          <p:nvPr/>
        </p:nvSpPr>
        <p:spPr>
          <a:xfrm>
            <a:off x="4641085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3.8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3" name="타원 132">
            <a:extLst>
              <a:ext uri="{FF2B5EF4-FFF2-40B4-BE49-F238E27FC236}">
                <a16:creationId xmlns:a16="http://schemas.microsoft.com/office/drawing/2014/main" id="{BFAFAF26-1F64-1DB7-0857-865AD2A74241}"/>
              </a:ext>
            </a:extLst>
          </p:cNvPr>
          <p:cNvSpPr/>
          <p:nvPr/>
        </p:nvSpPr>
        <p:spPr>
          <a:xfrm>
            <a:off x="5304009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1439FF82-C36A-212C-7121-CE534D18F5D9}"/>
              </a:ext>
            </a:extLst>
          </p:cNvPr>
          <p:cNvSpPr/>
          <p:nvPr/>
        </p:nvSpPr>
        <p:spPr>
          <a:xfrm>
            <a:off x="5966933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41" name="직선 화살표 연결선 140">
            <a:extLst>
              <a:ext uri="{FF2B5EF4-FFF2-40B4-BE49-F238E27FC236}">
                <a16:creationId xmlns:a16="http://schemas.microsoft.com/office/drawing/2014/main" id="{7502AEE2-4FA3-8342-2651-E3186F9B06B4}"/>
              </a:ext>
            </a:extLst>
          </p:cNvPr>
          <p:cNvCxnSpPr>
            <a:cxnSpLocks/>
          </p:cNvCxnSpPr>
          <p:nvPr/>
        </p:nvCxnSpPr>
        <p:spPr>
          <a:xfrm>
            <a:off x="6928470" y="2249261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타원 142">
            <a:extLst>
              <a:ext uri="{FF2B5EF4-FFF2-40B4-BE49-F238E27FC236}">
                <a16:creationId xmlns:a16="http://schemas.microsoft.com/office/drawing/2014/main" id="{CC4A826F-79BA-0B0A-FB41-71C622287EC3}"/>
              </a:ext>
            </a:extLst>
          </p:cNvPr>
          <p:cNvSpPr/>
          <p:nvPr/>
        </p:nvSpPr>
        <p:spPr>
          <a:xfrm>
            <a:off x="6629857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98F07733-B499-4782-9520-83A39C4B26E3}"/>
              </a:ext>
            </a:extLst>
          </p:cNvPr>
          <p:cNvCxnSpPr>
            <a:cxnSpLocks/>
          </p:cNvCxnSpPr>
          <p:nvPr/>
        </p:nvCxnSpPr>
        <p:spPr>
          <a:xfrm>
            <a:off x="7585479" y="2249261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타원 4">
            <a:extLst>
              <a:ext uri="{FF2B5EF4-FFF2-40B4-BE49-F238E27FC236}">
                <a16:creationId xmlns:a16="http://schemas.microsoft.com/office/drawing/2014/main" id="{5C305CC9-C47A-6448-3B15-7EBC728D5933}"/>
              </a:ext>
            </a:extLst>
          </p:cNvPr>
          <p:cNvSpPr/>
          <p:nvPr/>
        </p:nvSpPr>
        <p:spPr>
          <a:xfrm>
            <a:off x="7292783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9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2C2A672D-A193-7813-66D9-4543AADEA07B}"/>
              </a:ext>
            </a:extLst>
          </p:cNvPr>
          <p:cNvSpPr/>
          <p:nvPr/>
        </p:nvSpPr>
        <p:spPr>
          <a:xfrm>
            <a:off x="1986769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F1098D5F-9744-C222-06A8-9D1CF51D7FC3}"/>
              </a:ext>
            </a:extLst>
          </p:cNvPr>
          <p:cNvSpPr/>
          <p:nvPr/>
        </p:nvSpPr>
        <p:spPr>
          <a:xfrm>
            <a:off x="1796700" y="173714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중근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배우자</a:t>
            </a:r>
          </a:p>
        </p:txBody>
      </p:sp>
      <p:cxnSp>
        <p:nvCxnSpPr>
          <p:cNvPr id="26" name="직선 화살표 연결선 25">
            <a:extLst>
              <a:ext uri="{FF2B5EF4-FFF2-40B4-BE49-F238E27FC236}">
                <a16:creationId xmlns:a16="http://schemas.microsoft.com/office/drawing/2014/main" id="{1EDE456B-BED3-3254-0A75-E69A6A771CAC}"/>
              </a:ext>
            </a:extLst>
          </p:cNvPr>
          <p:cNvCxnSpPr>
            <a:cxnSpLocks/>
          </p:cNvCxnSpPr>
          <p:nvPr/>
        </p:nvCxnSpPr>
        <p:spPr>
          <a:xfrm>
            <a:off x="4953209" y="346651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타원 27">
            <a:extLst>
              <a:ext uri="{FF2B5EF4-FFF2-40B4-BE49-F238E27FC236}">
                <a16:creationId xmlns:a16="http://schemas.microsoft.com/office/drawing/2014/main" id="{BCEC1141-437A-43E9-CE60-C0118E1BAFE3}"/>
              </a:ext>
            </a:extLst>
          </p:cNvPr>
          <p:cNvSpPr/>
          <p:nvPr/>
        </p:nvSpPr>
        <p:spPr>
          <a:xfrm>
            <a:off x="4661036" y="356144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모서리가 둥근 직사각형 167">
            <a:extLst>
              <a:ext uri="{FF2B5EF4-FFF2-40B4-BE49-F238E27FC236}">
                <a16:creationId xmlns:a16="http://schemas.microsoft.com/office/drawing/2014/main" id="{C0FE8976-8ACA-ABAD-CCF3-25CC171F817A}"/>
              </a:ext>
            </a:extLst>
          </p:cNvPr>
          <p:cNvSpPr/>
          <p:nvPr/>
        </p:nvSpPr>
        <p:spPr>
          <a:xfrm>
            <a:off x="4762135" y="3877467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택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180F6695-2319-EEE3-2147-48508A11BDD8}"/>
              </a:ext>
            </a:extLst>
          </p:cNvPr>
          <p:cNvCxnSpPr>
            <a:cxnSpLocks/>
          </p:cNvCxnSpPr>
          <p:nvPr/>
        </p:nvCxnSpPr>
        <p:spPr>
          <a:xfrm>
            <a:off x="5591102" y="346651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타원 31">
            <a:extLst>
              <a:ext uri="{FF2B5EF4-FFF2-40B4-BE49-F238E27FC236}">
                <a16:creationId xmlns:a16="http://schemas.microsoft.com/office/drawing/2014/main" id="{CA97E42C-C220-8FE4-205B-4D712EAA6245}"/>
              </a:ext>
            </a:extLst>
          </p:cNvPr>
          <p:cNvSpPr/>
          <p:nvPr/>
        </p:nvSpPr>
        <p:spPr>
          <a:xfrm>
            <a:off x="5298929" y="356144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812FAE23-53C4-E65E-D17F-F51542C21F53}"/>
              </a:ext>
            </a:extLst>
          </p:cNvPr>
          <p:cNvCxnSpPr>
            <a:cxnSpLocks/>
          </p:cNvCxnSpPr>
          <p:nvPr/>
        </p:nvCxnSpPr>
        <p:spPr>
          <a:xfrm>
            <a:off x="4292457" y="346651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타원 33">
            <a:extLst>
              <a:ext uri="{FF2B5EF4-FFF2-40B4-BE49-F238E27FC236}">
                <a16:creationId xmlns:a16="http://schemas.microsoft.com/office/drawing/2014/main" id="{1CB1F11A-7D09-3719-B3D2-37722673B5BC}"/>
              </a:ext>
            </a:extLst>
          </p:cNvPr>
          <p:cNvSpPr/>
          <p:nvPr/>
        </p:nvSpPr>
        <p:spPr>
          <a:xfrm>
            <a:off x="4000284" y="356144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5" name="모서리가 둥근 직사각형 167">
            <a:extLst>
              <a:ext uri="{FF2B5EF4-FFF2-40B4-BE49-F238E27FC236}">
                <a16:creationId xmlns:a16="http://schemas.microsoft.com/office/drawing/2014/main" id="{44951348-EBE4-6D88-EF3A-81A3FA20C6B2}"/>
              </a:ext>
            </a:extLst>
          </p:cNvPr>
          <p:cNvSpPr/>
          <p:nvPr/>
        </p:nvSpPr>
        <p:spPr>
          <a:xfrm>
            <a:off x="4130796" y="3871138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광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택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6" name="모서리가 둥근 직사각형 167">
            <a:extLst>
              <a:ext uri="{FF2B5EF4-FFF2-40B4-BE49-F238E27FC236}">
                <a16:creationId xmlns:a16="http://schemas.microsoft.com/office/drawing/2014/main" id="{C2B1C352-313B-84C6-A975-23E096F25D5C}"/>
              </a:ext>
            </a:extLst>
          </p:cNvPr>
          <p:cNvSpPr/>
          <p:nvPr/>
        </p:nvSpPr>
        <p:spPr>
          <a:xfrm>
            <a:off x="5410952" y="3878758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</a:t>
            </a: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E2639C8C-043B-B226-D6EC-0DED8F192C9F}"/>
              </a:ext>
            </a:extLst>
          </p:cNvPr>
          <p:cNvCxnSpPr>
            <a:cxnSpLocks/>
          </p:cNvCxnSpPr>
          <p:nvPr/>
        </p:nvCxnSpPr>
        <p:spPr>
          <a:xfrm>
            <a:off x="7579692" y="348855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타원 37">
            <a:extLst>
              <a:ext uri="{FF2B5EF4-FFF2-40B4-BE49-F238E27FC236}">
                <a16:creationId xmlns:a16="http://schemas.microsoft.com/office/drawing/2014/main" id="{259E8328-522E-CD13-B4ED-3CA4B23DB152}"/>
              </a:ext>
            </a:extLst>
          </p:cNvPr>
          <p:cNvSpPr/>
          <p:nvPr/>
        </p:nvSpPr>
        <p:spPr>
          <a:xfrm>
            <a:off x="7287519" y="358348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9" name="모서리가 둥근 직사각형 167">
            <a:extLst>
              <a:ext uri="{FF2B5EF4-FFF2-40B4-BE49-F238E27FC236}">
                <a16:creationId xmlns:a16="http://schemas.microsoft.com/office/drawing/2014/main" id="{040055A7-D470-19D6-B144-57922D546FD8}"/>
              </a:ext>
            </a:extLst>
          </p:cNvPr>
          <p:cNvSpPr/>
          <p:nvPr/>
        </p:nvSpPr>
        <p:spPr>
          <a:xfrm>
            <a:off x="7399542" y="3900798"/>
            <a:ext cx="371874" cy="867119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3" name="모서리가 둥근 직사각형 167">
            <a:extLst>
              <a:ext uri="{FF2B5EF4-FFF2-40B4-BE49-F238E27FC236}">
                <a16:creationId xmlns:a16="http://schemas.microsoft.com/office/drawing/2014/main" id="{1AB245EC-3030-549E-92F7-80D9D1C7657C}"/>
              </a:ext>
            </a:extLst>
          </p:cNvPr>
          <p:cNvSpPr/>
          <p:nvPr/>
        </p:nvSpPr>
        <p:spPr>
          <a:xfrm>
            <a:off x="2772816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광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토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건</a:t>
            </a:r>
          </a:p>
        </p:txBody>
      </p:sp>
      <p:sp>
        <p:nvSpPr>
          <p:cNvPr id="124" name="모서리가 둥근 직사각형 167">
            <a:extLst>
              <a:ext uri="{FF2B5EF4-FFF2-40B4-BE49-F238E27FC236}">
                <a16:creationId xmlns:a16="http://schemas.microsoft.com/office/drawing/2014/main" id="{89EA38C1-8E29-F929-EFAF-7AD8F1CEB9CE}"/>
              </a:ext>
            </a:extLst>
          </p:cNvPr>
          <p:cNvSpPr/>
          <p:nvPr/>
        </p:nvSpPr>
        <p:spPr>
          <a:xfrm>
            <a:off x="3433777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화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5" name="모서리가 둥근 직사각형 167">
            <a:extLst>
              <a:ext uri="{FF2B5EF4-FFF2-40B4-BE49-F238E27FC236}">
                <a16:creationId xmlns:a16="http://schemas.microsoft.com/office/drawing/2014/main" id="{B1EBA518-DFCF-783C-F369-B08F6301631C}"/>
              </a:ext>
            </a:extLst>
          </p:cNvPr>
          <p:cNvSpPr/>
          <p:nvPr/>
        </p:nvSpPr>
        <p:spPr>
          <a:xfrm>
            <a:off x="2111855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T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6" name="모서리가 둥근 직사각형 167">
            <a:extLst>
              <a:ext uri="{FF2B5EF4-FFF2-40B4-BE49-F238E27FC236}">
                <a16:creationId xmlns:a16="http://schemas.microsoft.com/office/drawing/2014/main" id="{8EB2BD11-5BA6-0AD8-8CF6-FCF5C716D796}"/>
              </a:ext>
            </a:extLst>
          </p:cNvPr>
          <p:cNvSpPr/>
          <p:nvPr/>
        </p:nvSpPr>
        <p:spPr>
          <a:xfrm>
            <a:off x="4094738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광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택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</a:t>
            </a:r>
          </a:p>
        </p:txBody>
      </p:sp>
      <p:sp>
        <p:nvSpPr>
          <p:cNvPr id="127" name="모서리가 둥근 직사각형 167">
            <a:extLst>
              <a:ext uri="{FF2B5EF4-FFF2-40B4-BE49-F238E27FC236}">
                <a16:creationId xmlns:a16="http://schemas.microsoft.com/office/drawing/2014/main" id="{73CA2CBA-8232-F44E-5A36-F99D91275CFB}"/>
              </a:ext>
            </a:extLst>
          </p:cNvPr>
          <p:cNvSpPr/>
          <p:nvPr/>
        </p:nvSpPr>
        <p:spPr>
          <a:xfrm>
            <a:off x="4755699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8" name="모서리가 둥근 직사각형 167">
            <a:extLst>
              <a:ext uri="{FF2B5EF4-FFF2-40B4-BE49-F238E27FC236}">
                <a16:creationId xmlns:a16="http://schemas.microsoft.com/office/drawing/2014/main" id="{AC12C238-0C23-B14A-34B1-462BF7707D4D}"/>
              </a:ext>
            </a:extLst>
          </p:cNvPr>
          <p:cNvSpPr/>
          <p:nvPr/>
        </p:nvSpPr>
        <p:spPr>
          <a:xfrm>
            <a:off x="5416660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남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광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</a:t>
            </a:r>
          </a:p>
        </p:txBody>
      </p:sp>
      <p:sp>
        <p:nvSpPr>
          <p:cNvPr id="142" name="모서리가 둥근 직사각형 167">
            <a:extLst>
              <a:ext uri="{FF2B5EF4-FFF2-40B4-BE49-F238E27FC236}">
                <a16:creationId xmlns:a16="http://schemas.microsoft.com/office/drawing/2014/main" id="{64F710CE-5046-AFEB-9CA3-166F2DA44E2F}"/>
              </a:ext>
            </a:extLst>
          </p:cNvPr>
          <p:cNvSpPr/>
          <p:nvPr/>
        </p:nvSpPr>
        <p:spPr>
          <a:xfrm>
            <a:off x="6077621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남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양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7" name="모서리가 둥근 직사각형 167">
            <a:extLst>
              <a:ext uri="{FF2B5EF4-FFF2-40B4-BE49-F238E27FC236}">
                <a16:creationId xmlns:a16="http://schemas.microsoft.com/office/drawing/2014/main" id="{012B3AFA-9989-90E6-0C38-37E0B2FC9044}"/>
              </a:ext>
            </a:extLst>
          </p:cNvPr>
          <p:cNvSpPr/>
          <p:nvPr/>
        </p:nvSpPr>
        <p:spPr>
          <a:xfrm>
            <a:off x="6738582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강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택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" name="모서리가 둥근 직사각형 167">
            <a:extLst>
              <a:ext uri="{FF2B5EF4-FFF2-40B4-BE49-F238E27FC236}">
                <a16:creationId xmlns:a16="http://schemas.microsoft.com/office/drawing/2014/main" id="{C9651EDF-A17C-D5B4-9EC8-147EDA4285FF}"/>
              </a:ext>
            </a:extLst>
          </p:cNvPr>
          <p:cNvSpPr/>
          <p:nvPr/>
        </p:nvSpPr>
        <p:spPr>
          <a:xfrm>
            <a:off x="7399542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라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</a:t>
            </a:r>
          </a:p>
        </p:txBody>
      </p:sp>
      <p:cxnSp>
        <p:nvCxnSpPr>
          <p:cNvPr id="44" name="직선 화살표 연결선 43">
            <a:extLst>
              <a:ext uri="{FF2B5EF4-FFF2-40B4-BE49-F238E27FC236}">
                <a16:creationId xmlns:a16="http://schemas.microsoft.com/office/drawing/2014/main" id="{C772D74C-1ADD-C7B0-6C27-94814C728D1E}"/>
              </a:ext>
            </a:extLst>
          </p:cNvPr>
          <p:cNvCxnSpPr>
            <a:cxnSpLocks/>
          </p:cNvCxnSpPr>
          <p:nvPr/>
        </p:nvCxnSpPr>
        <p:spPr>
          <a:xfrm>
            <a:off x="7328007" y="488215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타원 47">
            <a:extLst>
              <a:ext uri="{FF2B5EF4-FFF2-40B4-BE49-F238E27FC236}">
                <a16:creationId xmlns:a16="http://schemas.microsoft.com/office/drawing/2014/main" id="{687B7024-931A-FD02-D873-4CC3D4933F0A}"/>
              </a:ext>
            </a:extLst>
          </p:cNvPr>
          <p:cNvSpPr/>
          <p:nvPr/>
        </p:nvSpPr>
        <p:spPr>
          <a:xfrm>
            <a:off x="7039121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9.9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E60AD5C6-0BC1-2780-3E9C-9D0576CD2C8D}"/>
              </a:ext>
            </a:extLst>
          </p:cNvPr>
          <p:cNvCxnSpPr>
            <a:cxnSpLocks/>
          </p:cNvCxnSpPr>
          <p:nvPr/>
        </p:nvCxnSpPr>
        <p:spPr>
          <a:xfrm>
            <a:off x="2593900" y="488215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타원 51">
            <a:extLst>
              <a:ext uri="{FF2B5EF4-FFF2-40B4-BE49-F238E27FC236}">
                <a16:creationId xmlns:a16="http://schemas.microsoft.com/office/drawing/2014/main" id="{BFEA7A17-7554-B292-1DEE-C13941B38102}"/>
              </a:ext>
            </a:extLst>
          </p:cNvPr>
          <p:cNvSpPr/>
          <p:nvPr/>
        </p:nvSpPr>
        <p:spPr>
          <a:xfrm>
            <a:off x="2305014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9.6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E0D86BE8-630C-835C-9E0C-2A0AD18CCBDE}"/>
              </a:ext>
            </a:extLst>
          </p:cNvPr>
          <p:cNvSpPr/>
          <p:nvPr/>
        </p:nvSpPr>
        <p:spPr>
          <a:xfrm>
            <a:off x="3752202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B273A0D0-3BB2-EEF2-C901-98E71F85CD4C}"/>
              </a:ext>
            </a:extLst>
          </p:cNvPr>
          <p:cNvSpPr/>
          <p:nvPr/>
        </p:nvSpPr>
        <p:spPr>
          <a:xfrm>
            <a:off x="4426155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무</a:t>
            </a: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덕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err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트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7" name="모서리가 둥근 직사각형 167">
            <a:extLst>
              <a:ext uri="{FF2B5EF4-FFF2-40B4-BE49-F238E27FC236}">
                <a16:creationId xmlns:a16="http://schemas.microsoft.com/office/drawing/2014/main" id="{B5FCC2C1-3A4B-FF4D-D30C-1D4B35E5EA19}"/>
              </a:ext>
            </a:extLst>
          </p:cNvPr>
          <p:cNvSpPr/>
          <p:nvPr/>
        </p:nvSpPr>
        <p:spPr>
          <a:xfrm>
            <a:off x="3078249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환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경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업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8" name="모서리가 둥근 직사각형 167">
            <a:extLst>
              <a:ext uri="{FF2B5EF4-FFF2-40B4-BE49-F238E27FC236}">
                <a16:creationId xmlns:a16="http://schemas.microsoft.com/office/drawing/2014/main" id="{CBF06004-9F89-B1BC-0C1D-D7565DE2F51B}"/>
              </a:ext>
            </a:extLst>
          </p:cNvPr>
          <p:cNvSpPr/>
          <p:nvPr/>
        </p:nvSpPr>
        <p:spPr>
          <a:xfrm>
            <a:off x="5100108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와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월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드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31D70668-EBFD-88A8-DB6D-30D557314C24}"/>
              </a:ext>
            </a:extLst>
          </p:cNvPr>
          <p:cNvSpPr/>
          <p:nvPr/>
        </p:nvSpPr>
        <p:spPr>
          <a:xfrm>
            <a:off x="5774061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투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트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0" name="모서리가 둥근 직사각형 167">
            <a:extLst>
              <a:ext uri="{FF2B5EF4-FFF2-40B4-BE49-F238E27FC236}">
                <a16:creationId xmlns:a16="http://schemas.microsoft.com/office/drawing/2014/main" id="{DC8B4FC4-AED0-1AE6-B8C0-F4BAEE2C6F48}"/>
              </a:ext>
            </a:extLst>
          </p:cNvPr>
          <p:cNvSpPr/>
          <p:nvPr/>
        </p:nvSpPr>
        <p:spPr>
          <a:xfrm>
            <a:off x="6448016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더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클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래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식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7" name="모서리가 둥근 직사각형 167">
            <a:extLst>
              <a:ext uri="{FF2B5EF4-FFF2-40B4-BE49-F238E27FC236}">
                <a16:creationId xmlns:a16="http://schemas.microsoft.com/office/drawing/2014/main" id="{00C62DC0-3E9A-5472-ED6D-6ED52A800F70}"/>
              </a:ext>
            </a:extLst>
          </p:cNvPr>
          <p:cNvSpPr/>
          <p:nvPr/>
        </p:nvSpPr>
        <p:spPr>
          <a:xfrm>
            <a:off x="7121971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천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보</a:t>
            </a:r>
          </a:p>
        </p:txBody>
      </p:sp>
      <p:sp>
        <p:nvSpPr>
          <p:cNvPr id="50" name="모서리가 둥근 직사각형 167">
            <a:extLst>
              <a:ext uri="{FF2B5EF4-FFF2-40B4-BE49-F238E27FC236}">
                <a16:creationId xmlns:a16="http://schemas.microsoft.com/office/drawing/2014/main" id="{D0B619ED-3495-4F6F-2704-9F30385C26AB}"/>
              </a:ext>
            </a:extLst>
          </p:cNvPr>
          <p:cNvSpPr/>
          <p:nvPr/>
        </p:nvSpPr>
        <p:spPr>
          <a:xfrm>
            <a:off x="2387864" y="5226233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천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원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종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합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발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28F4E796-08F7-0F04-8686-4BF01FC405FC}"/>
              </a:ext>
            </a:extLst>
          </p:cNvPr>
          <p:cNvCxnSpPr>
            <a:cxnSpLocks/>
          </p:cNvCxnSpPr>
          <p:nvPr/>
        </p:nvCxnSpPr>
        <p:spPr>
          <a:xfrm>
            <a:off x="7493845" y="5646941"/>
            <a:ext cx="369674" cy="0"/>
          </a:xfrm>
          <a:prstGeom prst="straightConnector1">
            <a:avLst/>
          </a:prstGeom>
          <a:ln>
            <a:solidFill>
              <a:srgbClr val="649CFF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모서리가 둥근 직사각형 167">
            <a:extLst>
              <a:ext uri="{FF2B5EF4-FFF2-40B4-BE49-F238E27FC236}">
                <a16:creationId xmlns:a16="http://schemas.microsoft.com/office/drawing/2014/main" id="{3223BF52-B921-9B1D-0AE5-149E1E4395FF}"/>
              </a:ext>
            </a:extLst>
          </p:cNvPr>
          <p:cNvSpPr/>
          <p:nvPr/>
        </p:nvSpPr>
        <p:spPr>
          <a:xfrm>
            <a:off x="7902959" y="5229681"/>
            <a:ext cx="371874" cy="867119"/>
          </a:xfrm>
          <a:prstGeom prst="roundRect">
            <a:avLst>
              <a:gd name="adj" fmla="val 0"/>
            </a:avLst>
          </a:prstGeom>
          <a:solidFill>
            <a:srgbClr val="D3E3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천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출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판</a:t>
            </a:r>
            <a:endParaRPr lang="en-US" altLang="ko-KR" sz="800" b="1">
              <a:solidFill>
                <a:schemeClr val="bg2">
                  <a:lumMod val="25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9" name="타원 78">
            <a:extLst>
              <a:ext uri="{FF2B5EF4-FFF2-40B4-BE49-F238E27FC236}">
                <a16:creationId xmlns:a16="http://schemas.microsoft.com/office/drawing/2014/main" id="{A9E1B75C-C130-05AB-D28C-7BF7036BAE17}"/>
              </a:ext>
            </a:extLst>
          </p:cNvPr>
          <p:cNvSpPr/>
          <p:nvPr/>
        </p:nvSpPr>
        <p:spPr>
          <a:xfrm>
            <a:off x="7390682" y="5492681"/>
            <a:ext cx="576000" cy="144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7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F71F9336-95E7-B584-E780-73D588E7211C}"/>
              </a:ext>
            </a:extLst>
          </p:cNvPr>
          <p:cNvCxnSpPr>
            <a:cxnSpLocks/>
          </p:cNvCxnSpPr>
          <p:nvPr/>
        </p:nvCxnSpPr>
        <p:spPr>
          <a:xfrm>
            <a:off x="4953000" y="4698978"/>
            <a:ext cx="0" cy="18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95570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0FD1D5E-BF4E-5FDF-DB6B-3DD40A0FC492}"/>
              </a:ext>
            </a:extLst>
          </p:cNvPr>
          <p:cNvCxnSpPr>
            <a:cxnSpLocks/>
          </p:cNvCxnSpPr>
          <p:nvPr/>
        </p:nvCxnSpPr>
        <p:spPr>
          <a:xfrm>
            <a:off x="4953209" y="2100825"/>
            <a:ext cx="0" cy="63475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96AB30BB-E90D-337F-CACF-29B2F70D638E}"/>
              </a:ext>
            </a:extLst>
          </p:cNvPr>
          <p:cNvSpPr/>
          <p:nvPr/>
        </p:nvSpPr>
        <p:spPr>
          <a:xfrm>
            <a:off x="4450131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방준혁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90E004C-8AEE-CAFE-60F3-E26D87A6A087}"/>
              </a:ext>
            </a:extLst>
          </p:cNvPr>
          <p:cNvCxnSpPr>
            <a:cxnSpLocks/>
          </p:cNvCxnSpPr>
          <p:nvPr/>
        </p:nvCxnSpPr>
        <p:spPr>
          <a:xfrm flipH="1">
            <a:off x="2938745" y="2251708"/>
            <a:ext cx="398577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8DB37D4-213D-EDBA-DF2C-5C8134AE0A6B}"/>
              </a:ext>
            </a:extLst>
          </p:cNvPr>
          <p:cNvCxnSpPr>
            <a:cxnSpLocks/>
          </p:cNvCxnSpPr>
          <p:nvPr/>
        </p:nvCxnSpPr>
        <p:spPr>
          <a:xfrm>
            <a:off x="6924519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6DA89548-4077-F7B7-F4FF-0F6EA692D728}"/>
              </a:ext>
            </a:extLst>
          </p:cNvPr>
          <p:cNvCxnSpPr>
            <a:cxnSpLocks/>
          </p:cNvCxnSpPr>
          <p:nvPr/>
        </p:nvCxnSpPr>
        <p:spPr>
          <a:xfrm>
            <a:off x="2938745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5CF756E9-084E-095F-A101-7C1CDA47D40F}"/>
              </a:ext>
            </a:extLst>
          </p:cNvPr>
          <p:cNvSpPr/>
          <p:nvPr/>
        </p:nvSpPr>
        <p:spPr>
          <a:xfrm>
            <a:off x="2652313" y="22776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9.4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270B63B1-3D18-E312-DD25-D54F16B0247A}"/>
              </a:ext>
            </a:extLst>
          </p:cNvPr>
          <p:cNvSpPr/>
          <p:nvPr/>
        </p:nvSpPr>
        <p:spPr>
          <a:xfrm>
            <a:off x="4641085" y="22776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4.1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D2C920EF-54B3-1973-C1C3-0D19AF77FF3E}"/>
              </a:ext>
            </a:extLst>
          </p:cNvPr>
          <p:cNvSpPr/>
          <p:nvPr/>
        </p:nvSpPr>
        <p:spPr>
          <a:xfrm>
            <a:off x="6629857" y="227554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8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51EBC106-0948-23CE-CD6A-D16AAF07732F}"/>
              </a:ext>
            </a:extLst>
          </p:cNvPr>
          <p:cNvSpPr/>
          <p:nvPr/>
        </p:nvSpPr>
        <p:spPr>
          <a:xfrm>
            <a:off x="6420519" y="248323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힐러비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D80FB0BA-6BBF-A1BE-FF9B-7617F044DD72}"/>
              </a:ext>
            </a:extLst>
          </p:cNvPr>
          <p:cNvSpPr/>
          <p:nvPr/>
        </p:nvSpPr>
        <p:spPr>
          <a:xfrm>
            <a:off x="2434745" y="248296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디스에어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93" name="직선 화살표 연결선 92">
            <a:extLst>
              <a:ext uri="{FF2B5EF4-FFF2-40B4-BE49-F238E27FC236}">
                <a16:creationId xmlns:a16="http://schemas.microsoft.com/office/drawing/2014/main" id="{564F9EB6-CF24-26B0-CA56-380BB0A2CA13}"/>
              </a:ext>
            </a:extLst>
          </p:cNvPr>
          <p:cNvCxnSpPr>
            <a:cxnSpLocks/>
            <a:endCxn id="91" idx="1"/>
          </p:cNvCxnSpPr>
          <p:nvPr/>
        </p:nvCxnSpPr>
        <p:spPr>
          <a:xfrm>
            <a:off x="5451085" y="2662962"/>
            <a:ext cx="969434" cy="27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타원 95">
            <a:extLst>
              <a:ext uri="{FF2B5EF4-FFF2-40B4-BE49-F238E27FC236}">
                <a16:creationId xmlns:a16="http://schemas.microsoft.com/office/drawing/2014/main" id="{A772027E-1A1A-0570-6C83-186FB190C00D}"/>
              </a:ext>
            </a:extLst>
          </p:cNvPr>
          <p:cNvSpPr/>
          <p:nvPr/>
        </p:nvSpPr>
        <p:spPr>
          <a:xfrm>
            <a:off x="5625087" y="257737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1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48" name="직선 화살표 연결선 147">
            <a:extLst>
              <a:ext uri="{FF2B5EF4-FFF2-40B4-BE49-F238E27FC236}">
                <a16:creationId xmlns:a16="http://schemas.microsoft.com/office/drawing/2014/main" id="{E48CA006-ACE8-6490-E758-6D2F8F1B2D9E}"/>
              </a:ext>
            </a:extLst>
          </p:cNvPr>
          <p:cNvCxnSpPr>
            <a:cxnSpLocks/>
          </p:cNvCxnSpPr>
          <p:nvPr/>
        </p:nvCxnSpPr>
        <p:spPr>
          <a:xfrm>
            <a:off x="4953000" y="2662962"/>
            <a:ext cx="0" cy="2026744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모서리가 둥근 직사각형 167">
            <a:extLst>
              <a:ext uri="{FF2B5EF4-FFF2-40B4-BE49-F238E27FC236}">
                <a16:creationId xmlns:a16="http://schemas.microsoft.com/office/drawing/2014/main" id="{D2E4E80D-7BF2-63A7-FDA4-18A96DC334CE}"/>
              </a:ext>
            </a:extLst>
          </p:cNvPr>
          <p:cNvSpPr/>
          <p:nvPr/>
        </p:nvSpPr>
        <p:spPr>
          <a:xfrm>
            <a:off x="619520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네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52" name="모서리가 둥근 직사각형 167">
            <a:extLst>
              <a:ext uri="{FF2B5EF4-FFF2-40B4-BE49-F238E27FC236}">
                <a16:creationId xmlns:a16="http://schemas.microsoft.com/office/drawing/2014/main" id="{96467FF4-F4CA-4B23-1481-1069FF017CDB}"/>
              </a:ext>
            </a:extLst>
          </p:cNvPr>
          <p:cNvSpPr/>
          <p:nvPr/>
        </p:nvSpPr>
        <p:spPr>
          <a:xfrm>
            <a:off x="1664459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몬스터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53" name="모서리가 둥근 직사각형 167">
            <a:extLst>
              <a:ext uri="{FF2B5EF4-FFF2-40B4-BE49-F238E27FC236}">
                <a16:creationId xmlns:a16="http://schemas.microsoft.com/office/drawing/2014/main" id="{9809F704-E3E1-8B76-C9E4-F1B77A589323}"/>
              </a:ext>
            </a:extLst>
          </p:cNvPr>
          <p:cNvSpPr/>
          <p:nvPr/>
        </p:nvSpPr>
        <p:spPr>
          <a:xfrm>
            <a:off x="2709398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앤파크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54" name="모서리가 둥근 직사각형 167">
            <a:extLst>
              <a:ext uri="{FF2B5EF4-FFF2-40B4-BE49-F238E27FC236}">
                <a16:creationId xmlns:a16="http://schemas.microsoft.com/office/drawing/2014/main" id="{BF2B1722-038B-1AB9-5598-F54BA39E4670}"/>
              </a:ext>
            </a:extLst>
          </p:cNvPr>
          <p:cNvSpPr/>
          <p:nvPr/>
        </p:nvSpPr>
        <p:spPr>
          <a:xfrm>
            <a:off x="3754337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엔트리㈜</a:t>
            </a:r>
          </a:p>
        </p:txBody>
      </p:sp>
      <p:sp>
        <p:nvSpPr>
          <p:cNvPr id="155" name="모서리가 둥근 직사각형 167">
            <a:extLst>
              <a:ext uri="{FF2B5EF4-FFF2-40B4-BE49-F238E27FC236}">
                <a16:creationId xmlns:a16="http://schemas.microsoft.com/office/drawing/2014/main" id="{347A8741-62A5-3CD5-D516-36F80A0ACC1F}"/>
              </a:ext>
            </a:extLst>
          </p:cNvPr>
          <p:cNvSpPr/>
          <p:nvPr/>
        </p:nvSpPr>
        <p:spPr>
          <a:xfrm>
            <a:off x="5167360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엔탑자산관리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56" name="모서리가 둥근 직사각형 167">
            <a:extLst>
              <a:ext uri="{FF2B5EF4-FFF2-40B4-BE49-F238E27FC236}">
                <a16:creationId xmlns:a16="http://schemas.microsoft.com/office/drawing/2014/main" id="{1C3D22A1-B91C-421B-CBBD-1DECDC3DC341}"/>
              </a:ext>
            </a:extLst>
          </p:cNvPr>
          <p:cNvSpPr/>
          <p:nvPr/>
        </p:nvSpPr>
        <p:spPr>
          <a:xfrm>
            <a:off x="6205985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넥서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57" name="모서리가 둥근 직사각형 167">
            <a:extLst>
              <a:ext uri="{FF2B5EF4-FFF2-40B4-BE49-F238E27FC236}">
                <a16:creationId xmlns:a16="http://schemas.microsoft.com/office/drawing/2014/main" id="{13CA254F-0565-A149-23C4-2BE9FF48820F}"/>
              </a:ext>
            </a:extLst>
          </p:cNvPr>
          <p:cNvSpPr/>
          <p:nvPr/>
        </p:nvSpPr>
        <p:spPr>
          <a:xfrm>
            <a:off x="7247174" y="340208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엔투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cxnSp>
        <p:nvCxnSpPr>
          <p:cNvPr id="162" name="직선 화살표 연결선 161">
            <a:extLst>
              <a:ext uri="{FF2B5EF4-FFF2-40B4-BE49-F238E27FC236}">
                <a16:creationId xmlns:a16="http://schemas.microsoft.com/office/drawing/2014/main" id="{8972E1F3-8E05-3891-242D-D9F0818B1D9E}"/>
              </a:ext>
            </a:extLst>
          </p:cNvPr>
          <p:cNvCxnSpPr>
            <a:cxnSpLocks/>
          </p:cNvCxnSpPr>
          <p:nvPr/>
        </p:nvCxnSpPr>
        <p:spPr>
          <a:xfrm flipH="1">
            <a:off x="1127392" y="3030644"/>
            <a:ext cx="6632605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직선 화살표 연결선 163">
            <a:extLst>
              <a:ext uri="{FF2B5EF4-FFF2-40B4-BE49-F238E27FC236}">
                <a16:creationId xmlns:a16="http://schemas.microsoft.com/office/drawing/2014/main" id="{7336F14C-45F9-4575-2A45-8E2563A9D419}"/>
              </a:ext>
            </a:extLst>
          </p:cNvPr>
          <p:cNvCxnSpPr>
            <a:cxnSpLocks/>
          </p:cNvCxnSpPr>
          <p:nvPr/>
        </p:nvCxnSpPr>
        <p:spPr>
          <a:xfrm>
            <a:off x="4271112" y="3030290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화살표 연결선 164">
            <a:extLst>
              <a:ext uri="{FF2B5EF4-FFF2-40B4-BE49-F238E27FC236}">
                <a16:creationId xmlns:a16="http://schemas.microsoft.com/office/drawing/2014/main" id="{CB91EBE6-9324-EBC0-A741-1DDEC32588F3}"/>
              </a:ext>
            </a:extLst>
          </p:cNvPr>
          <p:cNvCxnSpPr>
            <a:cxnSpLocks/>
          </p:cNvCxnSpPr>
          <p:nvPr/>
        </p:nvCxnSpPr>
        <p:spPr>
          <a:xfrm>
            <a:off x="5660215" y="3030643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직선 화살표 연결선 165">
            <a:extLst>
              <a:ext uri="{FF2B5EF4-FFF2-40B4-BE49-F238E27FC236}">
                <a16:creationId xmlns:a16="http://schemas.microsoft.com/office/drawing/2014/main" id="{C1D64367-A690-C298-DE97-3E79663D11AF}"/>
              </a:ext>
            </a:extLst>
          </p:cNvPr>
          <p:cNvCxnSpPr>
            <a:cxnSpLocks/>
          </p:cNvCxnSpPr>
          <p:nvPr/>
        </p:nvCxnSpPr>
        <p:spPr>
          <a:xfrm>
            <a:off x="6684148" y="303028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화살표 연결선 166">
            <a:extLst>
              <a:ext uri="{FF2B5EF4-FFF2-40B4-BE49-F238E27FC236}">
                <a16:creationId xmlns:a16="http://schemas.microsoft.com/office/drawing/2014/main" id="{EB783D05-64A3-04FA-4DD0-3A5A73250CBA}"/>
              </a:ext>
            </a:extLst>
          </p:cNvPr>
          <p:cNvCxnSpPr>
            <a:cxnSpLocks/>
          </p:cNvCxnSpPr>
          <p:nvPr/>
        </p:nvCxnSpPr>
        <p:spPr>
          <a:xfrm>
            <a:off x="3205320" y="3027114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타원 167">
            <a:extLst>
              <a:ext uri="{FF2B5EF4-FFF2-40B4-BE49-F238E27FC236}">
                <a16:creationId xmlns:a16="http://schemas.microsoft.com/office/drawing/2014/main" id="{1D612AE3-D731-B976-99A9-7675FBC5D43A}"/>
              </a:ext>
            </a:extLst>
          </p:cNvPr>
          <p:cNvSpPr/>
          <p:nvPr/>
        </p:nvSpPr>
        <p:spPr>
          <a:xfrm>
            <a:off x="2919777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5.8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1" name="타원 170">
            <a:extLst>
              <a:ext uri="{FF2B5EF4-FFF2-40B4-BE49-F238E27FC236}">
                <a16:creationId xmlns:a16="http://schemas.microsoft.com/office/drawing/2014/main" id="{DB20DFFA-E1E3-10D1-CEE1-5751BBCF0A5C}"/>
              </a:ext>
            </a:extLst>
          </p:cNvPr>
          <p:cNvSpPr/>
          <p:nvPr/>
        </p:nvSpPr>
        <p:spPr>
          <a:xfrm>
            <a:off x="3995625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0.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2" name="타원 171">
            <a:extLst>
              <a:ext uri="{FF2B5EF4-FFF2-40B4-BE49-F238E27FC236}">
                <a16:creationId xmlns:a16="http://schemas.microsoft.com/office/drawing/2014/main" id="{9678DC10-77AF-DF18-482A-672C933E3F50}"/>
              </a:ext>
            </a:extLst>
          </p:cNvPr>
          <p:cNvSpPr/>
          <p:nvPr/>
        </p:nvSpPr>
        <p:spPr>
          <a:xfrm>
            <a:off x="5384807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3" name="타원 172">
            <a:extLst>
              <a:ext uri="{FF2B5EF4-FFF2-40B4-BE49-F238E27FC236}">
                <a16:creationId xmlns:a16="http://schemas.microsoft.com/office/drawing/2014/main" id="{CB8BFDBA-1FC5-7ADB-562C-82D46883E0A7}"/>
              </a:ext>
            </a:extLst>
          </p:cNvPr>
          <p:cNvSpPr/>
          <p:nvPr/>
        </p:nvSpPr>
        <p:spPr>
          <a:xfrm>
            <a:off x="6395262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9.9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74" name="직선 화살표 연결선 173">
            <a:extLst>
              <a:ext uri="{FF2B5EF4-FFF2-40B4-BE49-F238E27FC236}">
                <a16:creationId xmlns:a16="http://schemas.microsoft.com/office/drawing/2014/main" id="{7D411C52-C7A4-E858-ECDC-EE80C2EBB0C8}"/>
              </a:ext>
            </a:extLst>
          </p:cNvPr>
          <p:cNvCxnSpPr>
            <a:cxnSpLocks/>
          </p:cNvCxnSpPr>
          <p:nvPr/>
        </p:nvCxnSpPr>
        <p:spPr>
          <a:xfrm>
            <a:off x="7759997" y="303028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타원 174">
            <a:extLst>
              <a:ext uri="{FF2B5EF4-FFF2-40B4-BE49-F238E27FC236}">
                <a16:creationId xmlns:a16="http://schemas.microsoft.com/office/drawing/2014/main" id="{4DFBF6CF-A7C9-3A7E-E001-BF70E0DDD3FB}"/>
              </a:ext>
            </a:extLst>
          </p:cNvPr>
          <p:cNvSpPr/>
          <p:nvPr/>
        </p:nvSpPr>
        <p:spPr>
          <a:xfrm>
            <a:off x="7471111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8.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76" name="직선 화살표 연결선 175">
            <a:extLst>
              <a:ext uri="{FF2B5EF4-FFF2-40B4-BE49-F238E27FC236}">
                <a16:creationId xmlns:a16="http://schemas.microsoft.com/office/drawing/2014/main" id="{D3C1CE4D-E902-69FE-665F-323A8F277590}"/>
              </a:ext>
            </a:extLst>
          </p:cNvPr>
          <p:cNvCxnSpPr>
            <a:cxnSpLocks/>
          </p:cNvCxnSpPr>
          <p:nvPr/>
        </p:nvCxnSpPr>
        <p:spPr>
          <a:xfrm>
            <a:off x="1127392" y="303028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타원 176">
            <a:extLst>
              <a:ext uri="{FF2B5EF4-FFF2-40B4-BE49-F238E27FC236}">
                <a16:creationId xmlns:a16="http://schemas.microsoft.com/office/drawing/2014/main" id="{37336757-587D-E473-96FC-8F0726412C3B}"/>
              </a:ext>
            </a:extLst>
          </p:cNvPr>
          <p:cNvSpPr/>
          <p:nvPr/>
        </p:nvSpPr>
        <p:spPr>
          <a:xfrm>
            <a:off x="838506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8.5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78" name="직선 화살표 연결선 177">
            <a:extLst>
              <a:ext uri="{FF2B5EF4-FFF2-40B4-BE49-F238E27FC236}">
                <a16:creationId xmlns:a16="http://schemas.microsoft.com/office/drawing/2014/main" id="{514BEA09-EB5F-1F3E-3141-73040FC29CA7}"/>
              </a:ext>
            </a:extLst>
          </p:cNvPr>
          <p:cNvCxnSpPr>
            <a:cxnSpLocks/>
          </p:cNvCxnSpPr>
          <p:nvPr/>
        </p:nvCxnSpPr>
        <p:spPr>
          <a:xfrm>
            <a:off x="2162844" y="3027114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타원 178">
            <a:extLst>
              <a:ext uri="{FF2B5EF4-FFF2-40B4-BE49-F238E27FC236}">
                <a16:creationId xmlns:a16="http://schemas.microsoft.com/office/drawing/2014/main" id="{5A21622D-9049-43D0-92A0-36E3931A8D47}"/>
              </a:ext>
            </a:extLst>
          </p:cNvPr>
          <p:cNvSpPr/>
          <p:nvPr/>
        </p:nvSpPr>
        <p:spPr>
          <a:xfrm>
            <a:off x="1877301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5.7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83544130-3C77-4955-5E8C-4D3B584273C6}"/>
              </a:ext>
            </a:extLst>
          </p:cNvPr>
          <p:cNvSpPr/>
          <p:nvPr/>
        </p:nvSpPr>
        <p:spPr>
          <a:xfrm>
            <a:off x="4443085" y="248323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4" name="모서리가 둥근 직사각형 167">
            <a:extLst>
              <a:ext uri="{FF2B5EF4-FFF2-40B4-BE49-F238E27FC236}">
                <a16:creationId xmlns:a16="http://schemas.microsoft.com/office/drawing/2014/main" id="{A3D47457-4FFF-0BB4-7566-237F1414D8AF}"/>
              </a:ext>
            </a:extLst>
          </p:cNvPr>
          <p:cNvSpPr/>
          <p:nvPr/>
        </p:nvSpPr>
        <p:spPr>
          <a:xfrm>
            <a:off x="647425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디어웹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5" name="모서리가 둥근 직사각형 167">
            <a:extLst>
              <a:ext uri="{FF2B5EF4-FFF2-40B4-BE49-F238E27FC236}">
                <a16:creationId xmlns:a16="http://schemas.microsoft.com/office/drawing/2014/main" id="{CE2D0E8B-B496-F803-9BA6-7FA74B87B736}"/>
              </a:ext>
            </a:extLst>
          </p:cNvPr>
          <p:cNvSpPr/>
          <p:nvPr/>
        </p:nvSpPr>
        <p:spPr>
          <a:xfrm>
            <a:off x="1692364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인핸즈네트워크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6" name="모서리가 둥근 직사각형 167">
            <a:extLst>
              <a:ext uri="{FF2B5EF4-FFF2-40B4-BE49-F238E27FC236}">
                <a16:creationId xmlns:a16="http://schemas.microsoft.com/office/drawing/2014/main" id="{BD4A7E73-D45F-9199-365B-F07A6BAC47D1}"/>
              </a:ext>
            </a:extLst>
          </p:cNvPr>
          <p:cNvSpPr/>
          <p:nvPr/>
        </p:nvSpPr>
        <p:spPr>
          <a:xfrm>
            <a:off x="2737303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엠엔비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87" name="모서리가 둥근 직사각형 167">
            <a:extLst>
              <a:ext uri="{FF2B5EF4-FFF2-40B4-BE49-F238E27FC236}">
                <a16:creationId xmlns:a16="http://schemas.microsoft.com/office/drawing/2014/main" id="{A5C96C3E-D5A0-6413-EF75-4CC265F89872}"/>
              </a:ext>
            </a:extLst>
          </p:cNvPr>
          <p:cNvSpPr/>
          <p:nvPr/>
        </p:nvSpPr>
        <p:spPr>
          <a:xfrm>
            <a:off x="3782242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스퀘어피에프브이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88" name="모서리가 둥근 직사각형 167">
            <a:extLst>
              <a:ext uri="{FF2B5EF4-FFF2-40B4-BE49-F238E27FC236}">
                <a16:creationId xmlns:a16="http://schemas.microsoft.com/office/drawing/2014/main" id="{009183AE-85D1-39E8-8892-D92AA149FE88}"/>
              </a:ext>
            </a:extLst>
          </p:cNvPr>
          <p:cNvSpPr/>
          <p:nvPr/>
        </p:nvSpPr>
        <p:spPr>
          <a:xfrm>
            <a:off x="5195265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잼팟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189" name="모서리가 둥근 직사각형 167">
            <a:extLst>
              <a:ext uri="{FF2B5EF4-FFF2-40B4-BE49-F238E27FC236}">
                <a16:creationId xmlns:a16="http://schemas.microsoft.com/office/drawing/2014/main" id="{5A21A369-3A10-14D6-019D-446DF7BF4946}"/>
              </a:ext>
            </a:extLst>
          </p:cNvPr>
          <p:cNvSpPr/>
          <p:nvPr/>
        </p:nvSpPr>
        <p:spPr>
          <a:xfrm>
            <a:off x="6233890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타운피에프브이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cxnSp>
        <p:nvCxnSpPr>
          <p:cNvPr id="191" name="직선 화살표 연결선 190">
            <a:extLst>
              <a:ext uri="{FF2B5EF4-FFF2-40B4-BE49-F238E27FC236}">
                <a16:creationId xmlns:a16="http://schemas.microsoft.com/office/drawing/2014/main" id="{9D3A260F-7BC3-6396-920F-8D6BB5E91893}"/>
              </a:ext>
            </a:extLst>
          </p:cNvPr>
          <p:cNvCxnSpPr>
            <a:cxnSpLocks/>
          </p:cNvCxnSpPr>
          <p:nvPr/>
        </p:nvCxnSpPr>
        <p:spPr>
          <a:xfrm flipH="1">
            <a:off x="1155297" y="3882930"/>
            <a:ext cx="5554688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직선 화살표 연결선 191">
            <a:extLst>
              <a:ext uri="{FF2B5EF4-FFF2-40B4-BE49-F238E27FC236}">
                <a16:creationId xmlns:a16="http://schemas.microsoft.com/office/drawing/2014/main" id="{94DA94F8-2F06-5A26-5C5A-F6820C965DA6}"/>
              </a:ext>
            </a:extLst>
          </p:cNvPr>
          <p:cNvCxnSpPr>
            <a:cxnSpLocks/>
          </p:cNvCxnSpPr>
          <p:nvPr/>
        </p:nvCxnSpPr>
        <p:spPr>
          <a:xfrm>
            <a:off x="4299017" y="388257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직선 화살표 연결선 192">
            <a:extLst>
              <a:ext uri="{FF2B5EF4-FFF2-40B4-BE49-F238E27FC236}">
                <a16:creationId xmlns:a16="http://schemas.microsoft.com/office/drawing/2014/main" id="{AB1F76CA-669D-1EDB-7D54-E5C2980C5380}"/>
              </a:ext>
            </a:extLst>
          </p:cNvPr>
          <p:cNvCxnSpPr>
            <a:cxnSpLocks/>
          </p:cNvCxnSpPr>
          <p:nvPr/>
        </p:nvCxnSpPr>
        <p:spPr>
          <a:xfrm>
            <a:off x="5688120" y="388292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직선 화살표 연결선 193">
            <a:extLst>
              <a:ext uri="{FF2B5EF4-FFF2-40B4-BE49-F238E27FC236}">
                <a16:creationId xmlns:a16="http://schemas.microsoft.com/office/drawing/2014/main" id="{F89E00C1-6415-9029-CF39-E5CACF2EAF40}"/>
              </a:ext>
            </a:extLst>
          </p:cNvPr>
          <p:cNvCxnSpPr>
            <a:cxnSpLocks/>
          </p:cNvCxnSpPr>
          <p:nvPr/>
        </p:nvCxnSpPr>
        <p:spPr>
          <a:xfrm>
            <a:off x="6712053" y="3882575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직선 화살표 연결선 194">
            <a:extLst>
              <a:ext uri="{FF2B5EF4-FFF2-40B4-BE49-F238E27FC236}">
                <a16:creationId xmlns:a16="http://schemas.microsoft.com/office/drawing/2014/main" id="{83B17E46-2E28-8601-7B69-38B8C143742B}"/>
              </a:ext>
            </a:extLst>
          </p:cNvPr>
          <p:cNvCxnSpPr>
            <a:cxnSpLocks/>
          </p:cNvCxnSpPr>
          <p:nvPr/>
        </p:nvCxnSpPr>
        <p:spPr>
          <a:xfrm>
            <a:off x="3233225" y="3879400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타원 195">
            <a:extLst>
              <a:ext uri="{FF2B5EF4-FFF2-40B4-BE49-F238E27FC236}">
                <a16:creationId xmlns:a16="http://schemas.microsoft.com/office/drawing/2014/main" id="{713E1899-3231-23EB-3848-348BC2095C5A}"/>
              </a:ext>
            </a:extLst>
          </p:cNvPr>
          <p:cNvSpPr/>
          <p:nvPr/>
        </p:nvSpPr>
        <p:spPr>
          <a:xfrm>
            <a:off x="2947682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7" name="타원 196">
            <a:extLst>
              <a:ext uri="{FF2B5EF4-FFF2-40B4-BE49-F238E27FC236}">
                <a16:creationId xmlns:a16="http://schemas.microsoft.com/office/drawing/2014/main" id="{BBED8AA8-4A6F-A56A-C35C-2E7F727EB3CA}"/>
              </a:ext>
            </a:extLst>
          </p:cNvPr>
          <p:cNvSpPr/>
          <p:nvPr/>
        </p:nvSpPr>
        <p:spPr>
          <a:xfrm>
            <a:off x="4023530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8.4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8" name="타원 197">
            <a:extLst>
              <a:ext uri="{FF2B5EF4-FFF2-40B4-BE49-F238E27FC236}">
                <a16:creationId xmlns:a16="http://schemas.microsoft.com/office/drawing/2014/main" id="{11E39963-EF99-8978-438C-22429176A839}"/>
              </a:ext>
            </a:extLst>
          </p:cNvPr>
          <p:cNvSpPr/>
          <p:nvPr/>
        </p:nvSpPr>
        <p:spPr>
          <a:xfrm>
            <a:off x="5412712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7.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9" name="타원 198">
            <a:extLst>
              <a:ext uri="{FF2B5EF4-FFF2-40B4-BE49-F238E27FC236}">
                <a16:creationId xmlns:a16="http://schemas.microsoft.com/office/drawing/2014/main" id="{F4C13C38-3A70-2AAB-85F0-10FD4E8C1A4A}"/>
              </a:ext>
            </a:extLst>
          </p:cNvPr>
          <p:cNvSpPr/>
          <p:nvPr/>
        </p:nvSpPr>
        <p:spPr>
          <a:xfrm>
            <a:off x="6423167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0.0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02" name="직선 화살표 연결선 201">
            <a:extLst>
              <a:ext uri="{FF2B5EF4-FFF2-40B4-BE49-F238E27FC236}">
                <a16:creationId xmlns:a16="http://schemas.microsoft.com/office/drawing/2014/main" id="{6DDF4643-A3F3-9570-5078-F17C6B933AF1}"/>
              </a:ext>
            </a:extLst>
          </p:cNvPr>
          <p:cNvCxnSpPr>
            <a:cxnSpLocks/>
          </p:cNvCxnSpPr>
          <p:nvPr/>
        </p:nvCxnSpPr>
        <p:spPr>
          <a:xfrm>
            <a:off x="1155297" y="3882575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타원 202">
            <a:extLst>
              <a:ext uri="{FF2B5EF4-FFF2-40B4-BE49-F238E27FC236}">
                <a16:creationId xmlns:a16="http://schemas.microsoft.com/office/drawing/2014/main" id="{EA90A022-B9E9-8601-41BB-2264DCE21192}"/>
              </a:ext>
            </a:extLst>
          </p:cNvPr>
          <p:cNvSpPr/>
          <p:nvPr/>
        </p:nvSpPr>
        <p:spPr>
          <a:xfrm>
            <a:off x="866411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8.8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04" name="직선 화살표 연결선 203">
            <a:extLst>
              <a:ext uri="{FF2B5EF4-FFF2-40B4-BE49-F238E27FC236}">
                <a16:creationId xmlns:a16="http://schemas.microsoft.com/office/drawing/2014/main" id="{8457348B-899F-1ACF-EADE-E477AABFD796}"/>
              </a:ext>
            </a:extLst>
          </p:cNvPr>
          <p:cNvCxnSpPr>
            <a:cxnSpLocks/>
          </p:cNvCxnSpPr>
          <p:nvPr/>
        </p:nvCxnSpPr>
        <p:spPr>
          <a:xfrm>
            <a:off x="2190749" y="3879400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타원 204">
            <a:extLst>
              <a:ext uri="{FF2B5EF4-FFF2-40B4-BE49-F238E27FC236}">
                <a16:creationId xmlns:a16="http://schemas.microsoft.com/office/drawing/2014/main" id="{93B18754-651F-C672-581C-4C791E9FD57F}"/>
              </a:ext>
            </a:extLst>
          </p:cNvPr>
          <p:cNvSpPr/>
          <p:nvPr/>
        </p:nvSpPr>
        <p:spPr>
          <a:xfrm>
            <a:off x="1905206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.1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6" name="모서리가 둥근 직사각형 167">
            <a:extLst>
              <a:ext uri="{FF2B5EF4-FFF2-40B4-BE49-F238E27FC236}">
                <a16:creationId xmlns:a16="http://schemas.microsoft.com/office/drawing/2014/main" id="{09E64D88-2410-E71D-AFAE-524C03C6589B}"/>
              </a:ext>
            </a:extLst>
          </p:cNvPr>
          <p:cNvSpPr/>
          <p:nvPr/>
        </p:nvSpPr>
        <p:spPr>
          <a:xfrm>
            <a:off x="647425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브리플레이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7" name="모서리가 둥근 직사각형 167">
            <a:extLst>
              <a:ext uri="{FF2B5EF4-FFF2-40B4-BE49-F238E27FC236}">
                <a16:creationId xmlns:a16="http://schemas.microsoft.com/office/drawing/2014/main" id="{64A2C054-0245-460B-5087-97C261B85032}"/>
              </a:ext>
            </a:extLst>
          </p:cNvPr>
          <p:cNvSpPr/>
          <p:nvPr/>
        </p:nvSpPr>
        <p:spPr>
          <a:xfrm>
            <a:off x="1692364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에프앤씨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208" name="모서리가 둥근 직사각형 167">
            <a:extLst>
              <a:ext uri="{FF2B5EF4-FFF2-40B4-BE49-F238E27FC236}">
                <a16:creationId xmlns:a16="http://schemas.microsoft.com/office/drawing/2014/main" id="{7DCFB781-9876-355E-6BD0-2D9F418CE082}"/>
              </a:ext>
            </a:extLst>
          </p:cNvPr>
          <p:cNvSpPr/>
          <p:nvPr/>
        </p:nvSpPr>
        <p:spPr>
          <a:xfrm>
            <a:off x="2737303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브렉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209" name="모서리가 둥근 직사각형 167">
            <a:extLst>
              <a:ext uri="{FF2B5EF4-FFF2-40B4-BE49-F238E27FC236}">
                <a16:creationId xmlns:a16="http://schemas.microsoft.com/office/drawing/2014/main" id="{921B6562-883B-9B54-1D82-7FDAE0ADC499}"/>
              </a:ext>
            </a:extLst>
          </p:cNvPr>
          <p:cNvSpPr/>
          <p:nvPr/>
        </p:nvSpPr>
        <p:spPr>
          <a:xfrm>
            <a:off x="3782242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지에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210" name="모서리가 둥근 직사각형 167">
            <a:extLst>
              <a:ext uri="{FF2B5EF4-FFF2-40B4-BE49-F238E27FC236}">
                <a16:creationId xmlns:a16="http://schemas.microsoft.com/office/drawing/2014/main" id="{AF4C87DC-3DE4-FDD7-AB02-88570E3E42E3}"/>
              </a:ext>
            </a:extLst>
          </p:cNvPr>
          <p:cNvSpPr/>
          <p:nvPr/>
        </p:nvSpPr>
        <p:spPr>
          <a:xfrm>
            <a:off x="4829693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구로발게임즈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211" name="모서리가 둥근 직사각형 167">
            <a:extLst>
              <a:ext uri="{FF2B5EF4-FFF2-40B4-BE49-F238E27FC236}">
                <a16:creationId xmlns:a16="http://schemas.microsoft.com/office/drawing/2014/main" id="{EF80125B-5CBC-9977-1874-8F0FFE6A397B}"/>
              </a:ext>
            </a:extLst>
          </p:cNvPr>
          <p:cNvSpPr/>
          <p:nvPr/>
        </p:nvSpPr>
        <p:spPr>
          <a:xfrm>
            <a:off x="5868318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코웨이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cxnSp>
        <p:nvCxnSpPr>
          <p:cNvPr id="213" name="직선 화살표 연결선 212">
            <a:extLst>
              <a:ext uri="{FF2B5EF4-FFF2-40B4-BE49-F238E27FC236}">
                <a16:creationId xmlns:a16="http://schemas.microsoft.com/office/drawing/2014/main" id="{8E07E467-DB04-2286-3277-F1F250062DF1}"/>
              </a:ext>
            </a:extLst>
          </p:cNvPr>
          <p:cNvCxnSpPr>
            <a:cxnSpLocks/>
          </p:cNvCxnSpPr>
          <p:nvPr/>
        </p:nvCxnSpPr>
        <p:spPr>
          <a:xfrm flipH="1">
            <a:off x="1155297" y="4693236"/>
            <a:ext cx="5191184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직선 화살표 연결선 213">
            <a:extLst>
              <a:ext uri="{FF2B5EF4-FFF2-40B4-BE49-F238E27FC236}">
                <a16:creationId xmlns:a16="http://schemas.microsoft.com/office/drawing/2014/main" id="{91118EB7-070D-89F1-1F79-86587FDAE985}"/>
              </a:ext>
            </a:extLst>
          </p:cNvPr>
          <p:cNvCxnSpPr>
            <a:cxnSpLocks/>
          </p:cNvCxnSpPr>
          <p:nvPr/>
        </p:nvCxnSpPr>
        <p:spPr>
          <a:xfrm>
            <a:off x="4299017" y="4692882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직선 화살표 연결선 214">
            <a:extLst>
              <a:ext uri="{FF2B5EF4-FFF2-40B4-BE49-F238E27FC236}">
                <a16:creationId xmlns:a16="http://schemas.microsoft.com/office/drawing/2014/main" id="{FF05DA09-AF35-9B16-3FB8-91CAE1BF7E99}"/>
              </a:ext>
            </a:extLst>
          </p:cNvPr>
          <p:cNvCxnSpPr>
            <a:cxnSpLocks/>
          </p:cNvCxnSpPr>
          <p:nvPr/>
        </p:nvCxnSpPr>
        <p:spPr>
          <a:xfrm>
            <a:off x="5322548" y="4693235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직선 화살표 연결선 215">
            <a:extLst>
              <a:ext uri="{FF2B5EF4-FFF2-40B4-BE49-F238E27FC236}">
                <a16:creationId xmlns:a16="http://schemas.microsoft.com/office/drawing/2014/main" id="{A955821F-DEF9-265F-9B32-6B1EC2564B40}"/>
              </a:ext>
            </a:extLst>
          </p:cNvPr>
          <p:cNvCxnSpPr>
            <a:cxnSpLocks/>
          </p:cNvCxnSpPr>
          <p:nvPr/>
        </p:nvCxnSpPr>
        <p:spPr>
          <a:xfrm>
            <a:off x="6346481" y="4692881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직선 화살표 연결선 216">
            <a:extLst>
              <a:ext uri="{FF2B5EF4-FFF2-40B4-BE49-F238E27FC236}">
                <a16:creationId xmlns:a16="http://schemas.microsoft.com/office/drawing/2014/main" id="{5FBB2FEB-BCC0-D3B2-C938-17813BDBDDEC}"/>
              </a:ext>
            </a:extLst>
          </p:cNvPr>
          <p:cNvCxnSpPr>
            <a:cxnSpLocks/>
          </p:cNvCxnSpPr>
          <p:nvPr/>
        </p:nvCxnSpPr>
        <p:spPr>
          <a:xfrm>
            <a:off x="3233225" y="468970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타원 217">
            <a:extLst>
              <a:ext uri="{FF2B5EF4-FFF2-40B4-BE49-F238E27FC236}">
                <a16:creationId xmlns:a16="http://schemas.microsoft.com/office/drawing/2014/main" id="{A45D8045-58A0-2E2F-FBD6-263DA358F5CE}"/>
              </a:ext>
            </a:extLst>
          </p:cNvPr>
          <p:cNvSpPr/>
          <p:nvPr/>
        </p:nvSpPr>
        <p:spPr>
          <a:xfrm>
            <a:off x="2947682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9" name="타원 218">
            <a:extLst>
              <a:ext uri="{FF2B5EF4-FFF2-40B4-BE49-F238E27FC236}">
                <a16:creationId xmlns:a16="http://schemas.microsoft.com/office/drawing/2014/main" id="{C68454AB-741E-AE53-76CC-91D26551A31E}"/>
              </a:ext>
            </a:extLst>
          </p:cNvPr>
          <p:cNvSpPr/>
          <p:nvPr/>
        </p:nvSpPr>
        <p:spPr>
          <a:xfrm>
            <a:off x="4023530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20" name="타원 219">
            <a:extLst>
              <a:ext uri="{FF2B5EF4-FFF2-40B4-BE49-F238E27FC236}">
                <a16:creationId xmlns:a16="http://schemas.microsoft.com/office/drawing/2014/main" id="{ADA92670-931A-7A8F-0B38-860C57138056}"/>
              </a:ext>
            </a:extLst>
          </p:cNvPr>
          <p:cNvSpPr/>
          <p:nvPr/>
        </p:nvSpPr>
        <p:spPr>
          <a:xfrm>
            <a:off x="5047140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9.4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21" name="타원 220">
            <a:extLst>
              <a:ext uri="{FF2B5EF4-FFF2-40B4-BE49-F238E27FC236}">
                <a16:creationId xmlns:a16="http://schemas.microsoft.com/office/drawing/2014/main" id="{36698EA3-A484-57CE-2833-B8417B50990B}"/>
              </a:ext>
            </a:extLst>
          </p:cNvPr>
          <p:cNvSpPr/>
          <p:nvPr/>
        </p:nvSpPr>
        <p:spPr>
          <a:xfrm>
            <a:off x="6057595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5.1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24" name="직선 화살표 연결선 223">
            <a:extLst>
              <a:ext uri="{FF2B5EF4-FFF2-40B4-BE49-F238E27FC236}">
                <a16:creationId xmlns:a16="http://schemas.microsoft.com/office/drawing/2014/main" id="{C7E168AF-F329-46C5-775E-36BB868224B2}"/>
              </a:ext>
            </a:extLst>
          </p:cNvPr>
          <p:cNvCxnSpPr>
            <a:cxnSpLocks/>
          </p:cNvCxnSpPr>
          <p:nvPr/>
        </p:nvCxnSpPr>
        <p:spPr>
          <a:xfrm>
            <a:off x="1155297" y="4692881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타원 224">
            <a:extLst>
              <a:ext uri="{FF2B5EF4-FFF2-40B4-BE49-F238E27FC236}">
                <a16:creationId xmlns:a16="http://schemas.microsoft.com/office/drawing/2014/main" id="{48558AA8-6D50-7896-D482-1E1C6D999992}"/>
              </a:ext>
            </a:extLst>
          </p:cNvPr>
          <p:cNvSpPr/>
          <p:nvPr/>
        </p:nvSpPr>
        <p:spPr>
          <a:xfrm>
            <a:off x="866411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0.7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26" name="직선 화살표 연결선 225">
            <a:extLst>
              <a:ext uri="{FF2B5EF4-FFF2-40B4-BE49-F238E27FC236}">
                <a16:creationId xmlns:a16="http://schemas.microsoft.com/office/drawing/2014/main" id="{478570C4-B22C-5E4C-DBCF-8218419B9E06}"/>
              </a:ext>
            </a:extLst>
          </p:cNvPr>
          <p:cNvCxnSpPr>
            <a:cxnSpLocks/>
          </p:cNvCxnSpPr>
          <p:nvPr/>
        </p:nvCxnSpPr>
        <p:spPr>
          <a:xfrm>
            <a:off x="2190749" y="468970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타원 226">
            <a:extLst>
              <a:ext uri="{FF2B5EF4-FFF2-40B4-BE49-F238E27FC236}">
                <a16:creationId xmlns:a16="http://schemas.microsoft.com/office/drawing/2014/main" id="{06860E3E-6F10-E7F4-9250-A7169FA3B0E8}"/>
              </a:ext>
            </a:extLst>
          </p:cNvPr>
          <p:cNvSpPr/>
          <p:nvPr/>
        </p:nvSpPr>
        <p:spPr>
          <a:xfrm>
            <a:off x="1905206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2.1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0" name="모서리가 둥근 직사각형 167">
            <a:extLst>
              <a:ext uri="{FF2B5EF4-FFF2-40B4-BE49-F238E27FC236}">
                <a16:creationId xmlns:a16="http://schemas.microsoft.com/office/drawing/2014/main" id="{8C652F34-1052-E905-3F13-4712B1F251BC}"/>
              </a:ext>
            </a:extLst>
          </p:cNvPr>
          <p:cNvSpPr/>
          <p:nvPr/>
        </p:nvSpPr>
        <p:spPr>
          <a:xfrm>
            <a:off x="7530497" y="4254373"/>
            <a:ext cx="1008000" cy="360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키링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51" name="직선 화살표 연결선 250">
            <a:extLst>
              <a:ext uri="{FF2B5EF4-FFF2-40B4-BE49-F238E27FC236}">
                <a16:creationId xmlns:a16="http://schemas.microsoft.com/office/drawing/2014/main" id="{ED919B01-AF86-32EA-94C3-B77AB1E5DA07}"/>
              </a:ext>
            </a:extLst>
          </p:cNvPr>
          <p:cNvCxnSpPr>
            <a:cxnSpLocks/>
          </p:cNvCxnSpPr>
          <p:nvPr/>
        </p:nvCxnSpPr>
        <p:spPr>
          <a:xfrm>
            <a:off x="8034497" y="3755528"/>
            <a:ext cx="0" cy="48387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타원 247">
            <a:extLst>
              <a:ext uri="{FF2B5EF4-FFF2-40B4-BE49-F238E27FC236}">
                <a16:creationId xmlns:a16="http://schemas.microsoft.com/office/drawing/2014/main" id="{86B8CE38-0C70-46F0-CB03-63B3AAACA0CC}"/>
              </a:ext>
            </a:extLst>
          </p:cNvPr>
          <p:cNvSpPr/>
          <p:nvPr/>
        </p:nvSpPr>
        <p:spPr>
          <a:xfrm>
            <a:off x="7759997" y="396650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5.5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53" name="직선 화살표 연결선 252">
            <a:extLst>
              <a:ext uri="{FF2B5EF4-FFF2-40B4-BE49-F238E27FC236}">
                <a16:creationId xmlns:a16="http://schemas.microsoft.com/office/drawing/2014/main" id="{3CEA3026-A1AF-A3F1-E5E6-0AEB8F6B0CCC}"/>
              </a:ext>
            </a:extLst>
          </p:cNvPr>
          <p:cNvCxnSpPr>
            <a:cxnSpLocks/>
          </p:cNvCxnSpPr>
          <p:nvPr/>
        </p:nvCxnSpPr>
        <p:spPr>
          <a:xfrm flipH="1">
            <a:off x="7186479" y="3755528"/>
            <a:ext cx="379009" cy="43447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타원 249">
            <a:extLst>
              <a:ext uri="{FF2B5EF4-FFF2-40B4-BE49-F238E27FC236}">
                <a16:creationId xmlns:a16="http://schemas.microsoft.com/office/drawing/2014/main" id="{9A89BA6D-D48E-A7B8-0787-93A6CC5A0EB5}"/>
              </a:ext>
            </a:extLst>
          </p:cNvPr>
          <p:cNvSpPr/>
          <p:nvPr/>
        </p:nvSpPr>
        <p:spPr>
          <a:xfrm>
            <a:off x="7321970" y="3788431"/>
            <a:ext cx="468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55" name="직선 화살표 연결선 254">
            <a:extLst>
              <a:ext uri="{FF2B5EF4-FFF2-40B4-BE49-F238E27FC236}">
                <a16:creationId xmlns:a16="http://schemas.microsoft.com/office/drawing/2014/main" id="{548F11B7-CECC-B68C-AC33-10617E52B75D}"/>
              </a:ext>
            </a:extLst>
          </p:cNvPr>
          <p:cNvCxnSpPr>
            <a:cxnSpLocks/>
          </p:cNvCxnSpPr>
          <p:nvPr/>
        </p:nvCxnSpPr>
        <p:spPr>
          <a:xfrm>
            <a:off x="7054850" y="3757218"/>
            <a:ext cx="0" cy="43278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타원 248">
            <a:extLst>
              <a:ext uri="{FF2B5EF4-FFF2-40B4-BE49-F238E27FC236}">
                <a16:creationId xmlns:a16="http://schemas.microsoft.com/office/drawing/2014/main" id="{9813AE1A-B368-075F-63A4-743FF00C59FF}"/>
              </a:ext>
            </a:extLst>
          </p:cNvPr>
          <p:cNvSpPr/>
          <p:nvPr/>
        </p:nvSpPr>
        <p:spPr>
          <a:xfrm>
            <a:off x="6829942" y="3784300"/>
            <a:ext cx="468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5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59" name="직선 화살표 연결선 258">
            <a:extLst>
              <a:ext uri="{FF2B5EF4-FFF2-40B4-BE49-F238E27FC236}">
                <a16:creationId xmlns:a16="http://schemas.microsoft.com/office/drawing/2014/main" id="{45BFA0AA-AD08-D070-F8A2-4CD9C39F54E1}"/>
              </a:ext>
            </a:extLst>
          </p:cNvPr>
          <p:cNvCxnSpPr>
            <a:cxnSpLocks/>
          </p:cNvCxnSpPr>
          <p:nvPr/>
        </p:nvCxnSpPr>
        <p:spPr>
          <a:xfrm flipH="1">
            <a:off x="6876318" y="5244679"/>
            <a:ext cx="1950182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직선 화살표 연결선 261">
            <a:extLst>
              <a:ext uri="{FF2B5EF4-FFF2-40B4-BE49-F238E27FC236}">
                <a16:creationId xmlns:a16="http://schemas.microsoft.com/office/drawing/2014/main" id="{F3C2B1D8-DE5A-96AD-D4B8-A03E462ED4BD}"/>
              </a:ext>
            </a:extLst>
          </p:cNvPr>
          <p:cNvCxnSpPr>
            <a:cxnSpLocks/>
          </p:cNvCxnSpPr>
          <p:nvPr/>
        </p:nvCxnSpPr>
        <p:spPr>
          <a:xfrm>
            <a:off x="8826500" y="2662962"/>
            <a:ext cx="0" cy="2579652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직선 화살표 연결선 265">
            <a:extLst>
              <a:ext uri="{FF2B5EF4-FFF2-40B4-BE49-F238E27FC236}">
                <a16:creationId xmlns:a16="http://schemas.microsoft.com/office/drawing/2014/main" id="{928D6C99-7A61-D0D0-D427-F97AA0263AE7}"/>
              </a:ext>
            </a:extLst>
          </p:cNvPr>
          <p:cNvCxnSpPr>
            <a:cxnSpLocks/>
            <a:endCxn id="91" idx="3"/>
          </p:cNvCxnSpPr>
          <p:nvPr/>
        </p:nvCxnSpPr>
        <p:spPr>
          <a:xfrm flipH="1">
            <a:off x="7428519" y="2663232"/>
            <a:ext cx="1397981" cy="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타원 270">
            <a:extLst>
              <a:ext uri="{FF2B5EF4-FFF2-40B4-BE49-F238E27FC236}">
                <a16:creationId xmlns:a16="http://schemas.microsoft.com/office/drawing/2014/main" id="{9B07980A-B483-6E92-41DE-59707B260981}"/>
              </a:ext>
            </a:extLst>
          </p:cNvPr>
          <p:cNvSpPr/>
          <p:nvPr/>
        </p:nvSpPr>
        <p:spPr>
          <a:xfrm>
            <a:off x="7620521" y="2572669"/>
            <a:ext cx="576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1.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72" name="직선 화살표 연결선 271">
            <a:extLst>
              <a:ext uri="{FF2B5EF4-FFF2-40B4-BE49-F238E27FC236}">
                <a16:creationId xmlns:a16="http://schemas.microsoft.com/office/drawing/2014/main" id="{4E38C5B3-72C4-9FF1-16DB-8A368EA64457}"/>
              </a:ext>
            </a:extLst>
          </p:cNvPr>
          <p:cNvCxnSpPr>
            <a:cxnSpLocks/>
          </p:cNvCxnSpPr>
          <p:nvPr/>
        </p:nvCxnSpPr>
        <p:spPr>
          <a:xfrm>
            <a:off x="722893" y="4568886"/>
            <a:ext cx="0" cy="48387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타원 232">
            <a:extLst>
              <a:ext uri="{FF2B5EF4-FFF2-40B4-BE49-F238E27FC236}">
                <a16:creationId xmlns:a16="http://schemas.microsoft.com/office/drawing/2014/main" id="{82109AF7-BE1B-7DED-CA20-1FA8053F8244}"/>
              </a:ext>
            </a:extLst>
          </p:cNvPr>
          <p:cNvSpPr/>
          <p:nvPr/>
        </p:nvSpPr>
        <p:spPr>
          <a:xfrm>
            <a:off x="470893" y="465898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.5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273" name="직선 화살표 연결선 272">
            <a:extLst>
              <a:ext uri="{FF2B5EF4-FFF2-40B4-BE49-F238E27FC236}">
                <a16:creationId xmlns:a16="http://schemas.microsoft.com/office/drawing/2014/main" id="{FCCC3AAC-2E37-D946-AB3D-D82D04C9D2C3}"/>
              </a:ext>
            </a:extLst>
          </p:cNvPr>
          <p:cNvCxnSpPr>
            <a:cxnSpLocks/>
          </p:cNvCxnSpPr>
          <p:nvPr/>
        </p:nvCxnSpPr>
        <p:spPr>
          <a:xfrm>
            <a:off x="3195107" y="5512755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직선 화살표 연결선 273">
            <a:extLst>
              <a:ext uri="{FF2B5EF4-FFF2-40B4-BE49-F238E27FC236}">
                <a16:creationId xmlns:a16="http://schemas.microsoft.com/office/drawing/2014/main" id="{6D546895-8964-DB83-A4E7-7283680F926D}"/>
              </a:ext>
            </a:extLst>
          </p:cNvPr>
          <p:cNvCxnSpPr>
            <a:cxnSpLocks/>
          </p:cNvCxnSpPr>
          <p:nvPr/>
        </p:nvCxnSpPr>
        <p:spPr>
          <a:xfrm>
            <a:off x="2164297" y="5424679"/>
            <a:ext cx="0" cy="324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직선 화살표 연결선 276">
            <a:extLst>
              <a:ext uri="{FF2B5EF4-FFF2-40B4-BE49-F238E27FC236}">
                <a16:creationId xmlns:a16="http://schemas.microsoft.com/office/drawing/2014/main" id="{EBAE7D6F-CF7F-52C5-F48F-500EB8743537}"/>
              </a:ext>
            </a:extLst>
          </p:cNvPr>
          <p:cNvCxnSpPr>
            <a:cxnSpLocks/>
          </p:cNvCxnSpPr>
          <p:nvPr/>
        </p:nvCxnSpPr>
        <p:spPr>
          <a:xfrm>
            <a:off x="1133982" y="5515931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직선 화살표 연결선 280">
            <a:extLst>
              <a:ext uri="{FF2B5EF4-FFF2-40B4-BE49-F238E27FC236}">
                <a16:creationId xmlns:a16="http://schemas.microsoft.com/office/drawing/2014/main" id="{D8D087AA-CD47-B26B-5DD8-FC099AB0034D}"/>
              </a:ext>
            </a:extLst>
          </p:cNvPr>
          <p:cNvCxnSpPr>
            <a:cxnSpLocks/>
          </p:cNvCxnSpPr>
          <p:nvPr/>
        </p:nvCxnSpPr>
        <p:spPr>
          <a:xfrm>
            <a:off x="1133982" y="5512756"/>
            <a:ext cx="2061125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모서리가 둥근 직사각형 167">
            <a:extLst>
              <a:ext uri="{FF2B5EF4-FFF2-40B4-BE49-F238E27FC236}">
                <a16:creationId xmlns:a16="http://schemas.microsoft.com/office/drawing/2014/main" id="{FCC95761-815F-1E36-D711-189C1DE0F3D6}"/>
              </a:ext>
            </a:extLst>
          </p:cNvPr>
          <p:cNvSpPr/>
          <p:nvPr/>
        </p:nvSpPr>
        <p:spPr>
          <a:xfrm>
            <a:off x="1712188" y="5716049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메타버스</a:t>
            </a:r>
            <a:br>
              <a:rPr kumimoji="0" lang="en-US" altLang="ko-KR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엔터테인먼트㈜</a:t>
            </a:r>
          </a:p>
        </p:txBody>
      </p:sp>
      <p:sp>
        <p:nvSpPr>
          <p:cNvPr id="288" name="모서리가 둥근 직사각형 167">
            <a:extLst>
              <a:ext uri="{FF2B5EF4-FFF2-40B4-BE49-F238E27FC236}">
                <a16:creationId xmlns:a16="http://schemas.microsoft.com/office/drawing/2014/main" id="{1692809F-29D2-AA83-FE72-9CB506B6CA9B}"/>
              </a:ext>
            </a:extLst>
          </p:cNvPr>
          <p:cNvSpPr/>
          <p:nvPr/>
        </p:nvSpPr>
        <p:spPr>
          <a:xfrm>
            <a:off x="2735193" y="5716049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메타버스월드㈜</a:t>
            </a:r>
          </a:p>
        </p:txBody>
      </p:sp>
      <p:sp>
        <p:nvSpPr>
          <p:cNvPr id="289" name="모서리가 둥근 직사각형 167">
            <a:extLst>
              <a:ext uri="{FF2B5EF4-FFF2-40B4-BE49-F238E27FC236}">
                <a16:creationId xmlns:a16="http://schemas.microsoft.com/office/drawing/2014/main" id="{06E8D24A-9E5C-33D0-413A-FE36ECF6B75B}"/>
              </a:ext>
            </a:extLst>
          </p:cNvPr>
          <p:cNvSpPr/>
          <p:nvPr/>
        </p:nvSpPr>
        <p:spPr>
          <a:xfrm>
            <a:off x="691292" y="5716049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튜디오그리고</a:t>
            </a: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E22F614F-84C5-B39B-6210-EBC23096716A}"/>
              </a:ext>
            </a:extLst>
          </p:cNvPr>
          <p:cNvSpPr/>
          <p:nvPr/>
        </p:nvSpPr>
        <p:spPr>
          <a:xfrm>
            <a:off x="915806" y="553472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0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02" name="타원 301">
            <a:extLst>
              <a:ext uri="{FF2B5EF4-FFF2-40B4-BE49-F238E27FC236}">
                <a16:creationId xmlns:a16="http://schemas.microsoft.com/office/drawing/2014/main" id="{42881153-89F8-BA08-5E14-A39E2C7D3A27}"/>
              </a:ext>
            </a:extLst>
          </p:cNvPr>
          <p:cNvSpPr/>
          <p:nvPr/>
        </p:nvSpPr>
        <p:spPr>
          <a:xfrm>
            <a:off x="1923904" y="553472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9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03" name="타원 302">
            <a:extLst>
              <a:ext uri="{FF2B5EF4-FFF2-40B4-BE49-F238E27FC236}">
                <a16:creationId xmlns:a16="http://schemas.microsoft.com/office/drawing/2014/main" id="{02CCBD88-71DA-CE49-A56F-A721EFE98184}"/>
              </a:ext>
            </a:extLst>
          </p:cNvPr>
          <p:cNvSpPr/>
          <p:nvPr/>
        </p:nvSpPr>
        <p:spPr>
          <a:xfrm>
            <a:off x="2942612" y="5538437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1%</a:t>
            </a:r>
            <a:endParaRPr lang="ko-KR" altLang="en-US" sz="8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04" name="직선 화살표 연결선 303">
            <a:extLst>
              <a:ext uri="{FF2B5EF4-FFF2-40B4-BE49-F238E27FC236}">
                <a16:creationId xmlns:a16="http://schemas.microsoft.com/office/drawing/2014/main" id="{DA76FFD2-438C-AA89-0730-D74A6C47E87B}"/>
              </a:ext>
            </a:extLst>
          </p:cNvPr>
          <p:cNvCxnSpPr>
            <a:cxnSpLocks/>
          </p:cNvCxnSpPr>
          <p:nvPr/>
        </p:nvCxnSpPr>
        <p:spPr>
          <a:xfrm>
            <a:off x="6865508" y="5512755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직선 화살표 연결선 304">
            <a:extLst>
              <a:ext uri="{FF2B5EF4-FFF2-40B4-BE49-F238E27FC236}">
                <a16:creationId xmlns:a16="http://schemas.microsoft.com/office/drawing/2014/main" id="{5FF99512-49ED-FE70-CBCD-A73890E79A9B}"/>
              </a:ext>
            </a:extLst>
          </p:cNvPr>
          <p:cNvCxnSpPr>
            <a:cxnSpLocks/>
          </p:cNvCxnSpPr>
          <p:nvPr/>
        </p:nvCxnSpPr>
        <p:spPr>
          <a:xfrm>
            <a:off x="5837693" y="5515931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직선 화살표 연결선 305">
            <a:extLst>
              <a:ext uri="{FF2B5EF4-FFF2-40B4-BE49-F238E27FC236}">
                <a16:creationId xmlns:a16="http://schemas.microsoft.com/office/drawing/2014/main" id="{8861AA63-858E-CE53-80BE-2CB671CF91AD}"/>
              </a:ext>
            </a:extLst>
          </p:cNvPr>
          <p:cNvCxnSpPr>
            <a:cxnSpLocks/>
          </p:cNvCxnSpPr>
          <p:nvPr/>
        </p:nvCxnSpPr>
        <p:spPr>
          <a:xfrm>
            <a:off x="5837693" y="5512756"/>
            <a:ext cx="1027815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모서리가 둥근 직사각형 167">
            <a:extLst>
              <a:ext uri="{FF2B5EF4-FFF2-40B4-BE49-F238E27FC236}">
                <a16:creationId xmlns:a16="http://schemas.microsoft.com/office/drawing/2014/main" id="{305D4EF4-8F51-C36F-7476-7D4F81D32693}"/>
              </a:ext>
            </a:extLst>
          </p:cNvPr>
          <p:cNvSpPr/>
          <p:nvPr/>
        </p:nvSpPr>
        <p:spPr>
          <a:xfrm>
            <a:off x="5382589" y="5716049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오베드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08" name="모서리가 둥근 직사각형 167">
            <a:extLst>
              <a:ext uri="{FF2B5EF4-FFF2-40B4-BE49-F238E27FC236}">
                <a16:creationId xmlns:a16="http://schemas.microsoft.com/office/drawing/2014/main" id="{E9F449D8-7C51-9CBC-FAAB-3C8167CD9CB1}"/>
              </a:ext>
            </a:extLst>
          </p:cNvPr>
          <p:cNvSpPr/>
          <p:nvPr/>
        </p:nvSpPr>
        <p:spPr>
          <a:xfrm>
            <a:off x="6405594" y="5716049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코웨이엔텍</a:t>
            </a: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311" name="타원 310">
            <a:extLst>
              <a:ext uri="{FF2B5EF4-FFF2-40B4-BE49-F238E27FC236}">
                <a16:creationId xmlns:a16="http://schemas.microsoft.com/office/drawing/2014/main" id="{C51F57ED-566E-56F0-5ECD-81E7F31AA111}"/>
              </a:ext>
            </a:extLst>
          </p:cNvPr>
          <p:cNvSpPr/>
          <p:nvPr/>
        </p:nvSpPr>
        <p:spPr>
          <a:xfrm>
            <a:off x="5594305" y="553472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7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2" name="타원 311">
            <a:extLst>
              <a:ext uri="{FF2B5EF4-FFF2-40B4-BE49-F238E27FC236}">
                <a16:creationId xmlns:a16="http://schemas.microsoft.com/office/drawing/2014/main" id="{B58162F4-DD33-8FA6-745A-C9215FDFC0EC}"/>
              </a:ext>
            </a:extLst>
          </p:cNvPr>
          <p:cNvSpPr/>
          <p:nvPr/>
        </p:nvSpPr>
        <p:spPr>
          <a:xfrm>
            <a:off x="6613013" y="5538437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7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14" name="직선 화살표 연결선 313">
            <a:extLst>
              <a:ext uri="{FF2B5EF4-FFF2-40B4-BE49-F238E27FC236}">
                <a16:creationId xmlns:a16="http://schemas.microsoft.com/office/drawing/2014/main" id="{495EF7FE-D6CA-C4C0-82B4-323C7DE92FA0}"/>
              </a:ext>
            </a:extLst>
          </p:cNvPr>
          <p:cNvCxnSpPr>
            <a:cxnSpLocks/>
          </p:cNvCxnSpPr>
          <p:nvPr/>
        </p:nvCxnSpPr>
        <p:spPr>
          <a:xfrm>
            <a:off x="6346481" y="5424679"/>
            <a:ext cx="0" cy="88076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직선 화살표 연결선 316">
            <a:extLst>
              <a:ext uri="{FF2B5EF4-FFF2-40B4-BE49-F238E27FC236}">
                <a16:creationId xmlns:a16="http://schemas.microsoft.com/office/drawing/2014/main" id="{068E650E-A8FF-58C5-1769-1D87BD1E6DC8}"/>
              </a:ext>
            </a:extLst>
          </p:cNvPr>
          <p:cNvCxnSpPr>
            <a:cxnSpLocks/>
          </p:cNvCxnSpPr>
          <p:nvPr/>
        </p:nvCxnSpPr>
        <p:spPr>
          <a:xfrm flipV="1">
            <a:off x="7295343" y="5744320"/>
            <a:ext cx="1072529" cy="9768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타원 317">
            <a:extLst>
              <a:ext uri="{FF2B5EF4-FFF2-40B4-BE49-F238E27FC236}">
                <a16:creationId xmlns:a16="http://schemas.microsoft.com/office/drawing/2014/main" id="{B88B0549-AA12-04DC-0B71-99BAEFE94B39}"/>
              </a:ext>
            </a:extLst>
          </p:cNvPr>
          <p:cNvSpPr/>
          <p:nvPr/>
        </p:nvSpPr>
        <p:spPr>
          <a:xfrm>
            <a:off x="7496797" y="5687772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7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20" name="직선 화살표 연결선 319">
            <a:extLst>
              <a:ext uri="{FF2B5EF4-FFF2-40B4-BE49-F238E27FC236}">
                <a16:creationId xmlns:a16="http://schemas.microsoft.com/office/drawing/2014/main" id="{F3E3A88E-E1BD-7B1D-953B-6E345D2665FB}"/>
              </a:ext>
            </a:extLst>
          </p:cNvPr>
          <p:cNvCxnSpPr>
            <a:cxnSpLocks/>
          </p:cNvCxnSpPr>
          <p:nvPr/>
        </p:nvCxnSpPr>
        <p:spPr>
          <a:xfrm flipV="1">
            <a:off x="7302015" y="5925088"/>
            <a:ext cx="1072529" cy="9768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타원 320">
            <a:extLst>
              <a:ext uri="{FF2B5EF4-FFF2-40B4-BE49-F238E27FC236}">
                <a16:creationId xmlns:a16="http://schemas.microsoft.com/office/drawing/2014/main" id="{04046CE8-082C-3346-D383-014BCAE93E5D}"/>
              </a:ext>
            </a:extLst>
          </p:cNvPr>
          <p:cNvSpPr/>
          <p:nvPr/>
        </p:nvSpPr>
        <p:spPr>
          <a:xfrm>
            <a:off x="7496797" y="5857039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0%</a:t>
            </a:r>
            <a:endParaRPr lang="ko-KR" altLang="en-US" sz="700" err="1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22" name="모서리가 둥근 직사각형 167">
            <a:extLst>
              <a:ext uri="{FF2B5EF4-FFF2-40B4-BE49-F238E27FC236}">
                <a16:creationId xmlns:a16="http://schemas.microsoft.com/office/drawing/2014/main" id="{02C91A1A-4B4E-92DF-8FFF-DECF151FE38C}"/>
              </a:ext>
            </a:extLst>
          </p:cNvPr>
          <p:cNvSpPr/>
          <p:nvPr/>
        </p:nvSpPr>
        <p:spPr>
          <a:xfrm>
            <a:off x="8376500" y="5659878"/>
            <a:ext cx="900000" cy="168884"/>
          </a:xfrm>
          <a:prstGeom prst="roundRect">
            <a:avLst>
              <a:gd name="adj" fmla="val 0"/>
            </a:avLst>
          </a:prstGeom>
          <a:solidFill>
            <a:srgbClr val="D3E3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추홀맑은물</a:t>
            </a: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323" name="모서리가 둥근 직사각형 167">
            <a:extLst>
              <a:ext uri="{FF2B5EF4-FFF2-40B4-BE49-F238E27FC236}">
                <a16:creationId xmlns:a16="http://schemas.microsoft.com/office/drawing/2014/main" id="{E544DB12-B528-0FEC-97AE-1B59BA7A4D1B}"/>
              </a:ext>
            </a:extLst>
          </p:cNvPr>
          <p:cNvSpPr/>
          <p:nvPr/>
        </p:nvSpPr>
        <p:spPr>
          <a:xfrm>
            <a:off x="8376500" y="5848649"/>
            <a:ext cx="900000" cy="168884"/>
          </a:xfrm>
          <a:prstGeom prst="roundRect">
            <a:avLst>
              <a:gd name="adj" fmla="val 0"/>
            </a:avLst>
          </a:prstGeom>
          <a:solidFill>
            <a:srgbClr val="D3E3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천맑은물</a:t>
            </a: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3147209770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0FD1D5E-BF4E-5FDF-DB6B-3DD40A0FC492}"/>
              </a:ext>
            </a:extLst>
          </p:cNvPr>
          <p:cNvCxnSpPr>
            <a:cxnSpLocks/>
          </p:cNvCxnSpPr>
          <p:nvPr/>
        </p:nvCxnSpPr>
        <p:spPr>
          <a:xfrm>
            <a:off x="2805594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96AB30BB-E90D-337F-CACF-29B2F70D638E}"/>
              </a:ext>
            </a:extLst>
          </p:cNvPr>
          <p:cNvSpPr/>
          <p:nvPr/>
        </p:nvSpPr>
        <p:spPr>
          <a:xfrm>
            <a:off x="4450131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케이홀딩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90E004C-8AEE-CAFE-60F3-E26D87A6A087}"/>
              </a:ext>
            </a:extLst>
          </p:cNvPr>
          <p:cNvCxnSpPr>
            <a:cxnSpLocks/>
          </p:cNvCxnSpPr>
          <p:nvPr/>
        </p:nvCxnSpPr>
        <p:spPr>
          <a:xfrm flipH="1">
            <a:off x="1472064" y="2214764"/>
            <a:ext cx="7101925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8DB37D4-213D-EDBA-DF2C-5C8134AE0A6B}"/>
              </a:ext>
            </a:extLst>
          </p:cNvPr>
          <p:cNvCxnSpPr>
            <a:cxnSpLocks/>
          </p:cNvCxnSpPr>
          <p:nvPr/>
        </p:nvCxnSpPr>
        <p:spPr>
          <a:xfrm>
            <a:off x="4180898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6DA89548-4077-F7B7-F4FF-0F6EA692D728}"/>
              </a:ext>
            </a:extLst>
          </p:cNvPr>
          <p:cNvCxnSpPr>
            <a:cxnSpLocks/>
          </p:cNvCxnSpPr>
          <p:nvPr/>
        </p:nvCxnSpPr>
        <p:spPr>
          <a:xfrm>
            <a:off x="1472064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5CF756E9-084E-095F-A101-7C1CDA47D40F}"/>
              </a:ext>
            </a:extLst>
          </p:cNvPr>
          <p:cNvSpPr/>
          <p:nvPr/>
        </p:nvSpPr>
        <p:spPr>
          <a:xfrm>
            <a:off x="1185632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2.2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270B63B1-3D18-E312-DD25-D54F16B0247A}"/>
              </a:ext>
            </a:extLst>
          </p:cNvPr>
          <p:cNvSpPr/>
          <p:nvPr/>
        </p:nvSpPr>
        <p:spPr>
          <a:xfrm>
            <a:off x="2515047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.0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D2C920EF-54B3-1973-C1C3-0D19AF77FF3E}"/>
              </a:ext>
            </a:extLst>
          </p:cNvPr>
          <p:cNvSpPr/>
          <p:nvPr/>
        </p:nvSpPr>
        <p:spPr>
          <a:xfrm>
            <a:off x="3886236" y="236670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5.1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51EBC106-0948-23CE-CD6A-D16AAF07732F}"/>
              </a:ext>
            </a:extLst>
          </p:cNvPr>
          <p:cNvSpPr/>
          <p:nvPr/>
        </p:nvSpPr>
        <p:spPr>
          <a:xfrm>
            <a:off x="3676898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산업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D80FB0BA-6BBF-A1BE-FF9B-7617F044DD72}"/>
              </a:ext>
            </a:extLst>
          </p:cNvPr>
          <p:cNvSpPr/>
          <p:nvPr/>
        </p:nvSpPr>
        <p:spPr>
          <a:xfrm>
            <a:off x="968064" y="27250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케미칼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83544130-3C77-4955-5E8C-4D3B584273C6}"/>
              </a:ext>
            </a:extLst>
          </p:cNvPr>
          <p:cNvSpPr/>
          <p:nvPr/>
        </p:nvSpPr>
        <p:spPr>
          <a:xfrm>
            <a:off x="2301594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케이아이에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AF3326DB-B393-81C8-7F50-D619B66FDEA5}"/>
              </a:ext>
            </a:extLst>
          </p:cNvPr>
          <p:cNvCxnSpPr>
            <a:cxnSpLocks/>
          </p:cNvCxnSpPr>
          <p:nvPr/>
        </p:nvCxnSpPr>
        <p:spPr>
          <a:xfrm>
            <a:off x="5657070" y="221490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타원 7">
            <a:extLst>
              <a:ext uri="{FF2B5EF4-FFF2-40B4-BE49-F238E27FC236}">
                <a16:creationId xmlns:a16="http://schemas.microsoft.com/office/drawing/2014/main" id="{31CA8706-9177-2328-D59D-53440819BD79}"/>
              </a:ext>
            </a:extLst>
          </p:cNvPr>
          <p:cNvSpPr/>
          <p:nvPr/>
        </p:nvSpPr>
        <p:spPr>
          <a:xfrm>
            <a:off x="5362408" y="236683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.6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" name="모서리가 둥근 직사각형 167">
            <a:extLst>
              <a:ext uri="{FF2B5EF4-FFF2-40B4-BE49-F238E27FC236}">
                <a16:creationId xmlns:a16="http://schemas.microsoft.com/office/drawing/2014/main" id="{52FDE01B-2F58-1609-78A9-744E297722A2}"/>
              </a:ext>
            </a:extLst>
          </p:cNvPr>
          <p:cNvSpPr/>
          <p:nvPr/>
        </p:nvSpPr>
        <p:spPr>
          <a:xfrm>
            <a:off x="5153070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주항공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45FDFD9-56BF-77A9-043D-3E8E4DC1E50D}"/>
              </a:ext>
            </a:extLst>
          </p:cNvPr>
          <p:cNvCxnSpPr>
            <a:cxnSpLocks/>
          </p:cNvCxnSpPr>
          <p:nvPr/>
        </p:nvCxnSpPr>
        <p:spPr>
          <a:xfrm>
            <a:off x="7098599" y="221490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타원 10">
            <a:extLst>
              <a:ext uri="{FF2B5EF4-FFF2-40B4-BE49-F238E27FC236}">
                <a16:creationId xmlns:a16="http://schemas.microsoft.com/office/drawing/2014/main" id="{2D8B7B5D-07C2-8E6F-9820-9E202B06F7A9}"/>
              </a:ext>
            </a:extLst>
          </p:cNvPr>
          <p:cNvSpPr/>
          <p:nvPr/>
        </p:nvSpPr>
        <p:spPr>
          <a:xfrm>
            <a:off x="6803937" y="236683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.6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" name="모서리가 둥근 직사각형 167">
            <a:extLst>
              <a:ext uri="{FF2B5EF4-FFF2-40B4-BE49-F238E27FC236}">
                <a16:creationId xmlns:a16="http://schemas.microsoft.com/office/drawing/2014/main" id="{CE76DF49-3EC5-E65A-7DB5-7440D12F40F5}"/>
              </a:ext>
            </a:extLst>
          </p:cNvPr>
          <p:cNvSpPr/>
          <p:nvPr/>
        </p:nvSpPr>
        <p:spPr>
          <a:xfrm>
            <a:off x="6594599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케이에스앤디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C1E2FFDB-4337-8D8A-736C-C6AE29917677}"/>
              </a:ext>
            </a:extLst>
          </p:cNvPr>
          <p:cNvCxnSpPr>
            <a:cxnSpLocks/>
          </p:cNvCxnSpPr>
          <p:nvPr/>
        </p:nvCxnSpPr>
        <p:spPr>
          <a:xfrm>
            <a:off x="8573989" y="221449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타원 13">
            <a:extLst>
              <a:ext uri="{FF2B5EF4-FFF2-40B4-BE49-F238E27FC236}">
                <a16:creationId xmlns:a16="http://schemas.microsoft.com/office/drawing/2014/main" id="{690C53C3-607D-48B9-EB4F-269DBE88FA25}"/>
              </a:ext>
            </a:extLst>
          </p:cNvPr>
          <p:cNvSpPr/>
          <p:nvPr/>
        </p:nvSpPr>
        <p:spPr>
          <a:xfrm>
            <a:off x="8279327" y="236643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.6%</a:t>
            </a:r>
            <a:endParaRPr lang="ko-KR" altLang="en-US" sz="800" err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FE39BFF0-A340-3EF7-4EDB-A8299F08084C}"/>
              </a:ext>
            </a:extLst>
          </p:cNvPr>
          <p:cNvSpPr/>
          <p:nvPr/>
        </p:nvSpPr>
        <p:spPr>
          <a:xfrm>
            <a:off x="8069989" y="27250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엠플러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자산개발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44898F7B-8C49-7730-D852-1AE47202E337}"/>
              </a:ext>
            </a:extLst>
          </p:cNvPr>
          <p:cNvCxnSpPr>
            <a:cxnSpLocks/>
          </p:cNvCxnSpPr>
          <p:nvPr/>
        </p:nvCxnSpPr>
        <p:spPr>
          <a:xfrm>
            <a:off x="1765550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>
            <a:extLst>
              <a:ext uri="{FF2B5EF4-FFF2-40B4-BE49-F238E27FC236}">
                <a16:creationId xmlns:a16="http://schemas.microsoft.com/office/drawing/2014/main" id="{F2D73734-8486-076A-20B3-54FB99F3E8EB}"/>
              </a:ext>
            </a:extLst>
          </p:cNvPr>
          <p:cNvSpPr/>
          <p:nvPr/>
        </p:nvSpPr>
        <p:spPr>
          <a:xfrm>
            <a:off x="1473377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0.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" name="모서리가 둥근 직사각형 167">
            <a:extLst>
              <a:ext uri="{FF2B5EF4-FFF2-40B4-BE49-F238E27FC236}">
                <a16:creationId xmlns:a16="http://schemas.microsoft.com/office/drawing/2014/main" id="{036D5440-7A8F-3B4F-DFD5-77C7368914D5}"/>
              </a:ext>
            </a:extLst>
          </p:cNvPr>
          <p:cNvSpPr/>
          <p:nvPr/>
        </p:nvSpPr>
        <p:spPr>
          <a:xfrm>
            <a:off x="1472064" y="3491645"/>
            <a:ext cx="612000" cy="537875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케이</a:t>
            </a:r>
            <a:b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엔엠앤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바이오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1BAA0BE9-DD68-94F7-387E-58812243EDC1}"/>
              </a:ext>
            </a:extLst>
          </p:cNvPr>
          <p:cNvCxnSpPr>
            <a:cxnSpLocks/>
          </p:cNvCxnSpPr>
          <p:nvPr/>
        </p:nvCxnSpPr>
        <p:spPr>
          <a:xfrm>
            <a:off x="1104798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타원 24">
            <a:extLst>
              <a:ext uri="{FF2B5EF4-FFF2-40B4-BE49-F238E27FC236}">
                <a16:creationId xmlns:a16="http://schemas.microsoft.com/office/drawing/2014/main" id="{D8E6AC7F-4FE3-1632-127D-2F9F3A9FD62F}"/>
              </a:ext>
            </a:extLst>
          </p:cNvPr>
          <p:cNvSpPr/>
          <p:nvPr/>
        </p:nvSpPr>
        <p:spPr>
          <a:xfrm>
            <a:off x="812625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모서리가 둥근 직사각형 167">
            <a:extLst>
              <a:ext uri="{FF2B5EF4-FFF2-40B4-BE49-F238E27FC236}">
                <a16:creationId xmlns:a16="http://schemas.microsoft.com/office/drawing/2014/main" id="{4F376910-B11C-56A6-2348-421886ADA9F3}"/>
              </a:ext>
            </a:extLst>
          </p:cNvPr>
          <p:cNvSpPr/>
          <p:nvPr/>
        </p:nvSpPr>
        <p:spPr>
          <a:xfrm>
            <a:off x="806038" y="3485317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중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컨트리클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9" name="모서리가 둥근 직사각형 167">
            <a:extLst>
              <a:ext uri="{FF2B5EF4-FFF2-40B4-BE49-F238E27FC236}">
                <a16:creationId xmlns:a16="http://schemas.microsoft.com/office/drawing/2014/main" id="{2CA433CB-95F5-8460-BA2B-B7C0B93CA325}"/>
              </a:ext>
            </a:extLst>
          </p:cNvPr>
          <p:cNvSpPr/>
          <p:nvPr/>
        </p:nvSpPr>
        <p:spPr>
          <a:xfrm>
            <a:off x="806038" y="4059601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특수도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D9EC6F40-D95D-4AA5-F0D3-4937F0EEB2B5}"/>
              </a:ext>
            </a:extLst>
          </p:cNvPr>
          <p:cNvCxnSpPr>
            <a:cxnSpLocks/>
          </p:cNvCxnSpPr>
          <p:nvPr/>
        </p:nvCxnSpPr>
        <p:spPr>
          <a:xfrm>
            <a:off x="4548535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타원 31">
            <a:extLst>
              <a:ext uri="{FF2B5EF4-FFF2-40B4-BE49-F238E27FC236}">
                <a16:creationId xmlns:a16="http://schemas.microsoft.com/office/drawing/2014/main" id="{345B97F4-0C7E-8305-75EB-00433FAC2D36}"/>
              </a:ext>
            </a:extLst>
          </p:cNvPr>
          <p:cNvSpPr/>
          <p:nvPr/>
        </p:nvSpPr>
        <p:spPr>
          <a:xfrm>
            <a:off x="4256362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1.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3" name="모서리가 둥근 직사각형 167">
            <a:extLst>
              <a:ext uri="{FF2B5EF4-FFF2-40B4-BE49-F238E27FC236}">
                <a16:creationId xmlns:a16="http://schemas.microsoft.com/office/drawing/2014/main" id="{63362C6C-CE0B-C13A-D895-04B41AE7BB41}"/>
              </a:ext>
            </a:extLst>
          </p:cNvPr>
          <p:cNvSpPr/>
          <p:nvPr/>
        </p:nvSpPr>
        <p:spPr>
          <a:xfrm>
            <a:off x="4255049" y="3491645"/>
            <a:ext cx="612000" cy="537875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에스티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47A6B482-792F-BC84-69B0-39649E9508B6}"/>
              </a:ext>
            </a:extLst>
          </p:cNvPr>
          <p:cNvCxnSpPr>
            <a:cxnSpLocks/>
          </p:cNvCxnSpPr>
          <p:nvPr/>
        </p:nvCxnSpPr>
        <p:spPr>
          <a:xfrm>
            <a:off x="3887783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타원 34">
            <a:extLst>
              <a:ext uri="{FF2B5EF4-FFF2-40B4-BE49-F238E27FC236}">
                <a16:creationId xmlns:a16="http://schemas.microsoft.com/office/drawing/2014/main" id="{4ECA9BB3-F703-9E6A-03D6-F162D4F57343}"/>
              </a:ext>
            </a:extLst>
          </p:cNvPr>
          <p:cNvSpPr/>
          <p:nvPr/>
        </p:nvSpPr>
        <p:spPr>
          <a:xfrm>
            <a:off x="3595610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7" name="모서리가 둥근 직사각형 167">
            <a:extLst>
              <a:ext uri="{FF2B5EF4-FFF2-40B4-BE49-F238E27FC236}">
                <a16:creationId xmlns:a16="http://schemas.microsoft.com/office/drawing/2014/main" id="{98FD05A8-9095-2B82-D5E7-6689EC7D757A}"/>
              </a:ext>
            </a:extLst>
          </p:cNvPr>
          <p:cNvSpPr/>
          <p:nvPr/>
        </p:nvSpPr>
        <p:spPr>
          <a:xfrm>
            <a:off x="3589023" y="3485317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두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산업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8" name="모서리가 둥근 직사각형 167">
            <a:extLst>
              <a:ext uri="{FF2B5EF4-FFF2-40B4-BE49-F238E27FC236}">
                <a16:creationId xmlns:a16="http://schemas.microsoft.com/office/drawing/2014/main" id="{53CC082D-F2BE-5D00-4DFD-E09BFFF4EEE0}"/>
              </a:ext>
            </a:extLst>
          </p:cNvPr>
          <p:cNvSpPr/>
          <p:nvPr/>
        </p:nvSpPr>
        <p:spPr>
          <a:xfrm>
            <a:off x="3589023" y="4059601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제이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09BC5220-579C-40B3-0D54-C2A0FA053E01}"/>
              </a:ext>
            </a:extLst>
          </p:cNvPr>
          <p:cNvCxnSpPr>
            <a:cxnSpLocks/>
          </p:cNvCxnSpPr>
          <p:nvPr/>
        </p:nvCxnSpPr>
        <p:spPr>
          <a:xfrm>
            <a:off x="5998465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타원 39">
            <a:extLst>
              <a:ext uri="{FF2B5EF4-FFF2-40B4-BE49-F238E27FC236}">
                <a16:creationId xmlns:a16="http://schemas.microsoft.com/office/drawing/2014/main" id="{FEE9C67C-5029-724B-DA1F-FAA4AED44098}"/>
              </a:ext>
            </a:extLst>
          </p:cNvPr>
          <p:cNvSpPr/>
          <p:nvPr/>
        </p:nvSpPr>
        <p:spPr>
          <a:xfrm>
            <a:off x="5706292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9.9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1" name="모서리가 둥근 직사각형 167">
            <a:extLst>
              <a:ext uri="{FF2B5EF4-FFF2-40B4-BE49-F238E27FC236}">
                <a16:creationId xmlns:a16="http://schemas.microsoft.com/office/drawing/2014/main" id="{A58AFCF3-3536-C128-7531-E1C5FBB17468}"/>
              </a:ext>
            </a:extLst>
          </p:cNvPr>
          <p:cNvSpPr/>
          <p:nvPr/>
        </p:nvSpPr>
        <p:spPr>
          <a:xfrm>
            <a:off x="5704979" y="3491645"/>
            <a:ext cx="612000" cy="537875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퍼시픽제</a:t>
            </a:r>
            <a: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전문</a:t>
            </a:r>
            <a:r>
              <a:rPr lang="ko-KR" altLang="en-US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모</a:t>
            </a:r>
            <a:br>
              <a:rPr lang="en-US" altLang="ko-KR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8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동산투자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8FBD7102-56A4-9A55-92AE-B9376E2E1708}"/>
              </a:ext>
            </a:extLst>
          </p:cNvPr>
          <p:cNvCxnSpPr>
            <a:cxnSpLocks/>
          </p:cNvCxnSpPr>
          <p:nvPr/>
        </p:nvCxnSpPr>
        <p:spPr>
          <a:xfrm>
            <a:off x="5337713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타원 42">
            <a:extLst>
              <a:ext uri="{FF2B5EF4-FFF2-40B4-BE49-F238E27FC236}">
                <a16:creationId xmlns:a16="http://schemas.microsoft.com/office/drawing/2014/main" id="{E225EBAB-AF57-A9A1-9B3A-E16C44A922E5}"/>
              </a:ext>
            </a:extLst>
          </p:cNvPr>
          <p:cNvSpPr/>
          <p:nvPr/>
        </p:nvSpPr>
        <p:spPr>
          <a:xfrm>
            <a:off x="5045540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4" name="모서리가 둥근 직사각형 167">
            <a:extLst>
              <a:ext uri="{FF2B5EF4-FFF2-40B4-BE49-F238E27FC236}">
                <a16:creationId xmlns:a16="http://schemas.microsoft.com/office/drawing/2014/main" id="{2EFF7674-B649-A36B-6D96-8503C3AF5902}"/>
              </a:ext>
            </a:extLst>
          </p:cNvPr>
          <p:cNvSpPr/>
          <p:nvPr/>
        </p:nvSpPr>
        <p:spPr>
          <a:xfrm>
            <a:off x="5038953" y="3485317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모두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5" name="모서리가 둥근 직사각형 167">
            <a:extLst>
              <a:ext uri="{FF2B5EF4-FFF2-40B4-BE49-F238E27FC236}">
                <a16:creationId xmlns:a16="http://schemas.microsoft.com/office/drawing/2014/main" id="{546066E8-0938-411C-C0A5-D4D6CEDF5074}"/>
              </a:ext>
            </a:extLst>
          </p:cNvPr>
          <p:cNvSpPr/>
          <p:nvPr/>
        </p:nvSpPr>
        <p:spPr>
          <a:xfrm>
            <a:off x="5038953" y="4059601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이</a:t>
            </a:r>
            <a:b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에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D451141E-5040-DCAB-8851-A951440D1E5C}"/>
              </a:ext>
            </a:extLst>
          </p:cNvPr>
          <p:cNvCxnSpPr>
            <a:cxnSpLocks/>
          </p:cNvCxnSpPr>
          <p:nvPr/>
        </p:nvCxnSpPr>
        <p:spPr>
          <a:xfrm>
            <a:off x="7447280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타원 46">
            <a:extLst>
              <a:ext uri="{FF2B5EF4-FFF2-40B4-BE49-F238E27FC236}">
                <a16:creationId xmlns:a16="http://schemas.microsoft.com/office/drawing/2014/main" id="{524E0D9B-A7F3-E10D-5B78-C010CD3C810B}"/>
              </a:ext>
            </a:extLst>
          </p:cNvPr>
          <p:cNvSpPr/>
          <p:nvPr/>
        </p:nvSpPr>
        <p:spPr>
          <a:xfrm>
            <a:off x="7155107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2.6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8" name="모서리가 둥근 직사각형 167">
            <a:extLst>
              <a:ext uri="{FF2B5EF4-FFF2-40B4-BE49-F238E27FC236}">
                <a16:creationId xmlns:a16="http://schemas.microsoft.com/office/drawing/2014/main" id="{276CE8A3-68F0-4B27-7DED-F37ABD1C58C2}"/>
              </a:ext>
            </a:extLst>
          </p:cNvPr>
          <p:cNvSpPr/>
          <p:nvPr/>
        </p:nvSpPr>
        <p:spPr>
          <a:xfrm>
            <a:off x="7153794" y="3491645"/>
            <a:ext cx="612000" cy="537875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포</a:t>
            </a:r>
            <a:b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타운</a:t>
            </a: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34CA771D-CAAD-62CD-A9F9-9EA5C083D21E}"/>
              </a:ext>
            </a:extLst>
          </p:cNvPr>
          <p:cNvCxnSpPr>
            <a:cxnSpLocks/>
          </p:cNvCxnSpPr>
          <p:nvPr/>
        </p:nvCxnSpPr>
        <p:spPr>
          <a:xfrm>
            <a:off x="6786528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타원 49">
            <a:extLst>
              <a:ext uri="{FF2B5EF4-FFF2-40B4-BE49-F238E27FC236}">
                <a16:creationId xmlns:a16="http://schemas.microsoft.com/office/drawing/2014/main" id="{F53D2D1F-519C-C596-B84E-A4768A05E0DA}"/>
              </a:ext>
            </a:extLst>
          </p:cNvPr>
          <p:cNvSpPr/>
          <p:nvPr/>
        </p:nvSpPr>
        <p:spPr>
          <a:xfrm>
            <a:off x="6494355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4.2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1" name="모서리가 둥근 직사각형 167">
            <a:extLst>
              <a:ext uri="{FF2B5EF4-FFF2-40B4-BE49-F238E27FC236}">
                <a16:creationId xmlns:a16="http://schemas.microsoft.com/office/drawing/2014/main" id="{E8E78379-FC83-F73C-A111-76CCC73C33A8}"/>
              </a:ext>
            </a:extLst>
          </p:cNvPr>
          <p:cNvSpPr/>
          <p:nvPr/>
        </p:nvSpPr>
        <p:spPr>
          <a:xfrm>
            <a:off x="6487768" y="3485317"/>
            <a:ext cx="612000" cy="54661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수원</a:t>
            </a:r>
            <a:b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역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85A41FF8-87EA-51AD-2FE5-3C87D3868E38}"/>
              </a:ext>
            </a:extLst>
          </p:cNvPr>
          <p:cNvCxnSpPr>
            <a:cxnSpLocks/>
          </p:cNvCxnSpPr>
          <p:nvPr/>
        </p:nvCxnSpPr>
        <p:spPr>
          <a:xfrm>
            <a:off x="8881096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E7CB36B7-3E14-85E3-F524-32D19A361A69}"/>
              </a:ext>
            </a:extLst>
          </p:cNvPr>
          <p:cNvSpPr/>
          <p:nvPr/>
        </p:nvSpPr>
        <p:spPr>
          <a:xfrm>
            <a:off x="8588923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0.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4" name="모서리가 둥근 직사각형 167">
            <a:extLst>
              <a:ext uri="{FF2B5EF4-FFF2-40B4-BE49-F238E27FC236}">
                <a16:creationId xmlns:a16="http://schemas.microsoft.com/office/drawing/2014/main" id="{5780007A-BE70-D04E-6721-3149A64A5898}"/>
              </a:ext>
            </a:extLst>
          </p:cNvPr>
          <p:cNvSpPr/>
          <p:nvPr/>
        </p:nvSpPr>
        <p:spPr>
          <a:xfrm>
            <a:off x="8593725" y="3491645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엘로지스틱스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피에프브이</a:t>
            </a:r>
            <a:endParaRPr kumimoji="0" lang="ko-KR" altLang="en-US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54F25FA0-F7E6-F164-1911-DD4462ED750C}"/>
              </a:ext>
            </a:extLst>
          </p:cNvPr>
          <p:cNvCxnSpPr>
            <a:cxnSpLocks/>
          </p:cNvCxnSpPr>
          <p:nvPr/>
        </p:nvCxnSpPr>
        <p:spPr>
          <a:xfrm>
            <a:off x="8220344" y="308069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28B5486D-3545-B49A-1291-BDB046A2BDFA}"/>
              </a:ext>
            </a:extLst>
          </p:cNvPr>
          <p:cNvSpPr/>
          <p:nvPr/>
        </p:nvSpPr>
        <p:spPr>
          <a:xfrm>
            <a:off x="7928171" y="317562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2272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rgbClr val="2272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7" name="모서리가 둥근 직사각형 167">
            <a:extLst>
              <a:ext uri="{FF2B5EF4-FFF2-40B4-BE49-F238E27FC236}">
                <a16:creationId xmlns:a16="http://schemas.microsoft.com/office/drawing/2014/main" id="{CDE00C26-7583-BBC6-F4CC-9D49638C8447}"/>
              </a:ext>
            </a:extLst>
          </p:cNvPr>
          <p:cNvSpPr/>
          <p:nvPr/>
        </p:nvSpPr>
        <p:spPr>
          <a:xfrm>
            <a:off x="7921584" y="3485317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강남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8" name="모서리가 둥근 직사각형 167">
            <a:extLst>
              <a:ext uri="{FF2B5EF4-FFF2-40B4-BE49-F238E27FC236}">
                <a16:creationId xmlns:a16="http://schemas.microsoft.com/office/drawing/2014/main" id="{1CDD250D-7754-8053-1C80-37ED8ED3AF95}"/>
              </a:ext>
            </a:extLst>
          </p:cNvPr>
          <p:cNvSpPr/>
          <p:nvPr/>
        </p:nvSpPr>
        <p:spPr>
          <a:xfrm>
            <a:off x="7921584" y="3969552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정자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9" name="모서리가 둥근 직사각형 167">
            <a:extLst>
              <a:ext uri="{FF2B5EF4-FFF2-40B4-BE49-F238E27FC236}">
                <a16:creationId xmlns:a16="http://schemas.microsoft.com/office/drawing/2014/main" id="{69ADFCEA-591D-AF45-D5EE-2591B0E97CCF}"/>
              </a:ext>
            </a:extLst>
          </p:cNvPr>
          <p:cNvSpPr/>
          <p:nvPr/>
        </p:nvSpPr>
        <p:spPr>
          <a:xfrm>
            <a:off x="7921584" y="4453787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례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0" name="모서리가 둥근 직사각형 167">
            <a:extLst>
              <a:ext uri="{FF2B5EF4-FFF2-40B4-BE49-F238E27FC236}">
                <a16:creationId xmlns:a16="http://schemas.microsoft.com/office/drawing/2014/main" id="{63F37778-D4C5-F7F2-70D5-FA4C51E6CD08}"/>
              </a:ext>
            </a:extLst>
          </p:cNvPr>
          <p:cNvSpPr/>
          <p:nvPr/>
        </p:nvSpPr>
        <p:spPr>
          <a:xfrm>
            <a:off x="7921584" y="4938022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기흥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1" name="모서리가 둥근 직사각형 167">
            <a:extLst>
              <a:ext uri="{FF2B5EF4-FFF2-40B4-BE49-F238E27FC236}">
                <a16:creationId xmlns:a16="http://schemas.microsoft.com/office/drawing/2014/main" id="{A8280DA6-485C-320B-9806-298027EB4657}"/>
              </a:ext>
            </a:extLst>
          </p:cNvPr>
          <p:cNvSpPr/>
          <p:nvPr/>
        </p:nvSpPr>
        <p:spPr>
          <a:xfrm>
            <a:off x="7921584" y="5422257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곡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2" name="모서리가 둥근 직사각형 167">
            <a:extLst>
              <a:ext uri="{FF2B5EF4-FFF2-40B4-BE49-F238E27FC236}">
                <a16:creationId xmlns:a16="http://schemas.microsoft.com/office/drawing/2014/main" id="{7BB09901-CF96-1B84-F3AD-C90357932246}"/>
              </a:ext>
            </a:extLst>
          </p:cNvPr>
          <p:cNvSpPr/>
          <p:nvPr/>
        </p:nvSpPr>
        <p:spPr>
          <a:xfrm>
            <a:off x="7921584" y="5906492"/>
            <a:ext cx="612000" cy="468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여주제이비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물류센터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67" name="직선 화살표 연결선 66">
            <a:extLst>
              <a:ext uri="{FF2B5EF4-FFF2-40B4-BE49-F238E27FC236}">
                <a16:creationId xmlns:a16="http://schemas.microsoft.com/office/drawing/2014/main" id="{940E47A6-FA1F-7963-687F-BF58F3CBB1D5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4953000" y="2100825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308972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6" name="직선 화살표 연결선 95">
            <a:extLst>
              <a:ext uri="{FF2B5EF4-FFF2-40B4-BE49-F238E27FC236}">
                <a16:creationId xmlns:a16="http://schemas.microsoft.com/office/drawing/2014/main" id="{DCECBDB3-83B3-B7BE-5AC5-C859A448ADAF}"/>
              </a:ext>
            </a:extLst>
          </p:cNvPr>
          <p:cNvCxnSpPr>
            <a:cxnSpLocks/>
          </p:cNvCxnSpPr>
          <p:nvPr/>
        </p:nvCxnSpPr>
        <p:spPr>
          <a:xfrm flipH="1">
            <a:off x="1126940" y="3085085"/>
            <a:ext cx="832" cy="1761932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0FD1D5E-BF4E-5FDF-DB6B-3DD40A0FC492}"/>
              </a:ext>
            </a:extLst>
          </p:cNvPr>
          <p:cNvCxnSpPr>
            <a:cxnSpLocks/>
          </p:cNvCxnSpPr>
          <p:nvPr/>
        </p:nvCxnSpPr>
        <p:spPr>
          <a:xfrm>
            <a:off x="2340774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60811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96AB30BB-E90D-337F-CACF-29B2F70D638E}"/>
              </a:ext>
            </a:extLst>
          </p:cNvPr>
          <p:cNvSpPr/>
          <p:nvPr/>
        </p:nvSpPr>
        <p:spPr>
          <a:xfrm>
            <a:off x="3985311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신영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90E004C-8AEE-CAFE-60F3-E26D87A6A087}"/>
              </a:ext>
            </a:extLst>
          </p:cNvPr>
          <p:cNvCxnSpPr>
            <a:cxnSpLocks/>
          </p:cNvCxnSpPr>
          <p:nvPr/>
        </p:nvCxnSpPr>
        <p:spPr>
          <a:xfrm flipH="1">
            <a:off x="1007244" y="2214764"/>
            <a:ext cx="656307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8DB37D4-213D-EDBA-DF2C-5C8134AE0A6B}"/>
              </a:ext>
            </a:extLst>
          </p:cNvPr>
          <p:cNvCxnSpPr>
            <a:cxnSpLocks/>
          </p:cNvCxnSpPr>
          <p:nvPr/>
        </p:nvCxnSpPr>
        <p:spPr>
          <a:xfrm>
            <a:off x="3716078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6DA89548-4077-F7B7-F4FF-0F6EA692D728}"/>
              </a:ext>
            </a:extLst>
          </p:cNvPr>
          <p:cNvCxnSpPr>
            <a:cxnSpLocks/>
          </p:cNvCxnSpPr>
          <p:nvPr/>
        </p:nvCxnSpPr>
        <p:spPr>
          <a:xfrm>
            <a:off x="1007244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5CF756E9-084E-095F-A101-7C1CDA47D40F}"/>
              </a:ext>
            </a:extLst>
          </p:cNvPr>
          <p:cNvSpPr/>
          <p:nvPr/>
        </p:nvSpPr>
        <p:spPr>
          <a:xfrm>
            <a:off x="720812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8.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270B63B1-3D18-E312-DD25-D54F16B0247A}"/>
              </a:ext>
            </a:extLst>
          </p:cNvPr>
          <p:cNvSpPr/>
          <p:nvPr/>
        </p:nvSpPr>
        <p:spPr>
          <a:xfrm>
            <a:off x="2050227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7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D2C920EF-54B3-1973-C1C3-0D19AF77FF3E}"/>
              </a:ext>
            </a:extLst>
          </p:cNvPr>
          <p:cNvSpPr/>
          <p:nvPr/>
        </p:nvSpPr>
        <p:spPr>
          <a:xfrm>
            <a:off x="3421416" y="236670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6.7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51EBC106-0948-23CE-CD6A-D16AAF07732F}"/>
              </a:ext>
            </a:extLst>
          </p:cNvPr>
          <p:cNvSpPr/>
          <p:nvPr/>
        </p:nvSpPr>
        <p:spPr>
          <a:xfrm>
            <a:off x="3212078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한남동</a:t>
            </a:r>
            <a:b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</a:t>
            </a: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D80FB0BA-6BBF-A1BE-FF9B-7617F044DD72}"/>
              </a:ext>
            </a:extLst>
          </p:cNvPr>
          <p:cNvSpPr/>
          <p:nvPr/>
        </p:nvSpPr>
        <p:spPr>
          <a:xfrm>
            <a:off x="503244" y="27250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농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83544130-3C77-4955-5E8C-4D3B584273C6}"/>
              </a:ext>
            </a:extLst>
          </p:cNvPr>
          <p:cNvSpPr/>
          <p:nvPr/>
        </p:nvSpPr>
        <p:spPr>
          <a:xfrm>
            <a:off x="1836774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건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AF3326DB-B393-81C8-7F50-D619B66FDEA5}"/>
              </a:ext>
            </a:extLst>
          </p:cNvPr>
          <p:cNvCxnSpPr>
            <a:cxnSpLocks/>
          </p:cNvCxnSpPr>
          <p:nvPr/>
        </p:nvCxnSpPr>
        <p:spPr>
          <a:xfrm>
            <a:off x="5192250" y="221490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타원 7">
            <a:extLst>
              <a:ext uri="{FF2B5EF4-FFF2-40B4-BE49-F238E27FC236}">
                <a16:creationId xmlns:a16="http://schemas.microsoft.com/office/drawing/2014/main" id="{31CA8706-9177-2328-D59D-53440819BD79}"/>
              </a:ext>
            </a:extLst>
          </p:cNvPr>
          <p:cNvSpPr/>
          <p:nvPr/>
        </p:nvSpPr>
        <p:spPr>
          <a:xfrm>
            <a:off x="4897588" y="236683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4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" name="모서리가 둥근 직사각형 167">
            <a:extLst>
              <a:ext uri="{FF2B5EF4-FFF2-40B4-BE49-F238E27FC236}">
                <a16:creationId xmlns:a16="http://schemas.microsoft.com/office/drawing/2014/main" id="{52FDE01B-2F58-1609-78A9-744E297722A2}"/>
              </a:ext>
            </a:extLst>
          </p:cNvPr>
          <p:cNvSpPr/>
          <p:nvPr/>
        </p:nvSpPr>
        <p:spPr>
          <a:xfrm>
            <a:off x="4688250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휴먼스홀딩스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차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45FDFD9-56BF-77A9-043D-3E8E4DC1E50D}"/>
              </a:ext>
            </a:extLst>
          </p:cNvPr>
          <p:cNvCxnSpPr>
            <a:cxnSpLocks/>
          </p:cNvCxnSpPr>
          <p:nvPr/>
        </p:nvCxnSpPr>
        <p:spPr>
          <a:xfrm>
            <a:off x="6633779" y="221490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타원 10">
            <a:extLst>
              <a:ext uri="{FF2B5EF4-FFF2-40B4-BE49-F238E27FC236}">
                <a16:creationId xmlns:a16="http://schemas.microsoft.com/office/drawing/2014/main" id="{2D8B7B5D-07C2-8E6F-9820-9E202B06F7A9}"/>
              </a:ext>
            </a:extLst>
          </p:cNvPr>
          <p:cNvSpPr/>
          <p:nvPr/>
        </p:nvSpPr>
        <p:spPr>
          <a:xfrm>
            <a:off x="6339117" y="236683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4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" name="모서리가 둥근 직사각형 167">
            <a:extLst>
              <a:ext uri="{FF2B5EF4-FFF2-40B4-BE49-F238E27FC236}">
                <a16:creationId xmlns:a16="http://schemas.microsoft.com/office/drawing/2014/main" id="{CE76DF49-3EC5-E65A-7DB5-7440D12F40F5}"/>
              </a:ext>
            </a:extLst>
          </p:cNvPr>
          <p:cNvSpPr/>
          <p:nvPr/>
        </p:nvSpPr>
        <p:spPr>
          <a:xfrm>
            <a:off x="6129779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청주 테크노폴리스</a:t>
            </a: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FE39BFF0-A340-3EF7-4EDB-A8299F08084C}"/>
              </a:ext>
            </a:extLst>
          </p:cNvPr>
          <p:cNvSpPr/>
          <p:nvPr/>
        </p:nvSpPr>
        <p:spPr>
          <a:xfrm>
            <a:off x="8360668" y="272508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브라이튼자산운용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67" name="직선 화살표 연결선 66">
            <a:extLst>
              <a:ext uri="{FF2B5EF4-FFF2-40B4-BE49-F238E27FC236}">
                <a16:creationId xmlns:a16="http://schemas.microsoft.com/office/drawing/2014/main" id="{940E47A6-FA1F-7963-687F-BF58F3CBB1D5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4488180" y="2100825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모서리가 둥근 직사각형 167">
            <a:extLst>
              <a:ext uri="{FF2B5EF4-FFF2-40B4-BE49-F238E27FC236}">
                <a16:creationId xmlns:a16="http://schemas.microsoft.com/office/drawing/2014/main" id="{BA679130-0ABC-7C46-CDC8-66FD949AB6E0}"/>
              </a:ext>
            </a:extLst>
          </p:cNvPr>
          <p:cNvSpPr/>
          <p:nvPr/>
        </p:nvSpPr>
        <p:spPr>
          <a:xfrm>
            <a:off x="6129779" y="311221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용인스마트물류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619A2541-2966-CE8B-0D00-DFBC9C382B9E}"/>
              </a:ext>
            </a:extLst>
          </p:cNvPr>
          <p:cNvSpPr/>
          <p:nvPr/>
        </p:nvSpPr>
        <p:spPr>
          <a:xfrm>
            <a:off x="6129779" y="3498931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여의도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BC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지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복합개발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1" name="모서리가 둥근 직사각형 167">
            <a:extLst>
              <a:ext uri="{FF2B5EF4-FFF2-40B4-BE49-F238E27FC236}">
                <a16:creationId xmlns:a16="http://schemas.microsoft.com/office/drawing/2014/main" id="{A64C6D3F-4787-9AAD-3B20-BD5A30368642}"/>
              </a:ext>
            </a:extLst>
          </p:cNvPr>
          <p:cNvSpPr/>
          <p:nvPr/>
        </p:nvSpPr>
        <p:spPr>
          <a:xfrm>
            <a:off x="6129779" y="3885650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청주테크노폴리스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산관리</a:t>
            </a: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46C52D46-1172-B6E6-89B0-659AF3B4760F}"/>
              </a:ext>
            </a:extLst>
          </p:cNvPr>
          <p:cNvSpPr/>
          <p:nvPr/>
        </p:nvSpPr>
        <p:spPr>
          <a:xfrm>
            <a:off x="6129779" y="4276810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에셋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4" name="모서리가 둥근 직사각형 167">
            <a:extLst>
              <a:ext uri="{FF2B5EF4-FFF2-40B4-BE49-F238E27FC236}">
                <a16:creationId xmlns:a16="http://schemas.microsoft.com/office/drawing/2014/main" id="{53F80452-1BD8-8DD1-0D90-D56657CC3FE9}"/>
              </a:ext>
            </a:extLst>
          </p:cNvPr>
          <p:cNvSpPr/>
          <p:nvPr/>
        </p:nvSpPr>
        <p:spPr>
          <a:xfrm>
            <a:off x="6129779" y="4667970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L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플랫폼</a:t>
            </a:r>
          </a:p>
        </p:txBody>
      </p:sp>
      <p:cxnSp>
        <p:nvCxnSpPr>
          <p:cNvPr id="66" name="직선 화살표 연결선 65">
            <a:extLst>
              <a:ext uri="{FF2B5EF4-FFF2-40B4-BE49-F238E27FC236}">
                <a16:creationId xmlns:a16="http://schemas.microsoft.com/office/drawing/2014/main" id="{2448F36B-2113-FAEE-0107-39F042BF7485}"/>
              </a:ext>
            </a:extLst>
          </p:cNvPr>
          <p:cNvCxnSpPr>
            <a:cxnSpLocks/>
            <a:endCxn id="83" idx="4"/>
          </p:cNvCxnSpPr>
          <p:nvPr/>
        </p:nvCxnSpPr>
        <p:spPr>
          <a:xfrm flipH="1">
            <a:off x="7564558" y="2214494"/>
            <a:ext cx="5760" cy="2722523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5817735D-7ACE-FB7D-5068-AB0C20BEBB16}"/>
              </a:ext>
            </a:extLst>
          </p:cNvPr>
          <p:cNvCxnSpPr>
            <a:cxnSpLocks/>
          </p:cNvCxnSpPr>
          <p:nvPr/>
        </p:nvCxnSpPr>
        <p:spPr>
          <a:xfrm flipH="1">
            <a:off x="7144239" y="3285399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타원 72">
            <a:extLst>
              <a:ext uri="{FF2B5EF4-FFF2-40B4-BE49-F238E27FC236}">
                <a16:creationId xmlns:a16="http://schemas.microsoft.com/office/drawing/2014/main" id="{16158702-8415-71C9-09C4-17983B06B64D}"/>
              </a:ext>
            </a:extLst>
          </p:cNvPr>
          <p:cNvSpPr/>
          <p:nvPr/>
        </p:nvSpPr>
        <p:spPr>
          <a:xfrm>
            <a:off x="7264318" y="319539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2.4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3211B61B-263A-C5F1-CB1C-A1785B8391A9}"/>
              </a:ext>
            </a:extLst>
          </p:cNvPr>
          <p:cNvCxnSpPr>
            <a:cxnSpLocks/>
          </p:cNvCxnSpPr>
          <p:nvPr/>
        </p:nvCxnSpPr>
        <p:spPr>
          <a:xfrm flipH="1">
            <a:off x="7144239" y="3692529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타원 76">
            <a:extLst>
              <a:ext uri="{FF2B5EF4-FFF2-40B4-BE49-F238E27FC236}">
                <a16:creationId xmlns:a16="http://schemas.microsoft.com/office/drawing/2014/main" id="{163E39A2-6FAC-4C2E-F4AF-39A3780A6C99}"/>
              </a:ext>
            </a:extLst>
          </p:cNvPr>
          <p:cNvSpPr/>
          <p:nvPr/>
        </p:nvSpPr>
        <p:spPr>
          <a:xfrm>
            <a:off x="7264318" y="360252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1.4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CB9A0A29-D22E-D468-C2BB-95EB5261BEC3}"/>
              </a:ext>
            </a:extLst>
          </p:cNvPr>
          <p:cNvCxnSpPr>
            <a:cxnSpLocks/>
          </p:cNvCxnSpPr>
          <p:nvPr/>
        </p:nvCxnSpPr>
        <p:spPr>
          <a:xfrm flipH="1">
            <a:off x="7138479" y="4056706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타원 78">
            <a:extLst>
              <a:ext uri="{FF2B5EF4-FFF2-40B4-BE49-F238E27FC236}">
                <a16:creationId xmlns:a16="http://schemas.microsoft.com/office/drawing/2014/main" id="{F26BA9A0-BDF9-0C2E-7F0E-3B56BA94848F}"/>
              </a:ext>
            </a:extLst>
          </p:cNvPr>
          <p:cNvSpPr/>
          <p:nvPr/>
        </p:nvSpPr>
        <p:spPr>
          <a:xfrm>
            <a:off x="7258558" y="396670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4354E45E-A25E-094B-3DC3-362FA8E1F3B8}"/>
              </a:ext>
            </a:extLst>
          </p:cNvPr>
          <p:cNvCxnSpPr>
            <a:cxnSpLocks/>
          </p:cNvCxnSpPr>
          <p:nvPr/>
        </p:nvCxnSpPr>
        <p:spPr>
          <a:xfrm flipH="1">
            <a:off x="7138479" y="4446033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타원 80">
            <a:extLst>
              <a:ext uri="{FF2B5EF4-FFF2-40B4-BE49-F238E27FC236}">
                <a16:creationId xmlns:a16="http://schemas.microsoft.com/office/drawing/2014/main" id="{2C571A5E-B3DE-83D2-EEC5-5BE002C08D80}"/>
              </a:ext>
            </a:extLst>
          </p:cNvPr>
          <p:cNvSpPr/>
          <p:nvPr/>
        </p:nvSpPr>
        <p:spPr>
          <a:xfrm>
            <a:off x="7258558" y="43560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1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ABD28466-8FDB-3D4A-1553-0DF9463637C1}"/>
              </a:ext>
            </a:extLst>
          </p:cNvPr>
          <p:cNvCxnSpPr>
            <a:cxnSpLocks/>
          </p:cNvCxnSpPr>
          <p:nvPr/>
        </p:nvCxnSpPr>
        <p:spPr>
          <a:xfrm flipH="1">
            <a:off x="7138479" y="4847017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타원 82">
            <a:extLst>
              <a:ext uri="{FF2B5EF4-FFF2-40B4-BE49-F238E27FC236}">
                <a16:creationId xmlns:a16="http://schemas.microsoft.com/office/drawing/2014/main" id="{5811E9EB-36AE-984D-D37B-C9824E96E6A3}"/>
              </a:ext>
            </a:extLst>
          </p:cNvPr>
          <p:cNvSpPr/>
          <p:nvPr/>
        </p:nvSpPr>
        <p:spPr>
          <a:xfrm>
            <a:off x="7258558" y="475701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1.6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8" name="직선 화살표 연결선 87">
            <a:extLst>
              <a:ext uri="{FF2B5EF4-FFF2-40B4-BE49-F238E27FC236}">
                <a16:creationId xmlns:a16="http://schemas.microsoft.com/office/drawing/2014/main" id="{E4D3DC84-FDF0-D156-F9B7-2528C81BF18D}"/>
              </a:ext>
            </a:extLst>
          </p:cNvPr>
          <p:cNvCxnSpPr>
            <a:cxnSpLocks/>
            <a:endCxn id="94" idx="2"/>
          </p:cNvCxnSpPr>
          <p:nvPr/>
        </p:nvCxnSpPr>
        <p:spPr>
          <a:xfrm flipH="1">
            <a:off x="1007244" y="3085175"/>
            <a:ext cx="12775" cy="1106284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타원 92">
            <a:extLst>
              <a:ext uri="{FF2B5EF4-FFF2-40B4-BE49-F238E27FC236}">
                <a16:creationId xmlns:a16="http://schemas.microsoft.com/office/drawing/2014/main" id="{91A97DE7-76A4-3BBC-BB9D-234563AE7E2F}"/>
              </a:ext>
            </a:extLst>
          </p:cNvPr>
          <p:cNvSpPr/>
          <p:nvPr/>
        </p:nvSpPr>
        <p:spPr>
          <a:xfrm>
            <a:off x="744532" y="319527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5" name="모서리가 둥근 직사각형 167">
            <a:extLst>
              <a:ext uri="{FF2B5EF4-FFF2-40B4-BE49-F238E27FC236}">
                <a16:creationId xmlns:a16="http://schemas.microsoft.com/office/drawing/2014/main" id="{C3D198CC-B0E9-0517-2235-B69A81C2019A}"/>
              </a:ext>
            </a:extLst>
          </p:cNvPr>
          <p:cNvSpPr/>
          <p:nvPr/>
        </p:nvSpPr>
        <p:spPr>
          <a:xfrm>
            <a:off x="503244" y="3456972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농텍스타일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4" name="모서리가 둥근 직사각형 167">
            <a:extLst>
              <a:ext uri="{FF2B5EF4-FFF2-40B4-BE49-F238E27FC236}">
                <a16:creationId xmlns:a16="http://schemas.microsoft.com/office/drawing/2014/main" id="{F2943C0D-FEF0-9F27-B0AB-8840AC3CF09B}"/>
              </a:ext>
            </a:extLst>
          </p:cNvPr>
          <p:cNvSpPr/>
          <p:nvPr/>
        </p:nvSpPr>
        <p:spPr>
          <a:xfrm>
            <a:off x="503244" y="383145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올웨이즈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7" name="타원 96">
            <a:extLst>
              <a:ext uri="{FF2B5EF4-FFF2-40B4-BE49-F238E27FC236}">
                <a16:creationId xmlns:a16="http://schemas.microsoft.com/office/drawing/2014/main" id="{CC3F6A8C-C3C4-5DAA-5457-50D45320D80C}"/>
              </a:ext>
            </a:extLst>
          </p:cNvPr>
          <p:cNvSpPr/>
          <p:nvPr/>
        </p:nvSpPr>
        <p:spPr>
          <a:xfrm>
            <a:off x="838940" y="463019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5.7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0" name="모서리가 둥근 직사각형 167">
            <a:extLst>
              <a:ext uri="{FF2B5EF4-FFF2-40B4-BE49-F238E27FC236}">
                <a16:creationId xmlns:a16="http://schemas.microsoft.com/office/drawing/2014/main" id="{FBC8066E-0632-FEC5-F8F9-9AA6B8657372}"/>
              </a:ext>
            </a:extLst>
          </p:cNvPr>
          <p:cNvSpPr/>
          <p:nvPr/>
        </p:nvSpPr>
        <p:spPr>
          <a:xfrm>
            <a:off x="1019029" y="484701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아산탕정개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1" name="직선 화살표 연결선 100">
            <a:extLst>
              <a:ext uri="{FF2B5EF4-FFF2-40B4-BE49-F238E27FC236}">
                <a16:creationId xmlns:a16="http://schemas.microsoft.com/office/drawing/2014/main" id="{13005FDF-FD0A-5A50-4223-4068532A3BAF}"/>
              </a:ext>
            </a:extLst>
          </p:cNvPr>
          <p:cNvCxnSpPr>
            <a:cxnSpLocks/>
          </p:cNvCxnSpPr>
          <p:nvPr/>
        </p:nvCxnSpPr>
        <p:spPr>
          <a:xfrm>
            <a:off x="2982791" y="2212672"/>
            <a:ext cx="0" cy="14243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타원 101">
            <a:extLst>
              <a:ext uri="{FF2B5EF4-FFF2-40B4-BE49-F238E27FC236}">
                <a16:creationId xmlns:a16="http://schemas.microsoft.com/office/drawing/2014/main" id="{3ED933EC-3F7D-BAA9-F82F-30BB8383E420}"/>
              </a:ext>
            </a:extLst>
          </p:cNvPr>
          <p:cNvSpPr/>
          <p:nvPr/>
        </p:nvSpPr>
        <p:spPr>
          <a:xfrm>
            <a:off x="2675005" y="332014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3.1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08" name="직선 화살표 연결선 107">
            <a:extLst>
              <a:ext uri="{FF2B5EF4-FFF2-40B4-BE49-F238E27FC236}">
                <a16:creationId xmlns:a16="http://schemas.microsoft.com/office/drawing/2014/main" id="{D8BAAA5D-1100-C124-EC0C-F7B5CBCF8E82}"/>
              </a:ext>
            </a:extLst>
          </p:cNvPr>
          <p:cNvCxnSpPr>
            <a:cxnSpLocks/>
          </p:cNvCxnSpPr>
          <p:nvPr/>
        </p:nvCxnSpPr>
        <p:spPr>
          <a:xfrm>
            <a:off x="1657432" y="2216207"/>
            <a:ext cx="0" cy="263081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타원 108">
            <a:extLst>
              <a:ext uri="{FF2B5EF4-FFF2-40B4-BE49-F238E27FC236}">
                <a16:creationId xmlns:a16="http://schemas.microsoft.com/office/drawing/2014/main" id="{C193C916-98A7-9CB2-DE90-A2E4E259E2D0}"/>
              </a:ext>
            </a:extLst>
          </p:cNvPr>
          <p:cNvSpPr/>
          <p:nvPr/>
        </p:nvSpPr>
        <p:spPr>
          <a:xfrm>
            <a:off x="1351432" y="448075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13" name="직선 화살표 연결선 112">
            <a:extLst>
              <a:ext uri="{FF2B5EF4-FFF2-40B4-BE49-F238E27FC236}">
                <a16:creationId xmlns:a16="http://schemas.microsoft.com/office/drawing/2014/main" id="{CE7C03A4-2DE7-2882-4D80-E4960C65A94E}"/>
              </a:ext>
            </a:extLst>
          </p:cNvPr>
          <p:cNvCxnSpPr>
            <a:cxnSpLocks/>
          </p:cNvCxnSpPr>
          <p:nvPr/>
        </p:nvCxnSpPr>
        <p:spPr>
          <a:xfrm>
            <a:off x="2378065" y="3085175"/>
            <a:ext cx="0" cy="593756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타원 113">
            <a:extLst>
              <a:ext uri="{FF2B5EF4-FFF2-40B4-BE49-F238E27FC236}">
                <a16:creationId xmlns:a16="http://schemas.microsoft.com/office/drawing/2014/main" id="{116A126D-45B2-6EB6-02EA-9D8193D019ED}"/>
              </a:ext>
            </a:extLst>
          </p:cNvPr>
          <p:cNvSpPr/>
          <p:nvPr/>
        </p:nvSpPr>
        <p:spPr>
          <a:xfrm>
            <a:off x="2102578" y="346839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6.9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2" name="모서리가 둥근 직사각형 167">
            <a:extLst>
              <a:ext uri="{FF2B5EF4-FFF2-40B4-BE49-F238E27FC236}">
                <a16:creationId xmlns:a16="http://schemas.microsoft.com/office/drawing/2014/main" id="{DD5ED35D-136D-0528-B1A1-F557B26277D3}"/>
              </a:ext>
            </a:extLst>
          </p:cNvPr>
          <p:cNvSpPr/>
          <p:nvPr/>
        </p:nvSpPr>
        <p:spPr>
          <a:xfrm>
            <a:off x="2167825" y="365145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아산탕정개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9" name="모서리가 둥근 직사각형 167">
            <a:extLst>
              <a:ext uri="{FF2B5EF4-FFF2-40B4-BE49-F238E27FC236}">
                <a16:creationId xmlns:a16="http://schemas.microsoft.com/office/drawing/2014/main" id="{C53FABD3-FC84-F354-508C-0F7A30A9B969}"/>
              </a:ext>
            </a:extLst>
          </p:cNvPr>
          <p:cNvSpPr/>
          <p:nvPr/>
        </p:nvSpPr>
        <p:spPr>
          <a:xfrm>
            <a:off x="8355363" y="2289158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대농개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24" name="직선 화살표 연결선 123">
            <a:extLst>
              <a:ext uri="{FF2B5EF4-FFF2-40B4-BE49-F238E27FC236}">
                <a16:creationId xmlns:a16="http://schemas.microsoft.com/office/drawing/2014/main" id="{34EC637D-B092-328D-6190-E0649811CC34}"/>
              </a:ext>
            </a:extLst>
          </p:cNvPr>
          <p:cNvCxnSpPr>
            <a:cxnSpLocks/>
          </p:cNvCxnSpPr>
          <p:nvPr/>
        </p:nvCxnSpPr>
        <p:spPr>
          <a:xfrm>
            <a:off x="4488179" y="2212672"/>
            <a:ext cx="0" cy="263434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타원 124">
            <a:extLst>
              <a:ext uri="{FF2B5EF4-FFF2-40B4-BE49-F238E27FC236}">
                <a16:creationId xmlns:a16="http://schemas.microsoft.com/office/drawing/2014/main" id="{48B457B9-76F5-85EF-6BCF-29C82BDD0B98}"/>
              </a:ext>
            </a:extLst>
          </p:cNvPr>
          <p:cNvSpPr/>
          <p:nvPr/>
        </p:nvSpPr>
        <p:spPr>
          <a:xfrm>
            <a:off x="4180393" y="448866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1568EFA7-C2C1-CFAF-DD29-298D5CDBA98F}"/>
              </a:ext>
            </a:extLst>
          </p:cNvPr>
          <p:cNvSpPr/>
          <p:nvPr/>
        </p:nvSpPr>
        <p:spPr>
          <a:xfrm>
            <a:off x="3085425" y="4850590"/>
            <a:ext cx="2739689" cy="1101807"/>
          </a:xfrm>
          <a:prstGeom prst="rect">
            <a:avLst/>
          </a:prstGeom>
          <a:solidFill>
            <a:srgbClr val="649CFF">
              <a:alpha val="10000"/>
            </a:srgbClr>
          </a:solidFill>
          <a:ln w="9525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8" name="Text Placeholder 7">
            <a:extLst>
              <a:ext uri="{FF2B5EF4-FFF2-40B4-BE49-F238E27FC236}">
                <a16:creationId xmlns:a16="http://schemas.microsoft.com/office/drawing/2014/main" id="{6379EB47-6DFB-B3CE-98D6-17A5F712650E}"/>
              </a:ext>
            </a:extLst>
          </p:cNvPr>
          <p:cNvSpPr txBox="1">
            <a:spLocks/>
          </p:cNvSpPr>
          <p:nvPr/>
        </p:nvSpPr>
        <p:spPr>
          <a:xfrm>
            <a:off x="3085426" y="4862588"/>
            <a:ext cx="1440000" cy="1642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Y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도시개발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중부개발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BT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남부개발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시티디밸로퍼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홈스더블유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9" name="Text Placeholder 7">
            <a:extLst>
              <a:ext uri="{FF2B5EF4-FFF2-40B4-BE49-F238E27FC236}">
                <a16:creationId xmlns:a16="http://schemas.microsoft.com/office/drawing/2014/main" id="{E04BB2CB-03BF-070C-2503-1374CC5ED624}"/>
              </a:ext>
            </a:extLst>
          </p:cNvPr>
          <p:cNvSpPr txBox="1">
            <a:spLocks/>
          </p:cNvSpPr>
          <p:nvPr/>
        </p:nvSpPr>
        <p:spPr>
          <a:xfrm>
            <a:off x="4455269" y="4865062"/>
            <a:ext cx="1440000" cy="1642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남부개발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Y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서부개발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RA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위탁관리부동산투자회사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중부개발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32" name="직선 화살표 연결선 131">
            <a:extLst>
              <a:ext uri="{FF2B5EF4-FFF2-40B4-BE49-F238E27FC236}">
                <a16:creationId xmlns:a16="http://schemas.microsoft.com/office/drawing/2014/main" id="{DC6E54A5-715C-15C4-4F05-51A9CA3881AC}"/>
              </a:ext>
            </a:extLst>
          </p:cNvPr>
          <p:cNvCxnSpPr>
            <a:cxnSpLocks/>
            <a:stCxn id="92" idx="3"/>
            <a:endCxn id="90" idx="1"/>
          </p:cNvCxnSpPr>
          <p:nvPr/>
        </p:nvCxnSpPr>
        <p:spPr>
          <a:xfrm>
            <a:off x="1511244" y="2905085"/>
            <a:ext cx="325530" cy="27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타원 137">
            <a:extLst>
              <a:ext uri="{FF2B5EF4-FFF2-40B4-BE49-F238E27FC236}">
                <a16:creationId xmlns:a16="http://schemas.microsoft.com/office/drawing/2014/main" id="{A83685E3-9272-85C7-68D8-99C2037E9480}"/>
              </a:ext>
            </a:extLst>
          </p:cNvPr>
          <p:cNvSpPr/>
          <p:nvPr/>
        </p:nvSpPr>
        <p:spPr>
          <a:xfrm>
            <a:off x="1363414" y="268062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6.9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39" name="직선 화살표 연결선 138">
            <a:extLst>
              <a:ext uri="{FF2B5EF4-FFF2-40B4-BE49-F238E27FC236}">
                <a16:creationId xmlns:a16="http://schemas.microsoft.com/office/drawing/2014/main" id="{7D0FC2B1-50EB-843D-E97C-84F6BC3EE098}"/>
              </a:ext>
            </a:extLst>
          </p:cNvPr>
          <p:cNvCxnSpPr>
            <a:cxnSpLocks/>
            <a:stCxn id="64" idx="2"/>
          </p:cNvCxnSpPr>
          <p:nvPr/>
        </p:nvCxnSpPr>
        <p:spPr>
          <a:xfrm flipH="1">
            <a:off x="6629057" y="5027970"/>
            <a:ext cx="4722" cy="251872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타원 139">
            <a:extLst>
              <a:ext uri="{FF2B5EF4-FFF2-40B4-BE49-F238E27FC236}">
                <a16:creationId xmlns:a16="http://schemas.microsoft.com/office/drawing/2014/main" id="{0FDA85DF-F438-344B-D38B-735FBBC9E062}"/>
              </a:ext>
            </a:extLst>
          </p:cNvPr>
          <p:cNvSpPr/>
          <p:nvPr/>
        </p:nvSpPr>
        <p:spPr>
          <a:xfrm>
            <a:off x="6341057" y="508587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43" name="직선 화살표 연결선 142">
            <a:extLst>
              <a:ext uri="{FF2B5EF4-FFF2-40B4-BE49-F238E27FC236}">
                <a16:creationId xmlns:a16="http://schemas.microsoft.com/office/drawing/2014/main" id="{CB35AFE6-A90E-6B58-6076-CD5DD8C1A6C9}"/>
              </a:ext>
            </a:extLst>
          </p:cNvPr>
          <p:cNvCxnSpPr>
            <a:cxnSpLocks/>
          </p:cNvCxnSpPr>
          <p:nvPr/>
        </p:nvCxnSpPr>
        <p:spPr>
          <a:xfrm>
            <a:off x="6970469" y="5027017"/>
            <a:ext cx="0" cy="890634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타원 143">
            <a:extLst>
              <a:ext uri="{FF2B5EF4-FFF2-40B4-BE49-F238E27FC236}">
                <a16:creationId xmlns:a16="http://schemas.microsoft.com/office/drawing/2014/main" id="{BF964403-DE31-CCAF-A837-3AF47FDEB941}"/>
              </a:ext>
            </a:extLst>
          </p:cNvPr>
          <p:cNvSpPr/>
          <p:nvPr/>
        </p:nvSpPr>
        <p:spPr>
          <a:xfrm>
            <a:off x="6682469" y="570082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5.7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5" name="모서리가 둥근 직사각형 167">
            <a:extLst>
              <a:ext uri="{FF2B5EF4-FFF2-40B4-BE49-F238E27FC236}">
                <a16:creationId xmlns:a16="http://schemas.microsoft.com/office/drawing/2014/main" id="{D044B10E-0919-5402-AB2C-A42EA2CEBFB2}"/>
              </a:ext>
            </a:extLst>
          </p:cNvPr>
          <p:cNvSpPr/>
          <p:nvPr/>
        </p:nvSpPr>
        <p:spPr>
          <a:xfrm>
            <a:off x="6862558" y="5917651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</a:p>
        </p:txBody>
      </p:sp>
      <p:sp>
        <p:nvSpPr>
          <p:cNvPr id="65" name="모서리가 둥근 직사각형 167">
            <a:extLst>
              <a:ext uri="{FF2B5EF4-FFF2-40B4-BE49-F238E27FC236}">
                <a16:creationId xmlns:a16="http://schemas.microsoft.com/office/drawing/2014/main" id="{F73C74F7-B9E4-8334-4819-2CCA7A89B13E}"/>
              </a:ext>
            </a:extLst>
          </p:cNvPr>
          <p:cNvSpPr/>
          <p:nvPr/>
        </p:nvSpPr>
        <p:spPr>
          <a:xfrm>
            <a:off x="6129779" y="5290261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홈스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동산중개법인</a:t>
            </a:r>
          </a:p>
        </p:txBody>
      </p:sp>
      <p:sp>
        <p:nvSpPr>
          <p:cNvPr id="147" name="모서리가 둥근 직사각형 167">
            <a:extLst>
              <a:ext uri="{FF2B5EF4-FFF2-40B4-BE49-F238E27FC236}">
                <a16:creationId xmlns:a16="http://schemas.microsoft.com/office/drawing/2014/main" id="{638081A9-C79C-0C0B-9DE4-A75C79B5F87F}"/>
              </a:ext>
            </a:extLst>
          </p:cNvPr>
          <p:cNvSpPr/>
          <p:nvPr/>
        </p:nvSpPr>
        <p:spPr>
          <a:xfrm>
            <a:off x="8360668" y="3159274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플러스</a:t>
            </a:r>
          </a:p>
        </p:txBody>
      </p:sp>
      <p:cxnSp>
        <p:nvCxnSpPr>
          <p:cNvPr id="148" name="직선 화살표 연결선 147">
            <a:extLst>
              <a:ext uri="{FF2B5EF4-FFF2-40B4-BE49-F238E27FC236}">
                <a16:creationId xmlns:a16="http://schemas.microsoft.com/office/drawing/2014/main" id="{2A384D92-A212-C69D-4C00-4D7CB404045C}"/>
              </a:ext>
            </a:extLst>
          </p:cNvPr>
          <p:cNvCxnSpPr>
            <a:cxnSpLocks/>
          </p:cNvCxnSpPr>
          <p:nvPr/>
        </p:nvCxnSpPr>
        <p:spPr>
          <a:xfrm>
            <a:off x="7570203" y="4667970"/>
            <a:ext cx="107087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타원 150">
            <a:extLst>
              <a:ext uri="{FF2B5EF4-FFF2-40B4-BE49-F238E27FC236}">
                <a16:creationId xmlns:a16="http://schemas.microsoft.com/office/drawing/2014/main" id="{33E2D655-A149-C3D8-9E13-4B20811552AB}"/>
              </a:ext>
            </a:extLst>
          </p:cNvPr>
          <p:cNvSpPr/>
          <p:nvPr/>
        </p:nvSpPr>
        <p:spPr>
          <a:xfrm>
            <a:off x="7906557" y="458347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53" name="직선 화살표 연결선 152">
            <a:extLst>
              <a:ext uri="{FF2B5EF4-FFF2-40B4-BE49-F238E27FC236}">
                <a16:creationId xmlns:a16="http://schemas.microsoft.com/office/drawing/2014/main" id="{2A29C8BC-3D1A-F76D-F34B-4910062B162B}"/>
              </a:ext>
            </a:extLst>
          </p:cNvPr>
          <p:cNvCxnSpPr>
            <a:cxnSpLocks/>
          </p:cNvCxnSpPr>
          <p:nvPr/>
        </p:nvCxnSpPr>
        <p:spPr>
          <a:xfrm>
            <a:off x="7563427" y="4242775"/>
            <a:ext cx="107087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타원 153">
            <a:extLst>
              <a:ext uri="{FF2B5EF4-FFF2-40B4-BE49-F238E27FC236}">
                <a16:creationId xmlns:a16="http://schemas.microsoft.com/office/drawing/2014/main" id="{13974566-0A22-7C6F-015E-9B1C6C1DE47E}"/>
              </a:ext>
            </a:extLst>
          </p:cNvPr>
          <p:cNvSpPr/>
          <p:nvPr/>
        </p:nvSpPr>
        <p:spPr>
          <a:xfrm>
            <a:off x="7899781" y="415827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8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5" name="모서리가 둥근 직사각형 167">
            <a:extLst>
              <a:ext uri="{FF2B5EF4-FFF2-40B4-BE49-F238E27FC236}">
                <a16:creationId xmlns:a16="http://schemas.microsoft.com/office/drawing/2014/main" id="{7F8F6C53-0F98-A4AD-DE4E-0500EA7795E6}"/>
              </a:ext>
            </a:extLst>
          </p:cNvPr>
          <p:cNvSpPr/>
          <p:nvPr/>
        </p:nvSpPr>
        <p:spPr>
          <a:xfrm>
            <a:off x="8644512" y="406277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</a:p>
        </p:txBody>
      </p:sp>
      <p:sp>
        <p:nvSpPr>
          <p:cNvPr id="157" name="모서리가 둥근 직사각형 167">
            <a:extLst>
              <a:ext uri="{FF2B5EF4-FFF2-40B4-BE49-F238E27FC236}">
                <a16:creationId xmlns:a16="http://schemas.microsoft.com/office/drawing/2014/main" id="{E98F9252-3460-94DD-D5B4-44A7AA6810B0}"/>
              </a:ext>
            </a:extLst>
          </p:cNvPr>
          <p:cNvSpPr/>
          <p:nvPr/>
        </p:nvSpPr>
        <p:spPr>
          <a:xfrm>
            <a:off x="8648679" y="448866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올데이터센터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86327301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0FD1D5E-BF4E-5FDF-DB6B-3DD40A0FC492}"/>
              </a:ext>
            </a:extLst>
          </p:cNvPr>
          <p:cNvCxnSpPr>
            <a:cxnSpLocks/>
          </p:cNvCxnSpPr>
          <p:nvPr/>
        </p:nvCxnSpPr>
        <p:spPr>
          <a:xfrm>
            <a:off x="2802593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60811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96AB30BB-E90D-337F-CACF-29B2F70D638E}"/>
              </a:ext>
            </a:extLst>
          </p:cNvPr>
          <p:cNvSpPr/>
          <p:nvPr/>
        </p:nvSpPr>
        <p:spPr>
          <a:xfrm>
            <a:off x="4447130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기업</a:t>
            </a: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90E004C-8AEE-CAFE-60F3-E26D87A6A087}"/>
              </a:ext>
            </a:extLst>
          </p:cNvPr>
          <p:cNvCxnSpPr>
            <a:cxnSpLocks/>
          </p:cNvCxnSpPr>
          <p:nvPr/>
        </p:nvCxnSpPr>
        <p:spPr>
          <a:xfrm flipH="1">
            <a:off x="1469063" y="2214764"/>
            <a:ext cx="656307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8DB37D4-213D-EDBA-DF2C-5C8134AE0A6B}"/>
              </a:ext>
            </a:extLst>
          </p:cNvPr>
          <p:cNvCxnSpPr>
            <a:cxnSpLocks/>
          </p:cNvCxnSpPr>
          <p:nvPr/>
        </p:nvCxnSpPr>
        <p:spPr>
          <a:xfrm>
            <a:off x="4177897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6DA89548-4077-F7B7-F4FF-0F6EA692D728}"/>
              </a:ext>
            </a:extLst>
          </p:cNvPr>
          <p:cNvCxnSpPr>
            <a:cxnSpLocks/>
          </p:cNvCxnSpPr>
          <p:nvPr/>
        </p:nvCxnSpPr>
        <p:spPr>
          <a:xfrm>
            <a:off x="1469063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5CF756E9-084E-095F-A101-7C1CDA47D40F}"/>
              </a:ext>
            </a:extLst>
          </p:cNvPr>
          <p:cNvSpPr/>
          <p:nvPr/>
        </p:nvSpPr>
        <p:spPr>
          <a:xfrm>
            <a:off x="1182631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8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270B63B1-3D18-E312-DD25-D54F16B0247A}"/>
              </a:ext>
            </a:extLst>
          </p:cNvPr>
          <p:cNvSpPr/>
          <p:nvPr/>
        </p:nvSpPr>
        <p:spPr>
          <a:xfrm>
            <a:off x="2512046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7.3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D2C920EF-54B3-1973-C1C3-0D19AF77FF3E}"/>
              </a:ext>
            </a:extLst>
          </p:cNvPr>
          <p:cNvSpPr/>
          <p:nvPr/>
        </p:nvSpPr>
        <p:spPr>
          <a:xfrm>
            <a:off x="3883235" y="236670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3.7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51EBC106-0948-23CE-CD6A-D16AAF07732F}"/>
              </a:ext>
            </a:extLst>
          </p:cNvPr>
          <p:cNvSpPr/>
          <p:nvPr/>
        </p:nvSpPr>
        <p:spPr>
          <a:xfrm>
            <a:off x="3673897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양</a:t>
            </a: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D80FB0BA-6BBF-A1BE-FF9B-7617F044DD72}"/>
              </a:ext>
            </a:extLst>
          </p:cNvPr>
          <p:cNvSpPr/>
          <p:nvPr/>
        </p:nvSpPr>
        <p:spPr>
          <a:xfrm>
            <a:off x="965063" y="27250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투자증권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83544130-3C77-4955-5E8C-4D3B584273C6}"/>
              </a:ext>
            </a:extLst>
          </p:cNvPr>
          <p:cNvSpPr/>
          <p:nvPr/>
        </p:nvSpPr>
        <p:spPr>
          <a:xfrm>
            <a:off x="2298593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</a:t>
            </a: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" name="모서리가 둥근 직사각형 167">
            <a:extLst>
              <a:ext uri="{FF2B5EF4-FFF2-40B4-BE49-F238E27FC236}">
                <a16:creationId xmlns:a16="http://schemas.microsoft.com/office/drawing/2014/main" id="{CE76DF49-3EC5-E65A-7DB5-7440D12F40F5}"/>
              </a:ext>
            </a:extLst>
          </p:cNvPr>
          <p:cNvSpPr/>
          <p:nvPr/>
        </p:nvSpPr>
        <p:spPr>
          <a:xfrm>
            <a:off x="6591598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천안기업</a:t>
            </a:r>
          </a:p>
        </p:txBody>
      </p:sp>
      <p:cxnSp>
        <p:nvCxnSpPr>
          <p:cNvPr id="67" name="직선 화살표 연결선 66">
            <a:extLst>
              <a:ext uri="{FF2B5EF4-FFF2-40B4-BE49-F238E27FC236}">
                <a16:creationId xmlns:a16="http://schemas.microsoft.com/office/drawing/2014/main" id="{940E47A6-FA1F-7963-687F-BF58F3CBB1D5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4949999" y="2100825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모서리가 둥근 직사각형 167">
            <a:extLst>
              <a:ext uri="{FF2B5EF4-FFF2-40B4-BE49-F238E27FC236}">
                <a16:creationId xmlns:a16="http://schemas.microsoft.com/office/drawing/2014/main" id="{BA679130-0ABC-7C46-CDC8-66FD949AB6E0}"/>
              </a:ext>
            </a:extLst>
          </p:cNvPr>
          <p:cNvSpPr/>
          <p:nvPr/>
        </p:nvSpPr>
        <p:spPr>
          <a:xfrm>
            <a:off x="6591598" y="311221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인산업</a:t>
            </a:r>
          </a:p>
        </p:txBody>
      </p: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619A2541-2966-CE8B-0D00-DFBC9C382B9E}"/>
              </a:ext>
            </a:extLst>
          </p:cNvPr>
          <p:cNvSpPr/>
          <p:nvPr/>
        </p:nvSpPr>
        <p:spPr>
          <a:xfrm>
            <a:off x="6591598" y="3498931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연팜앤바이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1" name="모서리가 둥근 직사각형 167">
            <a:extLst>
              <a:ext uri="{FF2B5EF4-FFF2-40B4-BE49-F238E27FC236}">
                <a16:creationId xmlns:a16="http://schemas.microsoft.com/office/drawing/2014/main" id="{A64C6D3F-4787-9AAD-3B20-BD5A30368642}"/>
              </a:ext>
            </a:extLst>
          </p:cNvPr>
          <p:cNvSpPr/>
          <p:nvPr/>
        </p:nvSpPr>
        <p:spPr>
          <a:xfrm>
            <a:off x="6591598" y="3885650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에너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66" name="직선 화살표 연결선 65">
            <a:extLst>
              <a:ext uri="{FF2B5EF4-FFF2-40B4-BE49-F238E27FC236}">
                <a16:creationId xmlns:a16="http://schemas.microsoft.com/office/drawing/2014/main" id="{2448F36B-2113-FAEE-0107-39F042BF7485}"/>
              </a:ext>
            </a:extLst>
          </p:cNvPr>
          <p:cNvCxnSpPr>
            <a:cxnSpLocks/>
            <a:endCxn id="79" idx="4"/>
          </p:cNvCxnSpPr>
          <p:nvPr/>
        </p:nvCxnSpPr>
        <p:spPr>
          <a:xfrm flipH="1">
            <a:off x="8026377" y="2214494"/>
            <a:ext cx="5760" cy="193221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5817735D-7ACE-FB7D-5068-AB0C20BEBB16}"/>
              </a:ext>
            </a:extLst>
          </p:cNvPr>
          <p:cNvCxnSpPr>
            <a:cxnSpLocks/>
          </p:cNvCxnSpPr>
          <p:nvPr/>
        </p:nvCxnSpPr>
        <p:spPr>
          <a:xfrm flipH="1">
            <a:off x="7606058" y="3285399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타원 72">
            <a:extLst>
              <a:ext uri="{FF2B5EF4-FFF2-40B4-BE49-F238E27FC236}">
                <a16:creationId xmlns:a16="http://schemas.microsoft.com/office/drawing/2014/main" id="{16158702-8415-71C9-09C4-17983B06B64D}"/>
              </a:ext>
            </a:extLst>
          </p:cNvPr>
          <p:cNvSpPr/>
          <p:nvPr/>
        </p:nvSpPr>
        <p:spPr>
          <a:xfrm>
            <a:off x="7726137" y="319539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0.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3211B61B-263A-C5F1-CB1C-A1785B8391A9}"/>
              </a:ext>
            </a:extLst>
          </p:cNvPr>
          <p:cNvCxnSpPr>
            <a:cxnSpLocks/>
          </p:cNvCxnSpPr>
          <p:nvPr/>
        </p:nvCxnSpPr>
        <p:spPr>
          <a:xfrm flipH="1">
            <a:off x="7606058" y="3692529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타원 76">
            <a:extLst>
              <a:ext uri="{FF2B5EF4-FFF2-40B4-BE49-F238E27FC236}">
                <a16:creationId xmlns:a16="http://schemas.microsoft.com/office/drawing/2014/main" id="{163E39A2-6FAC-4C2E-F4AF-39A3780A6C99}"/>
              </a:ext>
            </a:extLst>
          </p:cNvPr>
          <p:cNvSpPr/>
          <p:nvPr/>
        </p:nvSpPr>
        <p:spPr>
          <a:xfrm>
            <a:off x="7726137" y="360252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0.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CB9A0A29-D22E-D468-C2BB-95EB5261BEC3}"/>
              </a:ext>
            </a:extLst>
          </p:cNvPr>
          <p:cNvCxnSpPr>
            <a:cxnSpLocks/>
          </p:cNvCxnSpPr>
          <p:nvPr/>
        </p:nvCxnSpPr>
        <p:spPr>
          <a:xfrm flipH="1">
            <a:off x="7600298" y="4056706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타원 78">
            <a:extLst>
              <a:ext uri="{FF2B5EF4-FFF2-40B4-BE49-F238E27FC236}">
                <a16:creationId xmlns:a16="http://schemas.microsoft.com/office/drawing/2014/main" id="{F26BA9A0-BDF9-0C2E-7F0E-3B56BA94848F}"/>
              </a:ext>
            </a:extLst>
          </p:cNvPr>
          <p:cNvSpPr/>
          <p:nvPr/>
        </p:nvSpPr>
        <p:spPr>
          <a:xfrm>
            <a:off x="7720377" y="396670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.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4354E45E-A25E-094B-3DC3-362FA8E1F3B8}"/>
              </a:ext>
            </a:extLst>
          </p:cNvPr>
          <p:cNvCxnSpPr>
            <a:cxnSpLocks/>
          </p:cNvCxnSpPr>
          <p:nvPr/>
        </p:nvCxnSpPr>
        <p:spPr>
          <a:xfrm flipH="1">
            <a:off x="7600298" y="4446033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타원 80">
            <a:extLst>
              <a:ext uri="{FF2B5EF4-FFF2-40B4-BE49-F238E27FC236}">
                <a16:creationId xmlns:a16="http://schemas.microsoft.com/office/drawing/2014/main" id="{2C571A5E-B3DE-83D2-EEC5-5BE002C08D80}"/>
              </a:ext>
            </a:extLst>
          </p:cNvPr>
          <p:cNvSpPr/>
          <p:nvPr/>
        </p:nvSpPr>
        <p:spPr>
          <a:xfrm>
            <a:off x="7720377" y="43560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1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8" name="직선 화살표 연결선 87">
            <a:extLst>
              <a:ext uri="{FF2B5EF4-FFF2-40B4-BE49-F238E27FC236}">
                <a16:creationId xmlns:a16="http://schemas.microsoft.com/office/drawing/2014/main" id="{E4D3DC84-FDF0-D156-F9B7-2528C81BF18D}"/>
              </a:ext>
            </a:extLst>
          </p:cNvPr>
          <p:cNvCxnSpPr>
            <a:cxnSpLocks/>
            <a:endCxn id="94" idx="2"/>
          </p:cNvCxnSpPr>
          <p:nvPr/>
        </p:nvCxnSpPr>
        <p:spPr>
          <a:xfrm flipH="1">
            <a:off x="1469063" y="3085175"/>
            <a:ext cx="12775" cy="1106284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타원 92">
            <a:extLst>
              <a:ext uri="{FF2B5EF4-FFF2-40B4-BE49-F238E27FC236}">
                <a16:creationId xmlns:a16="http://schemas.microsoft.com/office/drawing/2014/main" id="{91A97DE7-76A4-3BBC-BB9D-234563AE7E2F}"/>
              </a:ext>
            </a:extLst>
          </p:cNvPr>
          <p:cNvSpPr/>
          <p:nvPr/>
        </p:nvSpPr>
        <p:spPr>
          <a:xfrm>
            <a:off x="1206351" y="319527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5" name="모서리가 둥근 직사각형 167">
            <a:extLst>
              <a:ext uri="{FF2B5EF4-FFF2-40B4-BE49-F238E27FC236}">
                <a16:creationId xmlns:a16="http://schemas.microsoft.com/office/drawing/2014/main" id="{C3D198CC-B0E9-0517-2235-B69A81C2019A}"/>
              </a:ext>
            </a:extLst>
          </p:cNvPr>
          <p:cNvSpPr/>
          <p:nvPr/>
        </p:nvSpPr>
        <p:spPr>
          <a:xfrm>
            <a:off x="965063" y="3456972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선물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4" name="모서리가 둥근 직사각형 167">
            <a:extLst>
              <a:ext uri="{FF2B5EF4-FFF2-40B4-BE49-F238E27FC236}">
                <a16:creationId xmlns:a16="http://schemas.microsoft.com/office/drawing/2014/main" id="{F2943C0D-FEF0-9F27-B0AB-8840AC3CF09B}"/>
              </a:ext>
            </a:extLst>
          </p:cNvPr>
          <p:cNvSpPr/>
          <p:nvPr/>
        </p:nvSpPr>
        <p:spPr>
          <a:xfrm>
            <a:off x="965063" y="383145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자산</a:t>
            </a:r>
          </a:p>
        </p:txBody>
      </p:sp>
      <p:cxnSp>
        <p:nvCxnSpPr>
          <p:cNvPr id="124" name="직선 화살표 연결선 123">
            <a:extLst>
              <a:ext uri="{FF2B5EF4-FFF2-40B4-BE49-F238E27FC236}">
                <a16:creationId xmlns:a16="http://schemas.microsoft.com/office/drawing/2014/main" id="{34EC637D-B092-328D-6190-E0649811CC34}"/>
              </a:ext>
            </a:extLst>
          </p:cNvPr>
          <p:cNvCxnSpPr>
            <a:cxnSpLocks/>
          </p:cNvCxnSpPr>
          <p:nvPr/>
        </p:nvCxnSpPr>
        <p:spPr>
          <a:xfrm>
            <a:off x="5781262" y="2212672"/>
            <a:ext cx="0" cy="287320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타원 124">
            <a:extLst>
              <a:ext uri="{FF2B5EF4-FFF2-40B4-BE49-F238E27FC236}">
                <a16:creationId xmlns:a16="http://schemas.microsoft.com/office/drawing/2014/main" id="{48B457B9-76F5-85EF-6BCF-29C82BDD0B98}"/>
              </a:ext>
            </a:extLst>
          </p:cNvPr>
          <p:cNvSpPr/>
          <p:nvPr/>
        </p:nvSpPr>
        <p:spPr>
          <a:xfrm>
            <a:off x="5864323" y="490587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7" name="직사각형 126">
            <a:extLst>
              <a:ext uri="{FF2B5EF4-FFF2-40B4-BE49-F238E27FC236}">
                <a16:creationId xmlns:a16="http://schemas.microsoft.com/office/drawing/2014/main" id="{1568EFA7-C2C1-CFAF-DD29-298D5CDBA98F}"/>
              </a:ext>
            </a:extLst>
          </p:cNvPr>
          <p:cNvSpPr/>
          <p:nvPr/>
        </p:nvSpPr>
        <p:spPr>
          <a:xfrm>
            <a:off x="4378509" y="5121899"/>
            <a:ext cx="2739689" cy="1118100"/>
          </a:xfrm>
          <a:prstGeom prst="rect">
            <a:avLst/>
          </a:prstGeom>
          <a:solidFill>
            <a:srgbClr val="649CFF">
              <a:alpha val="10000"/>
            </a:srgbClr>
          </a:solidFill>
          <a:ln w="9525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8" name="Text Placeholder 7">
            <a:extLst>
              <a:ext uri="{FF2B5EF4-FFF2-40B4-BE49-F238E27FC236}">
                <a16:creationId xmlns:a16="http://schemas.microsoft.com/office/drawing/2014/main" id="{6379EB47-6DFB-B3CE-98D6-17A5F712650E}"/>
              </a:ext>
            </a:extLst>
          </p:cNvPr>
          <p:cNvSpPr txBox="1">
            <a:spLocks/>
          </p:cNvSpPr>
          <p:nvPr/>
        </p:nvSpPr>
        <p:spPr>
          <a:xfrm>
            <a:off x="4378509" y="5130194"/>
            <a:ext cx="942087" cy="119001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개발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구레미콘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당진기업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디랩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9" name="Text Placeholder 7">
            <a:extLst>
              <a:ext uri="{FF2B5EF4-FFF2-40B4-BE49-F238E27FC236}">
                <a16:creationId xmlns:a16="http://schemas.microsoft.com/office/drawing/2014/main" id="{E04BB2CB-03BF-070C-2503-1374CC5ED624}"/>
              </a:ext>
            </a:extLst>
          </p:cNvPr>
          <p:cNvSpPr txBox="1">
            <a:spLocks/>
          </p:cNvSpPr>
          <p:nvPr/>
        </p:nvSpPr>
        <p:spPr>
          <a:xfrm>
            <a:off x="6124538" y="5132669"/>
            <a:ext cx="1063813" cy="11623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경산기업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성산업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나눔로또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</a:t>
            </a:r>
            <a:endParaRPr lang="en-US" altLang="ko-KR" sz="900" b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로지스틱스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A2CB5C06-1EE6-870A-17FD-281B4CFEA4E7}"/>
              </a:ext>
            </a:extLst>
          </p:cNvPr>
          <p:cNvCxnSpPr>
            <a:cxnSpLocks/>
            <a:endCxn id="25" idx="0"/>
          </p:cNvCxnSpPr>
          <p:nvPr/>
        </p:nvCxnSpPr>
        <p:spPr>
          <a:xfrm flipH="1">
            <a:off x="4176044" y="3085175"/>
            <a:ext cx="12775" cy="1493452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타원 16">
            <a:extLst>
              <a:ext uri="{FF2B5EF4-FFF2-40B4-BE49-F238E27FC236}">
                <a16:creationId xmlns:a16="http://schemas.microsoft.com/office/drawing/2014/main" id="{9EDE8E00-1D0F-A0E6-842D-6FF3D906D3A1}"/>
              </a:ext>
            </a:extLst>
          </p:cNvPr>
          <p:cNvSpPr/>
          <p:nvPr/>
        </p:nvSpPr>
        <p:spPr>
          <a:xfrm>
            <a:off x="3913332" y="319527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모서리가 둥근 직사각형 167">
            <a:extLst>
              <a:ext uri="{FF2B5EF4-FFF2-40B4-BE49-F238E27FC236}">
                <a16:creationId xmlns:a16="http://schemas.microsoft.com/office/drawing/2014/main" id="{7326C89F-7220-2464-06F4-B2B35CFB2FDA}"/>
              </a:ext>
            </a:extLst>
          </p:cNvPr>
          <p:cNvSpPr/>
          <p:nvPr/>
        </p:nvSpPr>
        <p:spPr>
          <a:xfrm>
            <a:off x="3672044" y="3456972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한성레미콘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0" name="모서리가 둥근 직사각형 167">
            <a:extLst>
              <a:ext uri="{FF2B5EF4-FFF2-40B4-BE49-F238E27FC236}">
                <a16:creationId xmlns:a16="http://schemas.microsoft.com/office/drawing/2014/main" id="{44E5B3BB-DC8D-158D-4469-B54B9B41F39A}"/>
              </a:ext>
            </a:extLst>
          </p:cNvPr>
          <p:cNvSpPr/>
          <p:nvPr/>
        </p:nvSpPr>
        <p:spPr>
          <a:xfrm>
            <a:off x="3672044" y="3831459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홈센터</a:t>
            </a:r>
          </a:p>
        </p:txBody>
      </p:sp>
      <p:sp>
        <p:nvSpPr>
          <p:cNvPr id="23" name="모서리가 둥근 직사각형 167">
            <a:extLst>
              <a:ext uri="{FF2B5EF4-FFF2-40B4-BE49-F238E27FC236}">
                <a16:creationId xmlns:a16="http://schemas.microsoft.com/office/drawing/2014/main" id="{5F7AAAF8-B3FB-F5CC-2E7F-2AE39E8CE845}"/>
              </a:ext>
            </a:extLst>
          </p:cNvPr>
          <p:cNvSpPr/>
          <p:nvPr/>
        </p:nvSpPr>
        <p:spPr>
          <a:xfrm>
            <a:off x="3672044" y="420345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홈센터</a:t>
            </a:r>
          </a:p>
        </p:txBody>
      </p:sp>
      <p:sp>
        <p:nvSpPr>
          <p:cNvPr id="25" name="모서리가 둥근 직사각형 167">
            <a:extLst>
              <a:ext uri="{FF2B5EF4-FFF2-40B4-BE49-F238E27FC236}">
                <a16:creationId xmlns:a16="http://schemas.microsoft.com/office/drawing/2014/main" id="{00B471A5-4A52-2F86-ABD4-C6E79D540BC7}"/>
              </a:ext>
            </a:extLst>
          </p:cNvPr>
          <p:cNvSpPr/>
          <p:nvPr/>
        </p:nvSpPr>
        <p:spPr>
          <a:xfrm>
            <a:off x="3672044" y="4578627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홈센터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48608F77-35CA-E159-FD72-D879C0981D6D}"/>
              </a:ext>
            </a:extLst>
          </p:cNvPr>
          <p:cNvSpPr txBox="1">
            <a:spLocks/>
          </p:cNvSpPr>
          <p:nvPr/>
        </p:nvSpPr>
        <p:spPr>
          <a:xfrm>
            <a:off x="5255941" y="5126952"/>
            <a:ext cx="1063813" cy="119001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MC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화기업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레저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TS</a:t>
            </a: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63BA8BFB-EAB2-78D7-B8ED-988E9D99DA71}"/>
              </a:ext>
            </a:extLst>
          </p:cNvPr>
          <p:cNvCxnSpPr>
            <a:cxnSpLocks/>
          </p:cNvCxnSpPr>
          <p:nvPr/>
        </p:nvCxnSpPr>
        <p:spPr>
          <a:xfrm flipH="1">
            <a:off x="7599167" y="2918530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타원 33">
            <a:extLst>
              <a:ext uri="{FF2B5EF4-FFF2-40B4-BE49-F238E27FC236}">
                <a16:creationId xmlns:a16="http://schemas.microsoft.com/office/drawing/2014/main" id="{09043768-998C-D2BE-F1AA-520500B56380}"/>
              </a:ext>
            </a:extLst>
          </p:cNvPr>
          <p:cNvSpPr/>
          <p:nvPr/>
        </p:nvSpPr>
        <p:spPr>
          <a:xfrm>
            <a:off x="7719246" y="282853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0.9%</a:t>
            </a:r>
            <a:endParaRPr lang="ko-KR" altLang="en-US" sz="800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15" name="직선 화살표 연결선 114">
            <a:extLst>
              <a:ext uri="{FF2B5EF4-FFF2-40B4-BE49-F238E27FC236}">
                <a16:creationId xmlns:a16="http://schemas.microsoft.com/office/drawing/2014/main" id="{6736A391-1A2F-6442-8A39-3F8BA0480D7D}"/>
              </a:ext>
            </a:extLst>
          </p:cNvPr>
          <p:cNvCxnSpPr>
            <a:cxnSpLocks/>
            <a:stCxn id="90" idx="2"/>
            <a:endCxn id="133" idx="2"/>
          </p:cNvCxnSpPr>
          <p:nvPr/>
        </p:nvCxnSpPr>
        <p:spPr>
          <a:xfrm flipH="1">
            <a:off x="2790351" y="3085355"/>
            <a:ext cx="12242" cy="2785006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타원 115">
            <a:extLst>
              <a:ext uri="{FF2B5EF4-FFF2-40B4-BE49-F238E27FC236}">
                <a16:creationId xmlns:a16="http://schemas.microsoft.com/office/drawing/2014/main" id="{D2C8F61A-C594-45B9-69AE-0F5E2F7A10E4}"/>
              </a:ext>
            </a:extLst>
          </p:cNvPr>
          <p:cNvSpPr/>
          <p:nvPr/>
        </p:nvSpPr>
        <p:spPr>
          <a:xfrm>
            <a:off x="2831268" y="314821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5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7" name="모서리가 둥근 직사각형 167">
            <a:extLst>
              <a:ext uri="{FF2B5EF4-FFF2-40B4-BE49-F238E27FC236}">
                <a16:creationId xmlns:a16="http://schemas.microsoft.com/office/drawing/2014/main" id="{1D65CA8C-02DE-89F1-B946-EB13C8C92B0C}"/>
              </a:ext>
            </a:extLst>
          </p:cNvPr>
          <p:cNvSpPr/>
          <p:nvPr/>
        </p:nvSpPr>
        <p:spPr>
          <a:xfrm>
            <a:off x="2286351" y="3318931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타</a:t>
            </a: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</a:t>
            </a: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8" name="모서리가 둥근 직사각형 167">
            <a:extLst>
              <a:ext uri="{FF2B5EF4-FFF2-40B4-BE49-F238E27FC236}">
                <a16:creationId xmlns:a16="http://schemas.microsoft.com/office/drawing/2014/main" id="{BA7D7E1C-DCFC-9AAB-4E03-26BAB337E8BC}"/>
              </a:ext>
            </a:extLst>
          </p:cNvPr>
          <p:cNvSpPr/>
          <p:nvPr/>
        </p:nvSpPr>
        <p:spPr>
          <a:xfrm>
            <a:off x="2286351" y="386183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nfra Fund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0" name="타원 119">
            <a:extLst>
              <a:ext uri="{FF2B5EF4-FFF2-40B4-BE49-F238E27FC236}">
                <a16:creationId xmlns:a16="http://schemas.microsoft.com/office/drawing/2014/main" id="{4CF96632-29E7-4910-31F2-88A6CD97046E}"/>
              </a:ext>
            </a:extLst>
          </p:cNvPr>
          <p:cNvSpPr/>
          <p:nvPr/>
        </p:nvSpPr>
        <p:spPr>
          <a:xfrm>
            <a:off x="2835544" y="369252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3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3" name="모서리가 둥근 직사각형 167">
            <a:extLst>
              <a:ext uri="{FF2B5EF4-FFF2-40B4-BE49-F238E27FC236}">
                <a16:creationId xmlns:a16="http://schemas.microsoft.com/office/drawing/2014/main" id="{E2187062-8AC1-1B7C-CABA-FA10C7611E94}"/>
              </a:ext>
            </a:extLst>
          </p:cNvPr>
          <p:cNvSpPr/>
          <p:nvPr/>
        </p:nvSpPr>
        <p:spPr>
          <a:xfrm>
            <a:off x="2286351" y="4409976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마트모빌리티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26" name="타원 125">
            <a:extLst>
              <a:ext uri="{FF2B5EF4-FFF2-40B4-BE49-F238E27FC236}">
                <a16:creationId xmlns:a16="http://schemas.microsoft.com/office/drawing/2014/main" id="{8F5CF154-3F38-4F5F-4899-023E5821DFEE}"/>
              </a:ext>
            </a:extLst>
          </p:cNvPr>
          <p:cNvSpPr/>
          <p:nvPr/>
        </p:nvSpPr>
        <p:spPr>
          <a:xfrm>
            <a:off x="2835544" y="424067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.5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0" name="모서리가 둥근 직사각형 167">
            <a:extLst>
              <a:ext uri="{FF2B5EF4-FFF2-40B4-BE49-F238E27FC236}">
                <a16:creationId xmlns:a16="http://schemas.microsoft.com/office/drawing/2014/main" id="{776B969D-3E60-B931-D969-35EE7DBF8111}"/>
              </a:ext>
            </a:extLst>
          </p:cNvPr>
          <p:cNvSpPr/>
          <p:nvPr/>
        </p:nvSpPr>
        <p:spPr>
          <a:xfrm>
            <a:off x="2286351" y="4956763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토르</a:t>
            </a: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31" name="타원 130">
            <a:extLst>
              <a:ext uri="{FF2B5EF4-FFF2-40B4-BE49-F238E27FC236}">
                <a16:creationId xmlns:a16="http://schemas.microsoft.com/office/drawing/2014/main" id="{37AE0E0B-7CEC-AEA8-FA5B-A1A3C0E75272}"/>
              </a:ext>
            </a:extLst>
          </p:cNvPr>
          <p:cNvSpPr/>
          <p:nvPr/>
        </p:nvSpPr>
        <p:spPr>
          <a:xfrm>
            <a:off x="2835544" y="478745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,0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3" name="모서리가 둥근 직사각형 167">
            <a:extLst>
              <a:ext uri="{FF2B5EF4-FFF2-40B4-BE49-F238E27FC236}">
                <a16:creationId xmlns:a16="http://schemas.microsoft.com/office/drawing/2014/main" id="{7CAF7DBD-A5F7-B6E0-AFC9-80425C631C79}"/>
              </a:ext>
            </a:extLst>
          </p:cNvPr>
          <p:cNvSpPr/>
          <p:nvPr/>
        </p:nvSpPr>
        <p:spPr>
          <a:xfrm>
            <a:off x="2286351" y="5510361"/>
            <a:ext cx="1008000" cy="360000"/>
          </a:xfrm>
          <a:prstGeom prst="roundRect">
            <a:avLst>
              <a:gd name="adj" fmla="val 0"/>
            </a:avLst>
          </a:prstGeom>
          <a:solidFill>
            <a:srgbClr val="649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 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W PEF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255B6CBF-F9DD-97CE-054C-661E51F39B04}"/>
              </a:ext>
            </a:extLst>
          </p:cNvPr>
          <p:cNvSpPr/>
          <p:nvPr/>
        </p:nvSpPr>
        <p:spPr>
          <a:xfrm>
            <a:off x="2835544" y="534105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227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0.3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36" name="직선 화살표 연결선 135">
            <a:extLst>
              <a:ext uri="{FF2B5EF4-FFF2-40B4-BE49-F238E27FC236}">
                <a16:creationId xmlns:a16="http://schemas.microsoft.com/office/drawing/2014/main" id="{AC971C75-C661-4354-FA2C-0E5546918804}"/>
              </a:ext>
            </a:extLst>
          </p:cNvPr>
          <p:cNvCxnSpPr>
            <a:cxnSpLocks/>
            <a:stCxn id="94" idx="2"/>
          </p:cNvCxnSpPr>
          <p:nvPr/>
        </p:nvCxnSpPr>
        <p:spPr>
          <a:xfrm>
            <a:off x="1469063" y="4191459"/>
            <a:ext cx="0" cy="1293598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모서리가 둥근 직사각형 167">
            <a:extLst>
              <a:ext uri="{FF2B5EF4-FFF2-40B4-BE49-F238E27FC236}">
                <a16:creationId xmlns:a16="http://schemas.microsoft.com/office/drawing/2014/main" id="{245DC539-6A0F-12CF-F2C0-02AA3B9F5DA8}"/>
              </a:ext>
            </a:extLst>
          </p:cNvPr>
          <p:cNvSpPr/>
          <p:nvPr/>
        </p:nvSpPr>
        <p:spPr>
          <a:xfrm>
            <a:off x="1025450" y="4409976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버베스트</a:t>
            </a:r>
            <a:r>
              <a:rPr lang="en-US" altLang="ko-KR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58" name="타원 157">
            <a:extLst>
              <a:ext uri="{FF2B5EF4-FFF2-40B4-BE49-F238E27FC236}">
                <a16:creationId xmlns:a16="http://schemas.microsoft.com/office/drawing/2014/main" id="{E43D638E-7DBD-DD06-32B6-1DF5CEE438C2}"/>
              </a:ext>
            </a:extLst>
          </p:cNvPr>
          <p:cNvSpPr/>
          <p:nvPr/>
        </p:nvSpPr>
        <p:spPr>
          <a:xfrm>
            <a:off x="1532944" y="4239457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.1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1" name="모서리가 둥근 직사각형 167">
            <a:extLst>
              <a:ext uri="{FF2B5EF4-FFF2-40B4-BE49-F238E27FC236}">
                <a16:creationId xmlns:a16="http://schemas.microsoft.com/office/drawing/2014/main" id="{F5D59ECC-5DFD-43EC-C0DF-E8BE0C15E5BA}"/>
              </a:ext>
            </a:extLst>
          </p:cNvPr>
          <p:cNvSpPr/>
          <p:nvPr/>
        </p:nvSpPr>
        <p:spPr>
          <a:xfrm>
            <a:off x="1025450" y="4872987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err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유니콘</a:t>
            </a:r>
            <a:r>
              <a:rPr lang="en-US" altLang="ko-KR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2" name="타원 161">
            <a:extLst>
              <a:ext uri="{FF2B5EF4-FFF2-40B4-BE49-F238E27FC236}">
                <a16:creationId xmlns:a16="http://schemas.microsoft.com/office/drawing/2014/main" id="{1F335E48-2801-6970-4B23-5C9867A7F6C3}"/>
              </a:ext>
            </a:extLst>
          </p:cNvPr>
          <p:cNvSpPr/>
          <p:nvPr/>
        </p:nvSpPr>
        <p:spPr>
          <a:xfrm>
            <a:off x="1532944" y="4702468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.1%</a:t>
            </a:r>
            <a:endParaRPr lang="ko-KR" altLang="en-US" sz="80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3" name="모서리가 둥근 직사각형 167">
            <a:extLst>
              <a:ext uri="{FF2B5EF4-FFF2-40B4-BE49-F238E27FC236}">
                <a16:creationId xmlns:a16="http://schemas.microsoft.com/office/drawing/2014/main" id="{A43C0F6F-2B62-C51C-54EA-4E1965B0798E}"/>
              </a:ext>
            </a:extLst>
          </p:cNvPr>
          <p:cNvSpPr/>
          <p:nvPr/>
        </p:nvSpPr>
        <p:spPr>
          <a:xfrm>
            <a:off x="1025450" y="5335998"/>
            <a:ext cx="900000" cy="252000"/>
          </a:xfrm>
          <a:prstGeom prst="roundRect">
            <a:avLst>
              <a:gd name="adj" fmla="val 0"/>
            </a:avLst>
          </a:prstGeom>
          <a:solidFill>
            <a:srgbClr val="D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프라임</a:t>
            </a:r>
            <a:r>
              <a:rPr lang="en-US" altLang="ko-KR" sz="800" b="1">
                <a:solidFill>
                  <a:schemeClr val="bg2">
                    <a:lumMod val="25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4" name="타원 163">
            <a:extLst>
              <a:ext uri="{FF2B5EF4-FFF2-40B4-BE49-F238E27FC236}">
                <a16:creationId xmlns:a16="http://schemas.microsoft.com/office/drawing/2014/main" id="{7618DF26-F34B-F2D6-3177-5BF6F603368D}"/>
              </a:ext>
            </a:extLst>
          </p:cNvPr>
          <p:cNvSpPr/>
          <p:nvPr/>
        </p:nvSpPr>
        <p:spPr>
          <a:xfrm>
            <a:off x="1532944" y="5165479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649C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50">
                <a:solidFill>
                  <a:srgbClr val="649CFF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750">
              <a:solidFill>
                <a:srgbClr val="649CFF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98759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롯데그룹</a:t>
            </a:r>
          </a:p>
        </p:txBody>
      </p:sp>
    </p:spTree>
    <p:extLst>
      <p:ext uri="{BB962C8B-B14F-4D97-AF65-F5344CB8AC3E}">
        <p14:creationId xmlns:p14="http://schemas.microsoft.com/office/powerpoint/2010/main" val="1423877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7" name="Picture 2" descr="롯데케미칼, 해외 자회사 성적표에 '한숨' - 딜사이트">
            <a:extLst>
              <a:ext uri="{FF2B5EF4-FFF2-40B4-BE49-F238E27FC236}">
                <a16:creationId xmlns:a16="http://schemas.microsoft.com/office/drawing/2014/main" id="{19C2A03F-AA28-538F-D53A-2075DBAD3F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768" y="2436021"/>
            <a:ext cx="1481137" cy="529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롯데에너지머티리얼즈 배터리 소재 사업 삼중고 - 전자부품 전문 미디어 디일렉">
            <a:extLst>
              <a:ext uri="{FF2B5EF4-FFF2-40B4-BE49-F238E27FC236}">
                <a16:creationId xmlns:a16="http://schemas.microsoft.com/office/drawing/2014/main" id="{5AF36BD9-867A-FB15-84A3-EE346B6353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" r="5715"/>
          <a:stretch/>
        </p:blipFill>
        <p:spPr bwMode="auto">
          <a:xfrm>
            <a:off x="607420" y="3480048"/>
            <a:ext cx="1539769" cy="58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롯데건설 또 손 벌렸다…국내 은행 2곳서 3500억원 차입, 한 달 사이 벌써 다섯 번째 | 서울신문">
            <a:extLst>
              <a:ext uri="{FF2B5EF4-FFF2-40B4-BE49-F238E27FC236}">
                <a16:creationId xmlns:a16="http://schemas.microsoft.com/office/drawing/2014/main" id="{62D9D37F-D9E1-FF6A-1203-7B24AA56B5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4" t="28961" r="14920" b="27442"/>
          <a:stretch/>
        </p:blipFill>
        <p:spPr bwMode="auto">
          <a:xfrm>
            <a:off x="596223" y="4485741"/>
            <a:ext cx="1485526" cy="53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롯데쇼핑 - 나무위키">
            <a:extLst>
              <a:ext uri="{FF2B5EF4-FFF2-40B4-BE49-F238E27FC236}">
                <a16:creationId xmlns:a16="http://schemas.microsoft.com/office/drawing/2014/main" id="{261AF6B6-CF81-E526-A0B8-5003DCAD5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369" y="5588730"/>
            <a:ext cx="1403680" cy="457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503453" y="3241175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4492421" y="230424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4492421" y="248944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4492421" y="267464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4492421" y="285985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4492421" y="304505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6907453" y="230424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6907453" y="248944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6907453" y="267464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6907453" y="285985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6907453" y="304505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9322485" y="2304243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9322485" y="248944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9322485" y="267464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9322485" y="285985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9322485" y="304505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2420276" y="2274611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글로벌 경기침체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및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중국 경제 회복 지연으로 매출 감소</a:t>
            </a:r>
            <a:endParaRPr lang="en-US" altLang="ko-KR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가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및 원료가 하락에 따른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역래깅효과</a:t>
            </a:r>
            <a:r>
              <a:rPr lang="en-US" altLang="ko-KR" sz="900" kern="0" baseline="3000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수익성 악화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4789290" y="2274611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투자부담으로 인해 실적 대비 채무부담 증가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endParaRPr lang="en-US" altLang="ko-KR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해외 일부 자회사 차입약정 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EOD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상태</a:t>
            </a:r>
            <a:endParaRPr lang="en-US" altLang="ko-KR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회사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천억원 조달 추진 中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투자재원 마련 위해 추가 자금조달 필요 예상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7231622" y="2274611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5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까지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배터리소재 다양화를 위한 국내외 공장건설과 수소에너지 공장증설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등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9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원 투자계획</a:t>
            </a: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802A8544-9484-5380-3540-CE30F3BF5E45}"/>
              </a:ext>
            </a:extLst>
          </p:cNvPr>
          <p:cNvCxnSpPr>
            <a:cxnSpLocks/>
          </p:cNvCxnSpPr>
          <p:nvPr/>
        </p:nvCxnSpPr>
        <p:spPr>
          <a:xfrm>
            <a:off x="503453" y="4248480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275EA1F-6801-F806-BFFA-80C00140AD34}"/>
              </a:ext>
            </a:extLst>
          </p:cNvPr>
          <p:cNvSpPr/>
          <p:nvPr/>
        </p:nvSpPr>
        <p:spPr>
          <a:xfrm>
            <a:off x="4492421" y="33115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BD3C0A0-78BF-9660-2646-110A2D2236AA}"/>
              </a:ext>
            </a:extLst>
          </p:cNvPr>
          <p:cNvSpPr/>
          <p:nvPr/>
        </p:nvSpPr>
        <p:spPr>
          <a:xfrm>
            <a:off x="4492421" y="34967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0CDE98FE-2BEB-4660-7CB3-9ED31370F8BF}"/>
              </a:ext>
            </a:extLst>
          </p:cNvPr>
          <p:cNvSpPr/>
          <p:nvPr/>
        </p:nvSpPr>
        <p:spPr>
          <a:xfrm>
            <a:off x="4492421" y="36819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241C604-C7B5-2168-50E9-3E038048CD40}"/>
              </a:ext>
            </a:extLst>
          </p:cNvPr>
          <p:cNvSpPr/>
          <p:nvPr/>
        </p:nvSpPr>
        <p:spPr>
          <a:xfrm>
            <a:off x="4492421" y="386715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43296B8-19DE-8E44-3580-FDDCD7E55786}"/>
              </a:ext>
            </a:extLst>
          </p:cNvPr>
          <p:cNvSpPr/>
          <p:nvPr/>
        </p:nvSpPr>
        <p:spPr>
          <a:xfrm>
            <a:off x="4492421" y="405236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B31A67-3266-FE51-0B6B-D729F723D42B}"/>
              </a:ext>
            </a:extLst>
          </p:cNvPr>
          <p:cNvSpPr/>
          <p:nvPr/>
        </p:nvSpPr>
        <p:spPr>
          <a:xfrm>
            <a:off x="6907453" y="33115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06C5142-CC1D-33A4-FA5F-E5002FC0C2B7}"/>
              </a:ext>
            </a:extLst>
          </p:cNvPr>
          <p:cNvSpPr/>
          <p:nvPr/>
        </p:nvSpPr>
        <p:spPr>
          <a:xfrm>
            <a:off x="6907453" y="34967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6AEE687-2A43-A57F-604D-DD7F4CF82361}"/>
              </a:ext>
            </a:extLst>
          </p:cNvPr>
          <p:cNvSpPr/>
          <p:nvPr/>
        </p:nvSpPr>
        <p:spPr>
          <a:xfrm>
            <a:off x="6907453" y="36819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BBDC857-C900-90A9-729E-76E5B8BDD16B}"/>
              </a:ext>
            </a:extLst>
          </p:cNvPr>
          <p:cNvSpPr/>
          <p:nvPr/>
        </p:nvSpPr>
        <p:spPr>
          <a:xfrm>
            <a:off x="6907453" y="386715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A6D8254-B87D-6C6D-1891-815165E6E20B}"/>
              </a:ext>
            </a:extLst>
          </p:cNvPr>
          <p:cNvSpPr/>
          <p:nvPr/>
        </p:nvSpPr>
        <p:spPr>
          <a:xfrm>
            <a:off x="6907453" y="405236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C06993D1-1136-8386-CC3F-9536C4E192AB}"/>
              </a:ext>
            </a:extLst>
          </p:cNvPr>
          <p:cNvSpPr/>
          <p:nvPr/>
        </p:nvSpPr>
        <p:spPr>
          <a:xfrm>
            <a:off x="9322485" y="331154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98D63A8E-7203-2E64-99B2-391D9F8A0384}"/>
              </a:ext>
            </a:extLst>
          </p:cNvPr>
          <p:cNvSpPr/>
          <p:nvPr/>
        </p:nvSpPr>
        <p:spPr>
          <a:xfrm>
            <a:off x="9322485" y="349675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37F714D8-F335-4F00-EA2B-4C73FF6A0387}"/>
              </a:ext>
            </a:extLst>
          </p:cNvPr>
          <p:cNvSpPr/>
          <p:nvPr/>
        </p:nvSpPr>
        <p:spPr>
          <a:xfrm>
            <a:off x="9322485" y="368195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02111F6D-D202-0571-FACB-79853FC99094}"/>
              </a:ext>
            </a:extLst>
          </p:cNvPr>
          <p:cNvSpPr/>
          <p:nvPr/>
        </p:nvSpPr>
        <p:spPr>
          <a:xfrm>
            <a:off x="9322485" y="386715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23A45F5-6F94-9EDE-B896-1DC13D851CCD}"/>
              </a:ext>
            </a:extLst>
          </p:cNvPr>
          <p:cNvSpPr/>
          <p:nvPr/>
        </p:nvSpPr>
        <p:spPr>
          <a:xfrm>
            <a:off x="9322485" y="405236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AFDC5F4-9A3F-F664-5E97-2BF278E66218}"/>
              </a:ext>
            </a:extLst>
          </p:cNvPr>
          <p:cNvSpPr txBox="1"/>
          <p:nvPr/>
        </p:nvSpPr>
        <p:spPr>
          <a:xfrm>
            <a:off x="2420276" y="329486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중국發 공급과잉 속 </a:t>
            </a:r>
            <a:r>
              <a:rPr lang="ko-KR" altLang="en-US" sz="900" b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동박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가격 하락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객사 수요 </a:t>
            </a:r>
            <a:r>
              <a:rPr lang="ko-KR" altLang="en-US" sz="900" b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연으로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수익성 하락</a:t>
            </a:r>
            <a:b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업이익률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.2% 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→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3.1H </a:t>
            </a:r>
            <a:b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-)3.4%)</a:t>
            </a:r>
            <a:endParaRPr lang="en-US" altLang="ko-KR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하반기에는 고객사의 주문량이 늘어날 것으로 전망치가 제시되고 있음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B68AC89-214F-E51B-A35A-F1B20697054F}"/>
              </a:ext>
            </a:extLst>
          </p:cNvPr>
          <p:cNvSpPr txBox="1"/>
          <p:nvPr/>
        </p:nvSpPr>
        <p:spPr>
          <a:xfrm>
            <a:off x="4789290" y="329486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낮은 부채비율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62.8%),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그러나 </a:t>
            </a:r>
            <a:b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월 기준으로 이자보상배율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65FD29C-72A5-1CFC-1D83-4810D038E136}"/>
              </a:ext>
            </a:extLst>
          </p:cNvPr>
          <p:cNvSpPr txBox="1"/>
          <p:nvPr/>
        </p:nvSpPr>
        <p:spPr>
          <a:xfrm>
            <a:off x="7231622" y="329486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생산 </a:t>
            </a:r>
            <a:r>
              <a:rPr lang="en-US" altLang="ko-KR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apa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증설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만톤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→ 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8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4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만톤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위해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향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간 총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천억원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~ 3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천억원 규모 소요 예상</a:t>
            </a:r>
          </a:p>
        </p:txBody>
      </p:sp>
      <p:cxnSp>
        <p:nvCxnSpPr>
          <p:cNvPr id="85" name="직선 연결선 84">
            <a:extLst>
              <a:ext uri="{FF2B5EF4-FFF2-40B4-BE49-F238E27FC236}">
                <a16:creationId xmlns:a16="http://schemas.microsoft.com/office/drawing/2014/main" id="{4BF5CA7D-2161-F624-8BF5-4ECE71707D86}"/>
              </a:ext>
            </a:extLst>
          </p:cNvPr>
          <p:cNvCxnSpPr>
            <a:cxnSpLocks/>
          </p:cNvCxnSpPr>
          <p:nvPr/>
        </p:nvCxnSpPr>
        <p:spPr>
          <a:xfrm>
            <a:off x="503453" y="5282184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154B1AB-864D-E6EA-6A50-F92C5E90DB50}"/>
              </a:ext>
            </a:extLst>
          </p:cNvPr>
          <p:cNvSpPr/>
          <p:nvPr/>
        </p:nvSpPr>
        <p:spPr>
          <a:xfrm>
            <a:off x="4492421" y="432160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4C484B3B-A537-4220-5B14-399862F72547}"/>
              </a:ext>
            </a:extLst>
          </p:cNvPr>
          <p:cNvSpPr/>
          <p:nvPr/>
        </p:nvSpPr>
        <p:spPr>
          <a:xfrm>
            <a:off x="4492421" y="450680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5FCBF72E-6E69-1FA4-5875-C5A9D40F4624}"/>
              </a:ext>
            </a:extLst>
          </p:cNvPr>
          <p:cNvSpPr/>
          <p:nvPr/>
        </p:nvSpPr>
        <p:spPr>
          <a:xfrm>
            <a:off x="4492421" y="469200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9FE3822B-94E4-AF37-9E7E-FC74582FF63C}"/>
              </a:ext>
            </a:extLst>
          </p:cNvPr>
          <p:cNvSpPr/>
          <p:nvPr/>
        </p:nvSpPr>
        <p:spPr>
          <a:xfrm>
            <a:off x="4492421" y="487721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BC19565F-C2E8-CF6C-AD20-AD80240F1424}"/>
              </a:ext>
            </a:extLst>
          </p:cNvPr>
          <p:cNvSpPr/>
          <p:nvPr/>
        </p:nvSpPr>
        <p:spPr>
          <a:xfrm>
            <a:off x="4492421" y="506241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CC00318B-EE28-9849-5F1F-F89467B48390}"/>
              </a:ext>
            </a:extLst>
          </p:cNvPr>
          <p:cNvSpPr/>
          <p:nvPr/>
        </p:nvSpPr>
        <p:spPr>
          <a:xfrm>
            <a:off x="6907453" y="432160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6FD50299-1A4C-EC00-CFBF-2F26C09E6782}"/>
              </a:ext>
            </a:extLst>
          </p:cNvPr>
          <p:cNvSpPr/>
          <p:nvPr/>
        </p:nvSpPr>
        <p:spPr>
          <a:xfrm>
            <a:off x="6907453" y="450680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7CCEC674-5144-D082-B95F-80F056E1A841}"/>
              </a:ext>
            </a:extLst>
          </p:cNvPr>
          <p:cNvSpPr/>
          <p:nvPr/>
        </p:nvSpPr>
        <p:spPr>
          <a:xfrm>
            <a:off x="6907453" y="469200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71F38A48-6438-3C9D-10E2-1D6EE1B573C8}"/>
              </a:ext>
            </a:extLst>
          </p:cNvPr>
          <p:cNvSpPr/>
          <p:nvPr/>
        </p:nvSpPr>
        <p:spPr>
          <a:xfrm>
            <a:off x="6907453" y="487721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6A8A33A6-C88A-7555-6661-55774CF01553}"/>
              </a:ext>
            </a:extLst>
          </p:cNvPr>
          <p:cNvSpPr/>
          <p:nvPr/>
        </p:nvSpPr>
        <p:spPr>
          <a:xfrm>
            <a:off x="6907453" y="506241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747C5E07-84C7-1AEC-9D4E-B1F53F20EF51}"/>
              </a:ext>
            </a:extLst>
          </p:cNvPr>
          <p:cNvSpPr/>
          <p:nvPr/>
        </p:nvSpPr>
        <p:spPr>
          <a:xfrm>
            <a:off x="9322485" y="4321603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67E6B9C8-B83B-6DBE-CCBA-0DEE7B7A6AF4}"/>
              </a:ext>
            </a:extLst>
          </p:cNvPr>
          <p:cNvSpPr/>
          <p:nvPr/>
        </p:nvSpPr>
        <p:spPr>
          <a:xfrm>
            <a:off x="9322485" y="4506806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8DC959C-ABA3-30EF-DD01-0B13F3AF3EDA}"/>
              </a:ext>
            </a:extLst>
          </p:cNvPr>
          <p:cNvSpPr/>
          <p:nvPr/>
        </p:nvSpPr>
        <p:spPr>
          <a:xfrm>
            <a:off x="9322485" y="4692009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3AE7B102-7C8E-6AA5-294D-D079E694F281}"/>
              </a:ext>
            </a:extLst>
          </p:cNvPr>
          <p:cNvSpPr/>
          <p:nvPr/>
        </p:nvSpPr>
        <p:spPr>
          <a:xfrm>
            <a:off x="9322485" y="4877212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AC26CF1-F89A-F38E-CDA6-9D89DCC405F8}"/>
              </a:ext>
            </a:extLst>
          </p:cNvPr>
          <p:cNvSpPr/>
          <p:nvPr/>
        </p:nvSpPr>
        <p:spPr>
          <a:xfrm>
            <a:off x="9322485" y="5062416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33E44CD-DE11-3E3B-D45C-41B67043EB99}"/>
              </a:ext>
            </a:extLst>
          </p:cNvPr>
          <p:cNvSpPr txBox="1"/>
          <p:nvPr/>
        </p:nvSpPr>
        <p:spPr>
          <a:xfrm>
            <a:off x="2420276" y="431390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건설 자재 가격 인상으로 수익성 하락</a:t>
            </a:r>
            <a:b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업이익률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9.4%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→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3.1H 3.8%)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금리 상황 下 이자부담 증가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C24FBF8-4B6C-0DE2-0426-DBF12C36141B}"/>
              </a:ext>
            </a:extLst>
          </p:cNvPr>
          <p:cNvSpPr txBox="1"/>
          <p:nvPr/>
        </p:nvSpPr>
        <p:spPr>
          <a:xfrm>
            <a:off x="4789290" y="431390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시장 침체 장기화 상황 속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b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우발채무 부담 지속</a:t>
            </a:r>
            <a:endParaRPr lang="en-US" altLang="ko-KR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회사 보유 유가증권 등 매각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상증자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등 전방위적 자금 조달 진행</a:t>
            </a:r>
            <a:b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연초 </a:t>
            </a:r>
            <a:r>
              <a:rPr lang="ko-KR" altLang="en-US" sz="8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메리츠증권으로부터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2%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에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.5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원 차입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CD7B612-A99A-6339-85A7-7C601D74A131}"/>
              </a:ext>
            </a:extLst>
          </p:cNvPr>
          <p:cNvSpPr txBox="1"/>
          <p:nvPr/>
        </p:nvSpPr>
        <p:spPr>
          <a:xfrm>
            <a:off x="7231622" y="428282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ko-KR" altLang="en-US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AA5C34F-5336-CD70-55D5-BB1EC79533EA}"/>
              </a:ext>
            </a:extLst>
          </p:cNvPr>
          <p:cNvCxnSpPr>
            <a:cxnSpLocks/>
          </p:cNvCxnSpPr>
          <p:nvPr/>
        </p:nvCxnSpPr>
        <p:spPr>
          <a:xfrm>
            <a:off x="503453" y="6317159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5DDF5A38-0903-471B-9F76-F7B3F2E1D980}"/>
              </a:ext>
            </a:extLst>
          </p:cNvPr>
          <p:cNvSpPr/>
          <p:nvPr/>
        </p:nvSpPr>
        <p:spPr>
          <a:xfrm>
            <a:off x="4492421" y="535657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42018F4D-2930-8733-4490-8FBB121EC600}"/>
              </a:ext>
            </a:extLst>
          </p:cNvPr>
          <p:cNvSpPr/>
          <p:nvPr/>
        </p:nvSpPr>
        <p:spPr>
          <a:xfrm>
            <a:off x="4492421" y="554178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21FF79A5-18E7-1CE5-32C4-19EE989EA816}"/>
              </a:ext>
            </a:extLst>
          </p:cNvPr>
          <p:cNvSpPr/>
          <p:nvPr/>
        </p:nvSpPr>
        <p:spPr>
          <a:xfrm>
            <a:off x="4492421" y="572698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982C754C-FCBC-14DB-E9DB-B8B279955D69}"/>
              </a:ext>
            </a:extLst>
          </p:cNvPr>
          <p:cNvSpPr/>
          <p:nvPr/>
        </p:nvSpPr>
        <p:spPr>
          <a:xfrm>
            <a:off x="4492421" y="591218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BCEEB98-B842-F540-34F0-8B9C274906C8}"/>
              </a:ext>
            </a:extLst>
          </p:cNvPr>
          <p:cNvSpPr/>
          <p:nvPr/>
        </p:nvSpPr>
        <p:spPr>
          <a:xfrm>
            <a:off x="4492421" y="609739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FC40C4A7-9E54-7C57-50A2-DD4C94513638}"/>
              </a:ext>
            </a:extLst>
          </p:cNvPr>
          <p:cNvSpPr/>
          <p:nvPr/>
        </p:nvSpPr>
        <p:spPr>
          <a:xfrm>
            <a:off x="6907453" y="535657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1F0BCF1-3612-319D-77A6-EBD7A2077A00}"/>
              </a:ext>
            </a:extLst>
          </p:cNvPr>
          <p:cNvSpPr/>
          <p:nvPr/>
        </p:nvSpPr>
        <p:spPr>
          <a:xfrm>
            <a:off x="6907453" y="554178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1B3AEE0D-E5DF-1A7D-ACE0-7FA2C7B47177}"/>
              </a:ext>
            </a:extLst>
          </p:cNvPr>
          <p:cNvSpPr/>
          <p:nvPr/>
        </p:nvSpPr>
        <p:spPr>
          <a:xfrm>
            <a:off x="6907453" y="572698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AAC39A0-E556-3720-FA70-0482A1866000}"/>
              </a:ext>
            </a:extLst>
          </p:cNvPr>
          <p:cNvSpPr/>
          <p:nvPr/>
        </p:nvSpPr>
        <p:spPr>
          <a:xfrm>
            <a:off x="6907453" y="591218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B53B4A51-C202-41AF-529B-0EEAEA49B696}"/>
              </a:ext>
            </a:extLst>
          </p:cNvPr>
          <p:cNvSpPr/>
          <p:nvPr/>
        </p:nvSpPr>
        <p:spPr>
          <a:xfrm>
            <a:off x="6907453" y="609739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B8C0B88-4B80-797C-6475-FCDC0BB09B77}"/>
              </a:ext>
            </a:extLst>
          </p:cNvPr>
          <p:cNvSpPr/>
          <p:nvPr/>
        </p:nvSpPr>
        <p:spPr>
          <a:xfrm>
            <a:off x="9322485" y="535657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F7783635-0E70-C2B9-A68F-C6559120DE4B}"/>
              </a:ext>
            </a:extLst>
          </p:cNvPr>
          <p:cNvSpPr/>
          <p:nvPr/>
        </p:nvSpPr>
        <p:spPr>
          <a:xfrm>
            <a:off x="9322485" y="554178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392FD67A-6BD1-AB50-43E8-C6E01500DACA}"/>
              </a:ext>
            </a:extLst>
          </p:cNvPr>
          <p:cNvSpPr/>
          <p:nvPr/>
        </p:nvSpPr>
        <p:spPr>
          <a:xfrm>
            <a:off x="9322485" y="572698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85E2555D-FC45-F324-9BD0-8303DAE53BA6}"/>
              </a:ext>
            </a:extLst>
          </p:cNvPr>
          <p:cNvSpPr/>
          <p:nvPr/>
        </p:nvSpPr>
        <p:spPr>
          <a:xfrm>
            <a:off x="9322485" y="591218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E62FE95-2190-0730-8F8B-4A7A4F06A70D}"/>
              </a:ext>
            </a:extLst>
          </p:cNvPr>
          <p:cNvSpPr/>
          <p:nvPr/>
        </p:nvSpPr>
        <p:spPr>
          <a:xfrm>
            <a:off x="9322485" y="609739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0DFFEE9-6AC7-6062-9531-A368E4644948}"/>
              </a:ext>
            </a:extLst>
          </p:cNvPr>
          <p:cNvSpPr txBox="1"/>
          <p:nvPr/>
        </p:nvSpPr>
        <p:spPr>
          <a:xfrm>
            <a:off x="2420276" y="53452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백화점과 마트 코로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9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전 수준을 회복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흑자전환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반면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IMM PE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와 공동 인수한 한샘 실적 부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하이마트 실적 부진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E5AE4D4-75B2-E79E-70C9-F1220FE98244}"/>
              </a:ext>
            </a:extLst>
          </p:cNvPr>
          <p:cNvSpPr txBox="1"/>
          <p:nvPr/>
        </p:nvSpPr>
        <p:spPr>
          <a:xfrm>
            <a:off x="4789290" y="53452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재무구조 악화로 백화점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마트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홈쇼핑 등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수천억원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규모의 부동산 자산 매각 추진 중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6BB3553-AA79-0AE0-6385-CD8453A306A8}"/>
              </a:ext>
            </a:extLst>
          </p:cNvPr>
          <p:cNvSpPr txBox="1"/>
          <p:nvPr/>
        </p:nvSpPr>
        <p:spPr>
          <a:xfrm>
            <a:off x="7231622" y="53452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향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간 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8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,000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투자 계획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백화점 점포 리뉴얼이 상당 부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endParaRPr lang="ko-KR" altLang="en-US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온라인 사업에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3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까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원투자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롯데마트는 특화 매장에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원투자 </a:t>
            </a: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주력 계열사인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롯데케미칼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재무실적 악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주요 계열사 신용도 하락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및 재무건전성 악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기존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사업 및 신규사업 추진을 위한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Capex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소요액 증가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4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그룹 차원에서 비핵심자산 매각 등을 통해 현금 확보에 총력을 기울이는 점 등을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69FD8E-AF15-5B61-53D8-BA157FD72142}"/>
              </a:ext>
            </a:extLst>
          </p:cNvPr>
          <p:cNvSpPr txBox="1"/>
          <p:nvPr/>
        </p:nvSpPr>
        <p:spPr>
          <a:xfrm>
            <a:off x="7231622" y="431390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ED23794C-8936-652D-3FEE-3A9782DE78D9}"/>
              </a:ext>
            </a:extLst>
          </p:cNvPr>
          <p:cNvSpPr/>
          <p:nvPr/>
        </p:nvSpPr>
        <p:spPr>
          <a:xfrm>
            <a:off x="0" y="7080882"/>
            <a:ext cx="4209325" cy="1188189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r>
              <a:rPr lang="ko-KR" altLang="en-US" sz="1000" err="1">
                <a:solidFill>
                  <a:schemeClr val="bg1"/>
                </a:solidFill>
                <a:highlight>
                  <a:srgbClr val="FFCCCC"/>
                </a:highlight>
              </a:rPr>
              <a:t>롯데케미칼은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 회사채 발행 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5000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억이 아닌 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3000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억 규모로 축소했다고 하고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, 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최근 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1500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억원 규모 수요 모집했는데 예상보다 흥행했다고 합니다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. </a:t>
            </a:r>
          </a:p>
          <a:p>
            <a:r>
              <a:rPr lang="en-US" altLang="ko-KR" sz="1000">
                <a:highlight>
                  <a:srgbClr val="FFCCCC"/>
                </a:highlight>
                <a:hlinkClick r:id="rId10"/>
              </a:rPr>
              <a:t>[</a:t>
            </a:r>
            <a:r>
              <a:rPr lang="ko-KR" altLang="en-US" sz="1000">
                <a:highlight>
                  <a:srgbClr val="FFCCCC"/>
                </a:highlight>
                <a:hlinkClick r:id="rId10"/>
              </a:rPr>
              <a:t>시그널</a:t>
            </a:r>
            <a:r>
              <a:rPr lang="en-US" altLang="ko-KR" sz="1000">
                <a:highlight>
                  <a:srgbClr val="FFCCCC"/>
                </a:highlight>
                <a:hlinkClick r:id="rId10"/>
              </a:rPr>
              <a:t>] '</a:t>
            </a:r>
            <a:r>
              <a:rPr lang="ko-KR" altLang="en-US" sz="1000">
                <a:highlight>
                  <a:srgbClr val="FFCCCC"/>
                </a:highlight>
                <a:hlinkClick r:id="rId10"/>
              </a:rPr>
              <a:t>신용등급 강등</a:t>
            </a:r>
            <a:r>
              <a:rPr lang="en-US" altLang="ko-KR" sz="1000">
                <a:highlight>
                  <a:srgbClr val="FFCCCC"/>
                </a:highlight>
                <a:hlinkClick r:id="rId10"/>
              </a:rPr>
              <a:t>' </a:t>
            </a:r>
            <a:r>
              <a:rPr lang="ko-KR" altLang="en-US" sz="1000" err="1">
                <a:highlight>
                  <a:srgbClr val="FFCCCC"/>
                </a:highlight>
                <a:hlinkClick r:id="rId10"/>
              </a:rPr>
              <a:t>롯데케미칼</a:t>
            </a:r>
            <a:r>
              <a:rPr lang="en-US" altLang="ko-KR" sz="1000">
                <a:highlight>
                  <a:srgbClr val="FFCCCC"/>
                </a:highlight>
                <a:hlinkClick r:id="rId10"/>
              </a:rPr>
              <a:t>, </a:t>
            </a:r>
            <a:r>
              <a:rPr lang="ko-KR" altLang="en-US" sz="1000">
                <a:highlight>
                  <a:srgbClr val="FFCCCC"/>
                </a:highlight>
                <a:hlinkClick r:id="rId10"/>
              </a:rPr>
              <a:t>회사채 발행 </a:t>
            </a:r>
            <a:r>
              <a:rPr lang="en-US" altLang="ko-KR" sz="1000">
                <a:highlight>
                  <a:srgbClr val="FFCCCC"/>
                </a:highlight>
                <a:hlinkClick r:id="rId10"/>
              </a:rPr>
              <a:t>1000</a:t>
            </a:r>
            <a:r>
              <a:rPr lang="ko-KR" altLang="en-US" sz="1000">
                <a:highlight>
                  <a:srgbClr val="FFCCCC"/>
                </a:highlight>
                <a:hlinkClick r:id="rId10"/>
              </a:rPr>
              <a:t>억 축소 </a:t>
            </a:r>
            <a:r>
              <a:rPr lang="en-US" altLang="ko-KR" sz="1000">
                <a:highlight>
                  <a:srgbClr val="FFCCCC"/>
                </a:highlight>
                <a:hlinkClick r:id="rId10"/>
              </a:rPr>
              <a:t>| </a:t>
            </a:r>
            <a:r>
              <a:rPr lang="ko-KR" altLang="en-US" sz="1000">
                <a:highlight>
                  <a:srgbClr val="FFCCCC"/>
                </a:highlight>
                <a:hlinkClick r:id="rId10"/>
              </a:rPr>
              <a:t>서울경제 </a:t>
            </a:r>
            <a:r>
              <a:rPr lang="en-US" altLang="ko-KR" sz="1000">
                <a:highlight>
                  <a:srgbClr val="FFCCCC"/>
                </a:highlight>
                <a:hlinkClick r:id="rId10"/>
              </a:rPr>
              <a:t>(sedaily.com)</a:t>
            </a:r>
            <a:endParaRPr lang="en-US" altLang="ko-KR" sz="1000">
              <a:highlight>
                <a:srgbClr val="FFCCCC"/>
              </a:highlight>
            </a:endParaRPr>
          </a:p>
          <a:p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그럼에도 불구하고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, “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업계 불황이 지속되는 상황 하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 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향후 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CAPEX 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투자 재원 마련을 위해서는 추가 자금조달이 필요할 것으로 예상된다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”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는 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tone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으로 </a:t>
            </a:r>
            <a:r>
              <a:rPr lang="ko-KR" altLang="en-US" sz="1000" err="1">
                <a:solidFill>
                  <a:schemeClr val="bg1"/>
                </a:solidFill>
                <a:highlight>
                  <a:srgbClr val="FFCCCC"/>
                </a:highlight>
              </a:rPr>
              <a:t>워딩만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 수정 부탁드립니다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.</a:t>
            </a:r>
            <a:endParaRPr lang="ko-KR" altLang="en-US" sz="1000">
              <a:solidFill>
                <a:schemeClr val="bg1"/>
              </a:solidFill>
              <a:highlight>
                <a:srgbClr val="FFCCCC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137404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롯데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548394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롯데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신동빈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송파구 올림픽로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300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67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4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8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38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,88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09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-)155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식품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통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학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조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칠성음료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1440000"/>
          </a:xfrm>
          <a:prstGeom prst="rect">
            <a:avLst/>
          </a:prstGeom>
          <a:noFill/>
          <a:ln w="6350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롯데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240613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4,04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1,00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18,0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2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,6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,9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영업이익</a:t>
                      </a:r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5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7,733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1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155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92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당기순이익</a:t>
                      </a:r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4.9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256,81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02,57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86,8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3,38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05,5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90,0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롯데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광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서비스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</a:t>
            </a: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F3E75BEA-C328-5F8E-A950-167A26D2692B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GRS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36570529-A154-AAEA-9243-6AC1B06A71C8}"/>
              </a:ext>
            </a:extLst>
          </p:cNvPr>
          <p:cNvSpPr/>
          <p:nvPr/>
        </p:nvSpPr>
        <p:spPr>
          <a:xfrm>
            <a:off x="5125647" y="3529668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웰푸드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로 주요 계열사 일부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쇼핑</a:t>
            </a:r>
            <a:endParaRPr lang="en-US" altLang="ko-KR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홈쇼핑</a:t>
            </a:r>
            <a:r>
              <a:rPr lang="en-US" altLang="ko-KR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br>
              <a:rPr lang="en-US" altLang="ko-KR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마트</a:t>
            </a:r>
            <a:r>
              <a:rPr lang="en-US" altLang="ko-KR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샘</a:t>
            </a:r>
            <a:r>
              <a:rPr lang="en-US" altLang="ko-KR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2394000"/>
          </a:xfrm>
          <a:prstGeom prst="rect">
            <a:avLst/>
          </a:prstGeom>
          <a:noFill/>
          <a:ln w="6350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7C76AC4-3F54-84E8-E06D-8E8753308D51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홈쇼핑</a:t>
            </a: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A900C9F0-43DD-741F-9728-DC0378CA96A2}"/>
              </a:ext>
            </a:extLst>
          </p:cNvPr>
          <p:cNvSpPr/>
          <p:nvPr/>
        </p:nvSpPr>
        <p:spPr>
          <a:xfrm>
            <a:off x="6213452" y="3529668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하이마트</a:t>
            </a:r>
            <a:endParaRPr lang="ko-KR" altLang="en-US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F7417692-B9E8-4EA7-C4C0-187BBEB5B398}"/>
              </a:ext>
            </a:extLst>
          </p:cNvPr>
          <p:cNvSpPr/>
          <p:nvPr/>
        </p:nvSpPr>
        <p:spPr>
          <a:xfrm>
            <a:off x="6213452" y="3998729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리아세븐</a:t>
            </a:r>
            <a:endParaRPr lang="en-US" altLang="ko-KR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븐일레븐</a:t>
            </a: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5D62F314-668D-9C11-5B31-9A6BA9B5E49C}"/>
              </a:ext>
            </a:extLst>
          </p:cNvPr>
          <p:cNvSpPr/>
          <p:nvPr/>
        </p:nvSpPr>
        <p:spPr>
          <a:xfrm>
            <a:off x="6213452" y="4472551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컬처웍스</a:t>
            </a:r>
            <a:endParaRPr lang="ko-KR" altLang="en-US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endParaRPr lang="ko-KR" altLang="en-US" sz="8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1923260"/>
          </a:xfrm>
          <a:prstGeom prst="rect">
            <a:avLst/>
          </a:prstGeom>
          <a:noFill/>
          <a:ln w="6350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B06FAD05-9F96-5320-B513-7DDFA45FDCA1}"/>
              </a:ext>
            </a:extLst>
          </p:cNvPr>
          <p:cNvSpPr/>
          <p:nvPr/>
        </p:nvSpPr>
        <p:spPr>
          <a:xfrm>
            <a:off x="7299651" y="3065453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머티리얼즈</a:t>
            </a:r>
            <a:endParaRPr lang="ko-KR" altLang="en-US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44A96ED4-1946-0C37-07D0-BBD96EB10AF1}"/>
              </a:ext>
            </a:extLst>
          </p:cNvPr>
          <p:cNvSpPr/>
          <p:nvPr/>
        </p:nvSpPr>
        <p:spPr>
          <a:xfrm>
            <a:off x="7299651" y="3529668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바이오로직스</a:t>
            </a:r>
            <a:endParaRPr lang="ko-KR" altLang="en-US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FA2C5146-8DAE-546B-5368-70AAA8116FD7}"/>
              </a:ext>
            </a:extLst>
          </p:cNvPr>
          <p:cNvSpPr/>
          <p:nvPr/>
        </p:nvSpPr>
        <p:spPr>
          <a:xfrm>
            <a:off x="7299651" y="3998729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</a:t>
            </a: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텔롯데</a:t>
            </a:r>
            <a:endParaRPr lang="ko-KR" altLang="en-US" sz="8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1923260"/>
          </a:xfrm>
          <a:prstGeom prst="rect">
            <a:avLst/>
          </a:prstGeom>
          <a:noFill/>
          <a:ln w="6350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A15B33A0-D10C-BAB5-AE83-A70693E94413}"/>
              </a:ext>
            </a:extLst>
          </p:cNvPr>
          <p:cNvSpPr/>
          <p:nvPr/>
        </p:nvSpPr>
        <p:spPr>
          <a:xfrm>
            <a:off x="8380040" y="3056347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렌탈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F1E46850-648C-FB39-FE07-34E0CFEF0D17}"/>
              </a:ext>
            </a:extLst>
          </p:cNvPr>
          <p:cNvSpPr/>
          <p:nvPr/>
        </p:nvSpPr>
        <p:spPr>
          <a:xfrm>
            <a:off x="8380040" y="3525408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글로벌로지스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E96EFE6D-9673-5B6F-B88C-63809E90EA9F}"/>
              </a:ext>
            </a:extLst>
          </p:cNvPr>
          <p:cNvSpPr/>
          <p:nvPr/>
        </p:nvSpPr>
        <p:spPr>
          <a:xfrm>
            <a:off x="8380040" y="3995730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캐피탈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404995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모서리가 둥근 직사각형 167">
            <a:extLst>
              <a:ext uri="{FF2B5EF4-FFF2-40B4-BE49-F238E27FC236}">
                <a16:creationId xmlns:a16="http://schemas.microsoft.com/office/drawing/2014/main" id="{D758AA23-3AE6-017B-7C67-4957BBE55EA6}"/>
              </a:ext>
            </a:extLst>
          </p:cNvPr>
          <p:cNvSpPr/>
          <p:nvPr/>
        </p:nvSpPr>
        <p:spPr>
          <a:xfrm>
            <a:off x="980690" y="174082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동주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동빈 등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너일가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394F8F3-A671-608A-F15C-FED08562AA8F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회사제시자료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지분구조</a:t>
            </a:r>
            <a:endParaRPr lang="en-US" sz="1500" b="1">
              <a:highlight>
                <a:srgbClr val="FFFF00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모서리가 둥근 직사각형 167">
            <a:extLst>
              <a:ext uri="{FF2B5EF4-FFF2-40B4-BE49-F238E27FC236}">
                <a16:creationId xmlns:a16="http://schemas.microsoft.com/office/drawing/2014/main" id="{60353AF1-8126-AFEA-4A65-1F31CCBA9F74}"/>
              </a:ext>
            </a:extLst>
          </p:cNvPr>
          <p:cNvSpPr/>
          <p:nvPr/>
        </p:nvSpPr>
        <p:spPr>
          <a:xfrm>
            <a:off x="3894938" y="174082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동빈</a:t>
            </a: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51606A2A-04ED-E1C2-956A-17C7CB4A3BB8}"/>
              </a:ext>
            </a:extLst>
          </p:cNvPr>
          <p:cNvCxnSpPr>
            <a:cxnSpLocks/>
          </p:cNvCxnSpPr>
          <p:nvPr/>
        </p:nvCxnSpPr>
        <p:spPr>
          <a:xfrm>
            <a:off x="1482301" y="2100825"/>
            <a:ext cx="0" cy="46800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622E774E-1FD1-5484-3D64-D535CD6BA810}"/>
              </a:ext>
            </a:extLst>
          </p:cNvPr>
          <p:cNvCxnSpPr>
            <a:cxnSpLocks/>
          </p:cNvCxnSpPr>
          <p:nvPr/>
        </p:nvCxnSpPr>
        <p:spPr>
          <a:xfrm>
            <a:off x="4404149" y="2100825"/>
            <a:ext cx="0" cy="481406"/>
          </a:xfrm>
          <a:prstGeom prst="straightConnector1">
            <a:avLst/>
          </a:prstGeom>
          <a:ln w="9525">
            <a:solidFill>
              <a:srgbClr val="00338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직사각형 54">
            <a:extLst>
              <a:ext uri="{FF2B5EF4-FFF2-40B4-BE49-F238E27FC236}">
                <a16:creationId xmlns:a16="http://schemas.microsoft.com/office/drawing/2014/main" id="{A1409CFD-90B4-CCCD-7059-50E46B9154C9}"/>
              </a:ext>
            </a:extLst>
          </p:cNvPr>
          <p:cNvSpPr/>
          <p:nvPr/>
        </p:nvSpPr>
        <p:spPr>
          <a:xfrm>
            <a:off x="1159564" y="2204834"/>
            <a:ext cx="660713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3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6" name="직사각형 55">
            <a:extLst>
              <a:ext uri="{FF2B5EF4-FFF2-40B4-BE49-F238E27FC236}">
                <a16:creationId xmlns:a16="http://schemas.microsoft.com/office/drawing/2014/main" id="{04A770B5-85A3-B65E-21D4-4DA165675B36}"/>
              </a:ext>
            </a:extLst>
          </p:cNvPr>
          <p:cNvSpPr/>
          <p:nvPr/>
        </p:nvSpPr>
        <p:spPr>
          <a:xfrm>
            <a:off x="4106020" y="2208510"/>
            <a:ext cx="660713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.0%</a:t>
            </a:r>
            <a:endParaRPr lang="ko-KR" altLang="en-US" sz="8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D7FC079F-B91A-5928-ED99-32F48E55D812}"/>
              </a:ext>
            </a:extLst>
          </p:cNvPr>
          <p:cNvSpPr txBox="1">
            <a:spLocks/>
          </p:cNvSpPr>
          <p:nvPr/>
        </p:nvSpPr>
        <p:spPr>
          <a:xfrm>
            <a:off x="11122486" y="3462099"/>
            <a:ext cx="1440000" cy="1642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.6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멤버스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.3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물산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8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벤처스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.99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상사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.5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쇼핑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.2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역사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.7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25E7D78-65E3-D451-30DB-2A3BA24B8A00}"/>
              </a:ext>
            </a:extLst>
          </p:cNvPr>
          <p:cNvSpPr txBox="1">
            <a:spLocks/>
          </p:cNvSpPr>
          <p:nvPr/>
        </p:nvSpPr>
        <p:spPr>
          <a:xfrm>
            <a:off x="12492329" y="3464573"/>
            <a:ext cx="1440000" cy="1642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제과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9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칠성음료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1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캐피탈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.9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푸드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8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리아세븐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1%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후지필름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.8%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6" name="모서리가 둥근 직사각형 167">
            <a:extLst>
              <a:ext uri="{FF2B5EF4-FFF2-40B4-BE49-F238E27FC236}">
                <a16:creationId xmlns:a16="http://schemas.microsoft.com/office/drawing/2014/main" id="{472965F3-E4BF-550E-9F73-691B8D83482B}"/>
              </a:ext>
            </a:extLst>
          </p:cNvPr>
          <p:cNvSpPr/>
          <p:nvPr/>
        </p:nvSpPr>
        <p:spPr>
          <a:xfrm>
            <a:off x="3903423" y="263369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지주</a:t>
            </a:r>
          </a:p>
        </p:txBody>
      </p:sp>
      <p:sp>
        <p:nvSpPr>
          <p:cNvPr id="67" name="모서리가 둥근 직사각형 167">
            <a:extLst>
              <a:ext uri="{FF2B5EF4-FFF2-40B4-BE49-F238E27FC236}">
                <a16:creationId xmlns:a16="http://schemas.microsoft.com/office/drawing/2014/main" id="{8E0A78BC-C675-4F80-FADD-E8B79BB2CC14}"/>
              </a:ext>
            </a:extLst>
          </p:cNvPr>
          <p:cNvSpPr/>
          <p:nvPr/>
        </p:nvSpPr>
        <p:spPr>
          <a:xfrm>
            <a:off x="980690" y="258223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윤사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C8FE0619-869B-B572-279E-16F84E03F02E}"/>
              </a:ext>
            </a:extLst>
          </p:cNvPr>
          <p:cNvCxnSpPr>
            <a:cxnSpLocks/>
          </p:cNvCxnSpPr>
          <p:nvPr/>
        </p:nvCxnSpPr>
        <p:spPr>
          <a:xfrm>
            <a:off x="1482300" y="2919600"/>
            <a:ext cx="0" cy="52807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8CC74CD9-BF4E-8ED2-7D6C-824B347C2E1C}"/>
              </a:ext>
            </a:extLst>
          </p:cNvPr>
          <p:cNvSpPr/>
          <p:nvPr/>
        </p:nvSpPr>
        <p:spPr>
          <a:xfrm>
            <a:off x="1159563" y="3061709"/>
            <a:ext cx="660713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8.1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B083F888-A2B6-C6C4-E440-C0C1678ABAA5}"/>
              </a:ext>
            </a:extLst>
          </p:cNvPr>
          <p:cNvSpPr/>
          <p:nvPr/>
        </p:nvSpPr>
        <p:spPr>
          <a:xfrm>
            <a:off x="978299" y="346027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홀딩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607EF1D4-0688-F106-C215-67B081F68156}"/>
              </a:ext>
            </a:extLst>
          </p:cNvPr>
          <p:cNvCxnSpPr>
            <a:cxnSpLocks/>
          </p:cNvCxnSpPr>
          <p:nvPr/>
        </p:nvCxnSpPr>
        <p:spPr>
          <a:xfrm>
            <a:off x="1467913" y="3797316"/>
            <a:ext cx="0" cy="52807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F7B656EF-5E83-529C-FFC1-6292F0830287}"/>
              </a:ext>
            </a:extLst>
          </p:cNvPr>
          <p:cNvSpPr/>
          <p:nvPr/>
        </p:nvSpPr>
        <p:spPr>
          <a:xfrm>
            <a:off x="1145176" y="3939425"/>
            <a:ext cx="660713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.1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0" name="직선 화살표 연결선 89">
            <a:extLst>
              <a:ext uri="{FF2B5EF4-FFF2-40B4-BE49-F238E27FC236}">
                <a16:creationId xmlns:a16="http://schemas.microsoft.com/office/drawing/2014/main" id="{43109740-053F-F0DF-7EDB-8F0E2EB2D5C8}"/>
              </a:ext>
            </a:extLst>
          </p:cNvPr>
          <p:cNvCxnSpPr>
            <a:cxnSpLocks/>
          </p:cNvCxnSpPr>
          <p:nvPr/>
        </p:nvCxnSpPr>
        <p:spPr>
          <a:xfrm>
            <a:off x="1459450" y="4686688"/>
            <a:ext cx="0" cy="110929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>
            <a:extLst>
              <a:ext uri="{FF2B5EF4-FFF2-40B4-BE49-F238E27FC236}">
                <a16:creationId xmlns:a16="http://schemas.microsoft.com/office/drawing/2014/main" id="{E935A7BE-4561-C7EF-6D9E-DDE3F3CE7AAB}"/>
              </a:ext>
            </a:extLst>
          </p:cNvPr>
          <p:cNvCxnSpPr>
            <a:cxnSpLocks/>
          </p:cNvCxnSpPr>
          <p:nvPr/>
        </p:nvCxnSpPr>
        <p:spPr>
          <a:xfrm flipH="1">
            <a:off x="791974" y="4801147"/>
            <a:ext cx="2074426" cy="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D1F7E1ED-AF17-9C0B-318B-94DA5E85F7A2}"/>
              </a:ext>
            </a:extLst>
          </p:cNvPr>
          <p:cNvCxnSpPr>
            <a:cxnSpLocks/>
          </p:cNvCxnSpPr>
          <p:nvPr/>
        </p:nvCxnSpPr>
        <p:spPr>
          <a:xfrm>
            <a:off x="1204670" y="4801146"/>
            <a:ext cx="0" cy="36000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F9A52656-31BF-BF6F-7779-1D941FE79412}"/>
              </a:ext>
            </a:extLst>
          </p:cNvPr>
          <p:cNvCxnSpPr>
            <a:cxnSpLocks/>
          </p:cNvCxnSpPr>
          <p:nvPr/>
        </p:nvCxnSpPr>
        <p:spPr>
          <a:xfrm>
            <a:off x="1626551" y="4800793"/>
            <a:ext cx="0" cy="36000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>
            <a:extLst>
              <a:ext uri="{FF2B5EF4-FFF2-40B4-BE49-F238E27FC236}">
                <a16:creationId xmlns:a16="http://schemas.microsoft.com/office/drawing/2014/main" id="{0694BFDE-6889-98F9-7237-59BE9D42DB1F}"/>
              </a:ext>
            </a:extLst>
          </p:cNvPr>
          <p:cNvCxnSpPr>
            <a:cxnSpLocks/>
          </p:cNvCxnSpPr>
          <p:nvPr/>
        </p:nvCxnSpPr>
        <p:spPr>
          <a:xfrm>
            <a:off x="2040936" y="4801146"/>
            <a:ext cx="0" cy="36000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2011D034-81CA-E006-B084-CD1213088B51}"/>
              </a:ext>
            </a:extLst>
          </p:cNvPr>
          <p:cNvCxnSpPr>
            <a:cxnSpLocks/>
          </p:cNvCxnSpPr>
          <p:nvPr/>
        </p:nvCxnSpPr>
        <p:spPr>
          <a:xfrm>
            <a:off x="2466648" y="4800792"/>
            <a:ext cx="0" cy="36000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07D9DD75-99F6-8DEB-9CD3-38738E363EAE}"/>
              </a:ext>
            </a:extLst>
          </p:cNvPr>
          <p:cNvCxnSpPr>
            <a:cxnSpLocks/>
          </p:cNvCxnSpPr>
          <p:nvPr/>
        </p:nvCxnSpPr>
        <p:spPr>
          <a:xfrm>
            <a:off x="791289" y="4797617"/>
            <a:ext cx="0" cy="36000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E0D86BE8-630C-835C-9E0C-2A0AD18CCBDE}"/>
              </a:ext>
            </a:extLst>
          </p:cNvPr>
          <p:cNvSpPr/>
          <p:nvPr/>
        </p:nvSpPr>
        <p:spPr>
          <a:xfrm>
            <a:off x="1021333" y="5144872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물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</a:t>
            </a: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B273A0D0-3BB2-EEF2-C901-98E71F85CD4C}"/>
              </a:ext>
            </a:extLst>
          </p:cNvPr>
          <p:cNvSpPr/>
          <p:nvPr/>
        </p:nvSpPr>
        <p:spPr>
          <a:xfrm>
            <a:off x="1440614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7" name="모서리가 둥근 직사각형 167">
            <a:extLst>
              <a:ext uri="{FF2B5EF4-FFF2-40B4-BE49-F238E27FC236}">
                <a16:creationId xmlns:a16="http://schemas.microsoft.com/office/drawing/2014/main" id="{B5FCC2C1-3A4B-FF4D-D30C-1D4B35E5EA19}"/>
              </a:ext>
            </a:extLst>
          </p:cNvPr>
          <p:cNvSpPr/>
          <p:nvPr/>
        </p:nvSpPr>
        <p:spPr>
          <a:xfrm>
            <a:off x="605352" y="5144872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캐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탈</a:t>
            </a:r>
          </a:p>
        </p:txBody>
      </p:sp>
      <p:sp>
        <p:nvSpPr>
          <p:cNvPr id="98" name="모서리가 둥근 직사각형 167">
            <a:extLst>
              <a:ext uri="{FF2B5EF4-FFF2-40B4-BE49-F238E27FC236}">
                <a16:creationId xmlns:a16="http://schemas.microsoft.com/office/drawing/2014/main" id="{CBF06004-9F89-B1BC-0C1D-D7565DE2F51B}"/>
              </a:ext>
            </a:extLst>
          </p:cNvPr>
          <p:cNvSpPr/>
          <p:nvPr/>
        </p:nvSpPr>
        <p:spPr>
          <a:xfrm>
            <a:off x="1854999" y="5144872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rgbClr val="40404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srgbClr val="40404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rgbClr val="40404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탈</a:t>
            </a:r>
            <a:endParaRPr kumimoji="0" lang="ko-KR" altLang="en-US" sz="900" b="1" i="0" u="none" strike="noStrike" kern="1200" cap="none" spc="0" normalizeH="0" baseline="3000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31D70668-EBFD-88A8-DB6D-30D557314C24}"/>
              </a:ext>
            </a:extLst>
          </p:cNvPr>
          <p:cNvSpPr/>
          <p:nvPr/>
        </p:nvSpPr>
        <p:spPr>
          <a:xfrm>
            <a:off x="2272146" y="5144872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늄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0" name="모서리가 둥근 직사각형 167">
            <a:extLst>
              <a:ext uri="{FF2B5EF4-FFF2-40B4-BE49-F238E27FC236}">
                <a16:creationId xmlns:a16="http://schemas.microsoft.com/office/drawing/2014/main" id="{DC8B4FC4-AED0-1AE6-B8C0-F4BAEE2C6F48}"/>
              </a:ext>
            </a:extLst>
          </p:cNvPr>
          <p:cNvSpPr/>
          <p:nvPr/>
        </p:nvSpPr>
        <p:spPr>
          <a:xfrm>
            <a:off x="2680463" y="5144872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처</a:t>
            </a:r>
            <a:endParaRPr lang="en-US" altLang="ko-KR" sz="9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EE9F082E-D1BF-454C-1F5B-B657092C6DC5}"/>
              </a:ext>
            </a:extLst>
          </p:cNvPr>
          <p:cNvSpPr/>
          <p:nvPr/>
        </p:nvSpPr>
        <p:spPr>
          <a:xfrm>
            <a:off x="505746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2.6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91F36D96-9117-3E5A-A8C2-3A699812BDCB}"/>
              </a:ext>
            </a:extLst>
          </p:cNvPr>
          <p:cNvSpPr/>
          <p:nvPr/>
        </p:nvSpPr>
        <p:spPr>
          <a:xfrm>
            <a:off x="1011730" y="4910892"/>
            <a:ext cx="468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2.8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B57850F9-364C-DB9C-A765-D10702807614}"/>
              </a:ext>
            </a:extLst>
          </p:cNvPr>
          <p:cNvSpPr/>
          <p:nvPr/>
        </p:nvSpPr>
        <p:spPr>
          <a:xfrm>
            <a:off x="1785832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.8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54F66CF3-8946-27AA-2093-AECFACAC3A93}"/>
              </a:ext>
            </a:extLst>
          </p:cNvPr>
          <p:cNvCxnSpPr>
            <a:cxnSpLocks/>
          </p:cNvCxnSpPr>
          <p:nvPr/>
        </p:nvCxnSpPr>
        <p:spPr>
          <a:xfrm flipH="1">
            <a:off x="3747735" y="3249490"/>
            <a:ext cx="4659336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F0952DBC-CD40-8190-FD20-A74D19077045}"/>
              </a:ext>
            </a:extLst>
          </p:cNvPr>
          <p:cNvCxnSpPr>
            <a:cxnSpLocks/>
          </p:cNvCxnSpPr>
          <p:nvPr/>
        </p:nvCxnSpPr>
        <p:spPr>
          <a:xfrm>
            <a:off x="4401056" y="3249489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FC0750F1-C4A7-7DB3-A44B-2280B700DD86}"/>
              </a:ext>
            </a:extLst>
          </p:cNvPr>
          <p:cNvCxnSpPr>
            <a:cxnSpLocks/>
          </p:cNvCxnSpPr>
          <p:nvPr/>
        </p:nvCxnSpPr>
        <p:spPr>
          <a:xfrm>
            <a:off x="4401056" y="2993692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23E50151-FDBA-2638-5C5A-73C2FE6876CB}"/>
              </a:ext>
            </a:extLst>
          </p:cNvPr>
          <p:cNvCxnSpPr>
            <a:cxnSpLocks/>
          </p:cNvCxnSpPr>
          <p:nvPr/>
        </p:nvCxnSpPr>
        <p:spPr>
          <a:xfrm>
            <a:off x="6421833" y="3249489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FEA14854-8C22-9931-B518-FE0CCE8B3284}"/>
              </a:ext>
            </a:extLst>
          </p:cNvPr>
          <p:cNvCxnSpPr>
            <a:cxnSpLocks/>
          </p:cNvCxnSpPr>
          <p:nvPr/>
        </p:nvCxnSpPr>
        <p:spPr>
          <a:xfrm>
            <a:off x="5749302" y="3249135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CEBD24FD-D1A9-9A63-0576-34AD47B8EA77}"/>
              </a:ext>
            </a:extLst>
          </p:cNvPr>
          <p:cNvCxnSpPr>
            <a:cxnSpLocks/>
          </p:cNvCxnSpPr>
          <p:nvPr/>
        </p:nvCxnSpPr>
        <p:spPr>
          <a:xfrm>
            <a:off x="5057766" y="3243868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29DCDDF8-FA4F-9636-C836-3A8A7153FB1A}"/>
              </a:ext>
            </a:extLst>
          </p:cNvPr>
          <p:cNvCxnSpPr>
            <a:cxnSpLocks/>
            <a:stCxn id="71" idx="3"/>
          </p:cNvCxnSpPr>
          <p:nvPr/>
        </p:nvCxnSpPr>
        <p:spPr>
          <a:xfrm>
            <a:off x="1986299" y="4527255"/>
            <a:ext cx="41260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5F1F0FF1-89F1-A797-2597-6218CF14BC1F}"/>
              </a:ext>
            </a:extLst>
          </p:cNvPr>
          <p:cNvCxnSpPr>
            <a:cxnSpLocks/>
          </p:cNvCxnSpPr>
          <p:nvPr/>
        </p:nvCxnSpPr>
        <p:spPr>
          <a:xfrm flipV="1">
            <a:off x="2398906" y="2812988"/>
            <a:ext cx="0" cy="171426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420AC8B0-90F1-B3DC-21BF-9D447D8D2B94}"/>
              </a:ext>
            </a:extLst>
          </p:cNvPr>
          <p:cNvCxnSpPr>
            <a:cxnSpLocks/>
            <a:endCxn id="66" idx="1"/>
          </p:cNvCxnSpPr>
          <p:nvPr/>
        </p:nvCxnSpPr>
        <p:spPr>
          <a:xfrm>
            <a:off x="2402303" y="2812988"/>
            <a:ext cx="1501120" cy="704"/>
          </a:xfrm>
          <a:prstGeom prst="line">
            <a:avLst/>
          </a:prstGeom>
          <a:ln>
            <a:solidFill>
              <a:schemeClr val="accent3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F1D1182A-C55A-76E6-28A6-1A5F19E5B546}"/>
              </a:ext>
            </a:extLst>
          </p:cNvPr>
          <p:cNvSpPr/>
          <p:nvPr/>
        </p:nvSpPr>
        <p:spPr>
          <a:xfrm>
            <a:off x="2095223" y="3535265"/>
            <a:ext cx="660713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1.1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F05E9472-1B55-C915-5C16-F1A12E8C24C1}"/>
              </a:ext>
            </a:extLst>
          </p:cNvPr>
          <p:cNvSpPr/>
          <p:nvPr/>
        </p:nvSpPr>
        <p:spPr>
          <a:xfrm>
            <a:off x="978299" y="434725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텔롯데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7EC09E17-EB75-1909-C6C0-1289485FB9EA}"/>
              </a:ext>
            </a:extLst>
          </p:cNvPr>
          <p:cNvCxnSpPr>
            <a:cxnSpLocks/>
          </p:cNvCxnSpPr>
          <p:nvPr/>
        </p:nvCxnSpPr>
        <p:spPr>
          <a:xfrm>
            <a:off x="2866400" y="4800792"/>
            <a:ext cx="0" cy="360000"/>
          </a:xfrm>
          <a:prstGeom prst="straightConnector1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E0B511AB-6277-3EC2-635B-5C667541DBC8}"/>
              </a:ext>
            </a:extLst>
          </p:cNvPr>
          <p:cNvSpPr/>
          <p:nvPr/>
        </p:nvSpPr>
        <p:spPr>
          <a:xfrm>
            <a:off x="1352855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3.1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5E63055C-8169-80AA-FA50-EA9FD87B753E}"/>
              </a:ext>
            </a:extLst>
          </p:cNvPr>
          <p:cNvSpPr/>
          <p:nvPr/>
        </p:nvSpPr>
        <p:spPr>
          <a:xfrm>
            <a:off x="2602756" y="4910892"/>
            <a:ext cx="57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.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CBEAFC4D-476F-F942-37CA-3AFB6892F6AD}"/>
              </a:ext>
            </a:extLst>
          </p:cNvPr>
          <p:cNvSpPr/>
          <p:nvPr/>
        </p:nvSpPr>
        <p:spPr>
          <a:xfrm>
            <a:off x="2267291" y="4910892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8.2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57DD0CCD-D551-0F5C-DC52-3746699A259A}"/>
              </a:ext>
            </a:extLst>
          </p:cNvPr>
          <p:cNvCxnSpPr>
            <a:cxnSpLocks/>
          </p:cNvCxnSpPr>
          <p:nvPr/>
        </p:nvCxnSpPr>
        <p:spPr>
          <a:xfrm>
            <a:off x="7081191" y="3249135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1BB5E529-A893-D9B2-84A1-98BB23A0A7FE}"/>
              </a:ext>
            </a:extLst>
          </p:cNvPr>
          <p:cNvCxnSpPr>
            <a:cxnSpLocks/>
          </p:cNvCxnSpPr>
          <p:nvPr/>
        </p:nvCxnSpPr>
        <p:spPr>
          <a:xfrm>
            <a:off x="3747735" y="3249000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37A45B31-7C2C-F98B-6127-B5CB31D44149}"/>
              </a:ext>
            </a:extLst>
          </p:cNvPr>
          <p:cNvCxnSpPr>
            <a:cxnSpLocks/>
          </p:cNvCxnSpPr>
          <p:nvPr/>
        </p:nvCxnSpPr>
        <p:spPr>
          <a:xfrm>
            <a:off x="7766991" y="3249135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FFE92A86-C406-3E5C-4D5F-4FC2D759B737}"/>
              </a:ext>
            </a:extLst>
          </p:cNvPr>
          <p:cNvCxnSpPr>
            <a:cxnSpLocks/>
          </p:cNvCxnSpPr>
          <p:nvPr/>
        </p:nvCxnSpPr>
        <p:spPr>
          <a:xfrm>
            <a:off x="8414691" y="3249135"/>
            <a:ext cx="0" cy="36000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54B071C-E7F2-761A-FBDE-4BE748F25752}"/>
              </a:ext>
            </a:extLst>
          </p:cNvPr>
          <p:cNvSpPr/>
          <p:nvPr/>
        </p:nvSpPr>
        <p:spPr>
          <a:xfrm>
            <a:off x="6884077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5.3%</a:t>
            </a:r>
            <a:endParaRPr lang="ko-KR" altLang="en-US" sz="8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9" name="직사각형 128">
            <a:extLst>
              <a:ext uri="{FF2B5EF4-FFF2-40B4-BE49-F238E27FC236}">
                <a16:creationId xmlns:a16="http://schemas.microsoft.com/office/drawing/2014/main" id="{A665E5AC-6FD0-69E3-74BE-E3F5FADEFD46}"/>
              </a:ext>
            </a:extLst>
          </p:cNvPr>
          <p:cNvSpPr/>
          <p:nvPr/>
        </p:nvSpPr>
        <p:spPr>
          <a:xfrm>
            <a:off x="4787989" y="3357143"/>
            <a:ext cx="57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4.4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635C2300-9A27-F01C-5CF5-9CD3BBDCF86C}"/>
              </a:ext>
            </a:extLst>
          </p:cNvPr>
          <p:cNvSpPr/>
          <p:nvPr/>
        </p:nvSpPr>
        <p:spPr>
          <a:xfrm>
            <a:off x="3565794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5.0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3F68F74D-9581-7578-2440-C5A0C58086D2}"/>
              </a:ext>
            </a:extLst>
          </p:cNvPr>
          <p:cNvSpPr/>
          <p:nvPr/>
        </p:nvSpPr>
        <p:spPr>
          <a:xfrm>
            <a:off x="4203790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7.5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BFAFAF26-1F64-1DB7-0857-865AD2A74241}"/>
              </a:ext>
            </a:extLst>
          </p:cNvPr>
          <p:cNvSpPr/>
          <p:nvPr/>
        </p:nvSpPr>
        <p:spPr>
          <a:xfrm>
            <a:off x="6236378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2.3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1439FF82-C36A-212C-7121-CE534D18F5D9}"/>
              </a:ext>
            </a:extLst>
          </p:cNvPr>
          <p:cNvSpPr/>
          <p:nvPr/>
        </p:nvSpPr>
        <p:spPr>
          <a:xfrm>
            <a:off x="5558719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.0%</a:t>
            </a:r>
            <a:endParaRPr lang="ko-KR" altLang="en-US" sz="8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3AF0F84E-7111-B56C-FB93-C7F2993F6C8B}"/>
              </a:ext>
            </a:extLst>
          </p:cNvPr>
          <p:cNvSpPr/>
          <p:nvPr/>
        </p:nvSpPr>
        <p:spPr>
          <a:xfrm>
            <a:off x="8216263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6.0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2A390583-F407-4E5B-059F-243D115B5EFE}"/>
              </a:ext>
            </a:extLst>
          </p:cNvPr>
          <p:cNvSpPr/>
          <p:nvPr/>
        </p:nvSpPr>
        <p:spPr>
          <a:xfrm>
            <a:off x="7559628" y="3359235"/>
            <a:ext cx="432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0.0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05C36D19-1CD2-F2DD-7A0D-1D49C19A9904}"/>
              </a:ext>
            </a:extLst>
          </p:cNvPr>
          <p:cNvCxnSpPr>
            <a:cxnSpLocks/>
          </p:cNvCxnSpPr>
          <p:nvPr/>
        </p:nvCxnSpPr>
        <p:spPr>
          <a:xfrm>
            <a:off x="5749302" y="4372439"/>
            <a:ext cx="0" cy="1639552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93AAB49B-E079-6FAD-BFDC-9D4ECCE28600}"/>
              </a:ext>
            </a:extLst>
          </p:cNvPr>
          <p:cNvCxnSpPr>
            <a:cxnSpLocks/>
          </p:cNvCxnSpPr>
          <p:nvPr/>
        </p:nvCxnSpPr>
        <p:spPr>
          <a:xfrm>
            <a:off x="5749302" y="4686688"/>
            <a:ext cx="192815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64">
            <a:extLst>
              <a:ext uri="{FF2B5EF4-FFF2-40B4-BE49-F238E27FC236}">
                <a16:creationId xmlns:a16="http://schemas.microsoft.com/office/drawing/2014/main" id="{FEE998A9-500C-EB85-AA8B-24EDDF6C4183}"/>
              </a:ext>
            </a:extLst>
          </p:cNvPr>
          <p:cNvCxnSpPr>
            <a:cxnSpLocks/>
          </p:cNvCxnSpPr>
          <p:nvPr/>
        </p:nvCxnSpPr>
        <p:spPr>
          <a:xfrm>
            <a:off x="5749302" y="5145305"/>
            <a:ext cx="192815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화살표 연결선 74">
            <a:extLst>
              <a:ext uri="{FF2B5EF4-FFF2-40B4-BE49-F238E27FC236}">
                <a16:creationId xmlns:a16="http://schemas.microsoft.com/office/drawing/2014/main" id="{D76C8585-9603-987F-9CCF-FAD21EF57F87}"/>
              </a:ext>
            </a:extLst>
          </p:cNvPr>
          <p:cNvCxnSpPr>
            <a:cxnSpLocks/>
          </p:cNvCxnSpPr>
          <p:nvPr/>
        </p:nvCxnSpPr>
        <p:spPr>
          <a:xfrm>
            <a:off x="5749302" y="5586586"/>
            <a:ext cx="192815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72FD3E9B-C019-9BEF-2748-1A31F5C0470D}"/>
              </a:ext>
            </a:extLst>
          </p:cNvPr>
          <p:cNvCxnSpPr>
            <a:cxnSpLocks/>
          </p:cNvCxnSpPr>
          <p:nvPr/>
        </p:nvCxnSpPr>
        <p:spPr>
          <a:xfrm>
            <a:off x="5749302" y="6011991"/>
            <a:ext cx="192815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모서리가 둥근 직사각형 167">
            <a:extLst>
              <a:ext uri="{FF2B5EF4-FFF2-40B4-BE49-F238E27FC236}">
                <a16:creationId xmlns:a16="http://schemas.microsoft.com/office/drawing/2014/main" id="{9BE65FD3-EE03-C2B7-F273-458DB9356950}"/>
              </a:ext>
            </a:extLst>
          </p:cNvPr>
          <p:cNvSpPr/>
          <p:nvPr/>
        </p:nvSpPr>
        <p:spPr>
          <a:xfrm>
            <a:off x="5881255" y="4545996"/>
            <a:ext cx="972000" cy="296985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2272F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rgbClr val="2272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홈쇼핑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rgbClr val="2272F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7" name="모서리가 둥근 직사각형 167">
            <a:extLst>
              <a:ext uri="{FF2B5EF4-FFF2-40B4-BE49-F238E27FC236}">
                <a16:creationId xmlns:a16="http://schemas.microsoft.com/office/drawing/2014/main" id="{46B51FC6-4006-65D7-00BA-2CE00525A117}"/>
              </a:ext>
            </a:extLst>
          </p:cNvPr>
          <p:cNvSpPr/>
          <p:nvPr/>
        </p:nvSpPr>
        <p:spPr>
          <a:xfrm>
            <a:off x="5881255" y="4996379"/>
            <a:ext cx="972000" cy="296985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rgbClr val="2272F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2272F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rgbClr val="2272F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마트</a:t>
            </a:r>
          </a:p>
        </p:txBody>
      </p:sp>
      <p:sp>
        <p:nvSpPr>
          <p:cNvPr id="38" name="모서리가 둥근 직사각형 167">
            <a:extLst>
              <a:ext uri="{FF2B5EF4-FFF2-40B4-BE49-F238E27FC236}">
                <a16:creationId xmlns:a16="http://schemas.microsoft.com/office/drawing/2014/main" id="{3C2B900B-933A-5E67-2DDD-648EE536B298}"/>
              </a:ext>
            </a:extLst>
          </p:cNvPr>
          <p:cNvSpPr/>
          <p:nvPr/>
        </p:nvSpPr>
        <p:spPr>
          <a:xfrm>
            <a:off x="5881255" y="5446762"/>
            <a:ext cx="972000" cy="296985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rgbClr val="2272F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2272F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rgbClr val="2272F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컬처웍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rgbClr val="2272F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7" name="모서리가 둥근 직사각형 167">
            <a:extLst>
              <a:ext uri="{FF2B5EF4-FFF2-40B4-BE49-F238E27FC236}">
                <a16:creationId xmlns:a16="http://schemas.microsoft.com/office/drawing/2014/main" id="{5739CFD8-6FFA-23C8-3B12-204F6329F10A}"/>
              </a:ext>
            </a:extLst>
          </p:cNvPr>
          <p:cNvSpPr/>
          <p:nvPr/>
        </p:nvSpPr>
        <p:spPr>
          <a:xfrm>
            <a:off x="5881255" y="5897145"/>
            <a:ext cx="972000" cy="296985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rgbClr val="2272F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샘</a:t>
            </a:r>
          </a:p>
        </p:txBody>
      </p:sp>
      <p:cxnSp>
        <p:nvCxnSpPr>
          <p:cNvPr id="77" name="직선 화살표 연결선 76">
            <a:extLst>
              <a:ext uri="{FF2B5EF4-FFF2-40B4-BE49-F238E27FC236}">
                <a16:creationId xmlns:a16="http://schemas.microsoft.com/office/drawing/2014/main" id="{2F50CC8E-D1A1-CB54-81A8-0C8DE4598945}"/>
              </a:ext>
            </a:extLst>
          </p:cNvPr>
          <p:cNvCxnSpPr>
            <a:cxnSpLocks/>
          </p:cNvCxnSpPr>
          <p:nvPr/>
        </p:nvCxnSpPr>
        <p:spPr>
          <a:xfrm>
            <a:off x="7060199" y="4372439"/>
            <a:ext cx="0" cy="76874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화살표 연결선 78">
            <a:extLst>
              <a:ext uri="{FF2B5EF4-FFF2-40B4-BE49-F238E27FC236}">
                <a16:creationId xmlns:a16="http://schemas.microsoft.com/office/drawing/2014/main" id="{7473B019-E023-75A0-62BB-A21170C5E24D}"/>
              </a:ext>
            </a:extLst>
          </p:cNvPr>
          <p:cNvCxnSpPr>
            <a:cxnSpLocks/>
          </p:cNvCxnSpPr>
          <p:nvPr/>
        </p:nvCxnSpPr>
        <p:spPr>
          <a:xfrm>
            <a:off x="7060199" y="4686688"/>
            <a:ext cx="192815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739EC45B-088E-2248-21E0-2DEC23BAAE4C}"/>
              </a:ext>
            </a:extLst>
          </p:cNvPr>
          <p:cNvCxnSpPr>
            <a:cxnSpLocks/>
          </p:cNvCxnSpPr>
          <p:nvPr/>
        </p:nvCxnSpPr>
        <p:spPr>
          <a:xfrm>
            <a:off x="7060199" y="5145305"/>
            <a:ext cx="192815" cy="0"/>
          </a:xfrm>
          <a:prstGeom prst="straightConnector1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모서리가 둥근 직사각형 167">
            <a:extLst>
              <a:ext uri="{FF2B5EF4-FFF2-40B4-BE49-F238E27FC236}">
                <a16:creationId xmlns:a16="http://schemas.microsoft.com/office/drawing/2014/main" id="{48AC4591-6ABC-4178-64CE-B71C0C154765}"/>
              </a:ext>
            </a:extLst>
          </p:cNvPr>
          <p:cNvSpPr/>
          <p:nvPr/>
        </p:nvSpPr>
        <p:spPr>
          <a:xfrm>
            <a:off x="7211917" y="4545996"/>
            <a:ext cx="972000" cy="296985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에너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머티리얼즈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3" name="모서리가 둥근 직사각형 167">
            <a:extLst>
              <a:ext uri="{FF2B5EF4-FFF2-40B4-BE49-F238E27FC236}">
                <a16:creationId xmlns:a16="http://schemas.microsoft.com/office/drawing/2014/main" id="{9C8641DE-77C1-B19F-A2F9-3234264FC823}"/>
              </a:ext>
            </a:extLst>
          </p:cNvPr>
          <p:cNvSpPr/>
          <p:nvPr/>
        </p:nvSpPr>
        <p:spPr>
          <a:xfrm>
            <a:off x="7211917" y="4992687"/>
            <a:ext cx="972000" cy="296985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CEB9B5C6-BFAB-7B59-705E-7939B8012FE5}"/>
              </a:ext>
            </a:extLst>
          </p:cNvPr>
          <p:cNvSpPr/>
          <p:nvPr/>
        </p:nvSpPr>
        <p:spPr>
          <a:xfrm>
            <a:off x="5759145" y="4852803"/>
            <a:ext cx="57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5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98D9987A-CAD1-3928-C1F8-F1952DAE6BB2}"/>
              </a:ext>
            </a:extLst>
          </p:cNvPr>
          <p:cNvSpPr/>
          <p:nvPr/>
        </p:nvSpPr>
        <p:spPr>
          <a:xfrm>
            <a:off x="7073571" y="4407329"/>
            <a:ext cx="57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3.3%</a:t>
            </a:r>
            <a:endParaRPr lang="ko-KR" altLang="en-US" sz="8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905589B7-3BA2-924E-7A6D-0E82A08E3931}"/>
              </a:ext>
            </a:extLst>
          </p:cNvPr>
          <p:cNvSpPr/>
          <p:nvPr/>
        </p:nvSpPr>
        <p:spPr>
          <a:xfrm>
            <a:off x="5759145" y="4407329"/>
            <a:ext cx="57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3.5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1AE30AED-3C1D-0184-7741-363760509DF0}"/>
              </a:ext>
            </a:extLst>
          </p:cNvPr>
          <p:cNvSpPr/>
          <p:nvPr/>
        </p:nvSpPr>
        <p:spPr>
          <a:xfrm>
            <a:off x="5759145" y="5300674"/>
            <a:ext cx="57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6.4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58C8EF1E-0EFD-6BD6-7671-C5788C7619E6}"/>
              </a:ext>
            </a:extLst>
          </p:cNvPr>
          <p:cNvSpPr/>
          <p:nvPr/>
        </p:nvSpPr>
        <p:spPr>
          <a:xfrm>
            <a:off x="5782005" y="5755026"/>
            <a:ext cx="57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동기업</a:t>
            </a:r>
          </a:p>
        </p:txBody>
      </p:sp>
      <p:sp>
        <p:nvSpPr>
          <p:cNvPr id="105" name="직사각형 104">
            <a:extLst>
              <a:ext uri="{FF2B5EF4-FFF2-40B4-BE49-F238E27FC236}">
                <a16:creationId xmlns:a16="http://schemas.microsoft.com/office/drawing/2014/main" id="{6BC39A6C-35D1-C954-C3F6-06243D8F080D}"/>
              </a:ext>
            </a:extLst>
          </p:cNvPr>
          <p:cNvSpPr/>
          <p:nvPr/>
        </p:nvSpPr>
        <p:spPr>
          <a:xfrm>
            <a:off x="7073571" y="4853231"/>
            <a:ext cx="57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4.0%</a:t>
            </a:r>
            <a:endParaRPr lang="ko-KR" altLang="en-US" sz="8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3" name="모서리가 둥근 직사각형 167">
            <a:extLst>
              <a:ext uri="{FF2B5EF4-FFF2-40B4-BE49-F238E27FC236}">
                <a16:creationId xmlns:a16="http://schemas.microsoft.com/office/drawing/2014/main" id="{1AB245EC-3030-549E-92F7-80D9D1C7657C}"/>
              </a:ext>
            </a:extLst>
          </p:cNvPr>
          <p:cNvSpPr/>
          <p:nvPr/>
        </p:nvSpPr>
        <p:spPr>
          <a:xfrm>
            <a:off x="3441735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2272F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칠성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4" name="모서리가 둥근 직사각형 167">
            <a:extLst>
              <a:ext uri="{FF2B5EF4-FFF2-40B4-BE49-F238E27FC236}">
                <a16:creationId xmlns:a16="http://schemas.microsoft.com/office/drawing/2014/main" id="{89EA38C1-8E29-F929-EFAF-7AD8F1CEB9CE}"/>
              </a:ext>
            </a:extLst>
          </p:cNvPr>
          <p:cNvSpPr/>
          <p:nvPr/>
        </p:nvSpPr>
        <p:spPr>
          <a:xfrm>
            <a:off x="4106020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2272F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웰푸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5" name="모서리가 둥근 직사각형 167">
            <a:extLst>
              <a:ext uri="{FF2B5EF4-FFF2-40B4-BE49-F238E27FC236}">
                <a16:creationId xmlns:a16="http://schemas.microsoft.com/office/drawing/2014/main" id="{B1EBA518-DFCF-783C-F369-B08F6301631C}"/>
              </a:ext>
            </a:extLst>
          </p:cNvPr>
          <p:cNvSpPr/>
          <p:nvPr/>
        </p:nvSpPr>
        <p:spPr>
          <a:xfrm>
            <a:off x="5443302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쇼핑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6" name="모서리가 둥근 직사각형 167">
            <a:extLst>
              <a:ext uri="{FF2B5EF4-FFF2-40B4-BE49-F238E27FC236}">
                <a16:creationId xmlns:a16="http://schemas.microsoft.com/office/drawing/2014/main" id="{8EB2BD11-5BA6-0AD8-8CF6-FCF5C716D796}"/>
              </a:ext>
            </a:extLst>
          </p:cNvPr>
          <p:cNvSpPr/>
          <p:nvPr/>
        </p:nvSpPr>
        <p:spPr>
          <a:xfrm>
            <a:off x="4778070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2272F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GRS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7" name="모서리가 둥근 직사각형 167">
            <a:extLst>
              <a:ext uri="{FF2B5EF4-FFF2-40B4-BE49-F238E27FC236}">
                <a16:creationId xmlns:a16="http://schemas.microsoft.com/office/drawing/2014/main" id="{73CA2CBA-8232-F44E-5A36-F99D91275CFB}"/>
              </a:ext>
            </a:extLst>
          </p:cNvPr>
          <p:cNvSpPr/>
          <p:nvPr/>
        </p:nvSpPr>
        <p:spPr>
          <a:xfrm>
            <a:off x="6782731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미칼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8" name="모서리가 둥근 직사각형 167">
            <a:extLst>
              <a:ext uri="{FF2B5EF4-FFF2-40B4-BE49-F238E27FC236}">
                <a16:creationId xmlns:a16="http://schemas.microsoft.com/office/drawing/2014/main" id="{AC12C238-0C23-B14A-34B1-462BF7707D4D}"/>
              </a:ext>
            </a:extLst>
          </p:cNvPr>
          <p:cNvSpPr/>
          <p:nvPr/>
        </p:nvSpPr>
        <p:spPr>
          <a:xfrm>
            <a:off x="6110010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리아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븐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0B7E301C-1AFA-022E-08D7-B1361FA92AB5}"/>
              </a:ext>
            </a:extLst>
          </p:cNvPr>
          <p:cNvSpPr/>
          <p:nvPr/>
        </p:nvSpPr>
        <p:spPr>
          <a:xfrm>
            <a:off x="8126263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글로벌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지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7B7EB5A0-71CB-B067-32AD-0965EB880649}"/>
              </a:ext>
            </a:extLst>
          </p:cNvPr>
          <p:cNvSpPr/>
          <p:nvPr/>
        </p:nvSpPr>
        <p:spPr>
          <a:xfrm>
            <a:off x="7455373" y="3593215"/>
            <a:ext cx="612000" cy="792000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바이오</a:t>
            </a:r>
            <a:endParaRPr lang="en-US" altLang="ko-KR" sz="900" b="1">
              <a:solidFill>
                <a:schemeClr val="tx2">
                  <a:lumMod val="60000"/>
                  <a:lumOff val="4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2">
                    <a:lumMod val="60000"/>
                    <a:lumOff val="4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직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8" name="모서리가 둥근 직사각형 167">
            <a:extLst>
              <a:ext uri="{FF2B5EF4-FFF2-40B4-BE49-F238E27FC236}">
                <a16:creationId xmlns:a16="http://schemas.microsoft.com/office/drawing/2014/main" id="{6C21837E-688E-A17E-E281-3956CCA43D3F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5" name="모서리가 둥근 직사각형 167">
            <a:extLst>
              <a:ext uri="{FF2B5EF4-FFF2-40B4-BE49-F238E27FC236}">
                <a16:creationId xmlns:a16="http://schemas.microsoft.com/office/drawing/2014/main" id="{6D7B1DA6-93C5-A9AE-526A-2CC948F922BD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6" name="모서리가 둥근 직사각형 167">
            <a:extLst>
              <a:ext uri="{FF2B5EF4-FFF2-40B4-BE49-F238E27FC236}">
                <a16:creationId xmlns:a16="http://schemas.microsoft.com/office/drawing/2014/main" id="{AFCF5338-8980-0C90-26A3-4F706A7CEA97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7" name="모서리가 둥근 직사각형 167">
            <a:extLst>
              <a:ext uri="{FF2B5EF4-FFF2-40B4-BE49-F238E27FC236}">
                <a16:creationId xmlns:a16="http://schemas.microsoft.com/office/drawing/2014/main" id="{48318DCB-2430-C5E5-E66E-5AFFE00A5616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138" name="모서리가 둥근 직사각형 167">
            <a:extLst>
              <a:ext uri="{FF2B5EF4-FFF2-40B4-BE49-F238E27FC236}">
                <a16:creationId xmlns:a16="http://schemas.microsoft.com/office/drawing/2014/main" id="{7DD813B6-89D0-4F34-32AF-A1304C0EA442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rgbClr val="C8D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9" name="모서리가 둥근 직사각형 167">
            <a:extLst>
              <a:ext uri="{FF2B5EF4-FFF2-40B4-BE49-F238E27FC236}">
                <a16:creationId xmlns:a16="http://schemas.microsoft.com/office/drawing/2014/main" id="{EE422793-F048-D74B-B42F-C615A1045110}"/>
              </a:ext>
            </a:extLst>
          </p:cNvPr>
          <p:cNvSpPr/>
          <p:nvPr/>
        </p:nvSpPr>
        <p:spPr>
          <a:xfrm>
            <a:off x="8293213" y="193336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140" name="모서리가 둥근 직사각형 167">
            <a:extLst>
              <a:ext uri="{FF2B5EF4-FFF2-40B4-BE49-F238E27FC236}">
                <a16:creationId xmlns:a16="http://schemas.microsoft.com/office/drawing/2014/main" id="{68C0D82C-074B-C3DC-5E60-494C5EC2D809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4" name="모서리가 둥근 직사각형 167">
            <a:extLst>
              <a:ext uri="{FF2B5EF4-FFF2-40B4-BE49-F238E27FC236}">
                <a16:creationId xmlns:a16="http://schemas.microsoft.com/office/drawing/2014/main" id="{51A99882-B8CE-4B8D-771A-19FC8FEBB597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석 대상 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5" name="모서리가 둥근 직사각형 167">
            <a:extLst>
              <a:ext uri="{FF2B5EF4-FFF2-40B4-BE49-F238E27FC236}">
                <a16:creationId xmlns:a16="http://schemas.microsoft.com/office/drawing/2014/main" id="{2DB1A34C-4236-196B-0D96-69E9A2FA9E21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80221C96-834F-CAF0-6448-22531E06C5F5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153961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차트 10">
            <a:extLst>
              <a:ext uri="{FF2B5EF4-FFF2-40B4-BE49-F238E27FC236}">
                <a16:creationId xmlns:a16="http://schemas.microsoft.com/office/drawing/2014/main" id="{7073852D-CD7D-DD64-A54C-925AB71DC3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8859409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026" name="Picture 2" descr="롯데케미칼, 해외 자회사 성적표에 '한숨' - 딜사이트">
            <a:extLst>
              <a:ext uri="{FF2B5EF4-FFF2-40B4-BE49-F238E27FC236}">
                <a16:creationId xmlns:a16="http://schemas.microsoft.com/office/drawing/2014/main" id="{D235A0BF-A03C-3567-E28E-3DEED4C463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476" y="2284306"/>
            <a:ext cx="1481137" cy="529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초소재사업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간 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50</a:t>
            </a:r>
            <a:r>
              <a:rPr lang="ko-KR" altLang="en-US" sz="900" b="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톤에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이르는 국내 </a:t>
            </a:r>
            <a:r>
              <a:rPr lang="ko-KR" altLang="en-US" sz="900" b="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학사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의 에틸렌 생산량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석유화학 제품의 중간원료를 비롯하여 합성수지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성제품 등 다양한 제품 포트폴리오를 보유</a:t>
            </a:r>
            <a:endParaRPr lang="en-US" altLang="ko-KR" sz="900" b="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첨단소재사업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전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IT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기의 내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외장재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소재에서부터 건축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료기기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동차의 최첨단 소재 솔루션 제공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소에너지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지소재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사이클사업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C6537A-950F-5046-7E56-F5362BF4E176}"/>
              </a:ext>
            </a:extLst>
          </p:cNvPr>
          <p:cNvSpPr txBox="1"/>
          <p:nvPr/>
        </p:nvSpPr>
        <p:spPr>
          <a:xfrm>
            <a:off x="847023" y="1707465"/>
            <a:ext cx="83185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초소재의 경우 글로벌 경기침체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%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장률을 보이던 매출액 성장률이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약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8.6%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까지 감소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가 및 원료가 하락에 따라 </a:t>
            </a:r>
            <a:r>
              <a:rPr lang="ko-KR" altLang="en-US" sz="900" b="1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역래깅효과</a:t>
            </a:r>
            <a:r>
              <a:rPr lang="en-US" altLang="ko-KR" sz="900" b="1" baseline="30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반영되어 수익성 하락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초소재의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납사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역래깅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효과에 대한 손실은 약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00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근 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회사채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,000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조달 추진 중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나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황 및 향후 투자 계획 고려 시 추가 자금 조달 필요 예상</a:t>
            </a:r>
            <a:endParaRPr kumimoji="1" lang="en-US" altLang="ko-KR" sz="9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만기도래 차입금과 기업어음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환사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규모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,8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이나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악화 및 신용도 하락으로 자금조달이 쉽지 않은 상황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5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배터리소재 다양화를 위한 국내외 공장건설과 수소에너지 공장증설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통 석유화학 소재 증설에 </a:t>
            </a: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</a:t>
            </a: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계획</a:t>
            </a:r>
            <a:endParaRPr kumimoji="1" lang="ko-KR" altLang="en-US" sz="900" u="sng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77CC2B-A4E1-0C4E-AB16-D5908B9F3C7E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2BD8B41D-4A29-9FA0-CFD6-D1A7E82BF5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8900452"/>
              </p:ext>
            </p:extLst>
          </p:nvPr>
        </p:nvGraphicFramePr>
        <p:xfrm>
          <a:off x="488948" y="4691271"/>
          <a:ext cx="4370389" cy="1227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8A38C010-FE00-0BDA-8D12-FA3311244974}"/>
              </a:ext>
            </a:extLst>
          </p:cNvPr>
          <p:cNvCxnSpPr>
            <a:cxnSpLocks/>
          </p:cNvCxnSpPr>
          <p:nvPr/>
        </p:nvCxnSpPr>
        <p:spPr>
          <a:xfrm>
            <a:off x="594360" y="5470004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39BF0244-74F3-9B9A-3ABF-C3FB42753F2A}"/>
              </a:ext>
            </a:extLst>
          </p:cNvPr>
          <p:cNvCxnSpPr/>
          <p:nvPr/>
        </p:nvCxnSpPr>
        <p:spPr>
          <a:xfrm>
            <a:off x="4811209" y="5454764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77EA476-82EA-70A2-6566-A04CEC9CF238}"/>
              </a:ext>
            </a:extLst>
          </p:cNvPr>
          <p:cNvSpPr txBox="1"/>
          <p:nvPr/>
        </p:nvSpPr>
        <p:spPr>
          <a:xfrm>
            <a:off x="3600085" y="3777174"/>
            <a:ext cx="1823916" cy="3542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가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및 원료가 하락에 따른 </a:t>
            </a:r>
            <a:b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ko-KR" altLang="en-US" sz="850" b="1" i="1" kern="0" err="1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역래깅효과로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수익성 악화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C302E7-CEAA-D6D3-CD63-F148C2B630CC}"/>
              </a:ext>
            </a:extLst>
          </p:cNvPr>
          <p:cNvSpPr txBox="1"/>
          <p:nvPr/>
        </p:nvSpPr>
        <p:spPr>
          <a:xfrm>
            <a:off x="2968844" y="5240658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실적악화 및 차입증가로 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D17D5F-27F3-01EA-EEFE-A7D7CF79A3CD}"/>
              </a:ext>
            </a:extLst>
          </p:cNvPr>
          <p:cNvSpPr txBox="1"/>
          <p:nvPr/>
        </p:nvSpPr>
        <p:spPr>
          <a:xfrm>
            <a:off x="488948" y="6083678"/>
            <a:ext cx="4155840" cy="27186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ote [1]: </a:t>
            </a:r>
            <a:r>
              <a:rPr lang="ko-KR" altLang="en-US" i="0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역래깅효과란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원재료 투입시차 효과를 의미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4B1E477-C555-15B3-8654-FB9440D0B875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13" name="차트 12">
            <a:extLst>
              <a:ext uri="{FF2B5EF4-FFF2-40B4-BE49-F238E27FC236}">
                <a16:creationId xmlns:a16="http://schemas.microsoft.com/office/drawing/2014/main" id="{A9B90683-50FA-A8C9-7069-C6213AB687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3562133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3472177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098686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17503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1C302E7-CEAA-D6D3-CD63-F148C2B630CC}"/>
              </a:ext>
            </a:extLst>
          </p:cNvPr>
          <p:cNvSpPr txBox="1"/>
          <p:nvPr/>
        </p:nvSpPr>
        <p:spPr>
          <a:xfrm>
            <a:off x="2596231" y="5351546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에너지머터리얼즈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lecfoil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PCB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회로를 구성하는 얇은 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opper Foil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</a:t>
            </a:r>
            <a:r>
              <a:rPr lang="ko-KR" altLang="en-US" sz="900" b="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생산하여 소재 국산화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 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전지용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시장 내 세계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의 시장 점유율 차지</a:t>
            </a:r>
            <a:endParaRPr lang="en-US" altLang="ko-KR" sz="900" b="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nergy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튬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전지의 양극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+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극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활물질을 생산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C6537A-950F-5046-7E56-F5362BF4E176}"/>
              </a:ext>
            </a:extLst>
          </p:cNvPr>
          <p:cNvSpPr txBox="1"/>
          <p:nvPr/>
        </p:nvSpPr>
        <p:spPr>
          <a:xfrm>
            <a:off x="594360" y="1707465"/>
            <a:ext cx="1368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에너지머터리얼즈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 등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경쟁업체들의 증설로 단기적으로 공급과잉의 사업 환경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 전개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판매량이 늘면서 매출은 올랐지만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고객사 배터리 생산능력 확대 지연 문제로 고정비 지출 증가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사 수요 부진과 신규 고객사들의 증설 지연으로 낮은 가동률 수준 </a:t>
            </a:r>
            <a:b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’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년 매출과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’2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년 상반기 매출 각각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지난해 동기간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대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11.5%, 11.4%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감소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산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톤인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생산능력을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8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톤으로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올리기 위해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억원에서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3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억원 가량 투자금 소요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6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을 투자해 스페인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탈루냐주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몬로이치에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연산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 톤 규모의 고성능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엔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박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생산공장 설립계획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북미에서도 투자를 위한 부지 선정을 앞두고 있는 등 투자 가속화 중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8A38C010-FE00-0BDA-8D12-FA3311244974}"/>
              </a:ext>
            </a:extLst>
          </p:cNvPr>
          <p:cNvCxnSpPr>
            <a:cxnSpLocks/>
          </p:cNvCxnSpPr>
          <p:nvPr/>
        </p:nvCxnSpPr>
        <p:spPr>
          <a:xfrm>
            <a:off x="594360" y="5575684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39BF0244-74F3-9B9A-3ABF-C3FB42753F2A}"/>
              </a:ext>
            </a:extLst>
          </p:cNvPr>
          <p:cNvCxnSpPr/>
          <p:nvPr/>
        </p:nvCxnSpPr>
        <p:spPr>
          <a:xfrm>
            <a:off x="4811209" y="5565600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77EA476-82EA-70A2-6566-A04CEC9CF238}"/>
              </a:ext>
            </a:extLst>
          </p:cNvPr>
          <p:cNvSpPr txBox="1"/>
          <p:nvPr/>
        </p:nvSpPr>
        <p:spPr>
          <a:xfrm>
            <a:off x="3319715" y="3576130"/>
            <a:ext cx="1823916" cy="3542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객사 증설 지연에 따른 고정비 부담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일회성 비용 증가에 따른 수익성 하락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2050" name="Picture 2" descr="롯데에너지머티리얼즈 배터리 소재 사업 삼중고 - 전자부품 전문 미디어 디일렉">
            <a:extLst>
              <a:ext uri="{FF2B5EF4-FFF2-40B4-BE49-F238E27FC236}">
                <a16:creationId xmlns:a16="http://schemas.microsoft.com/office/drawing/2014/main" id="{83F8E107-A541-8EDE-EC30-48FCE11F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" r="5715"/>
          <a:stretch/>
        </p:blipFill>
        <p:spPr bwMode="auto">
          <a:xfrm>
            <a:off x="517711" y="2294385"/>
            <a:ext cx="1539769" cy="58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6E652FA-510F-97AC-E519-C3625AD9023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3" name="차트 12">
            <a:extLst>
              <a:ext uri="{FF2B5EF4-FFF2-40B4-BE49-F238E27FC236}">
                <a16:creationId xmlns:a16="http://schemas.microsoft.com/office/drawing/2014/main" id="{A6001A55-00A5-669B-6842-AD76BC3678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7050003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D51F1212-12AE-1F7B-1B89-1F832665B7C1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D75894-6782-5FAB-4C3A-18A55756B8EF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8515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0253620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사업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캐슬의 브랜드로 주택건설</a:t>
            </a:r>
            <a:r>
              <a:rPr lang="en-US" altLang="ko-KR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건축 및 재개발수행</a:t>
            </a:r>
            <a:endParaRPr lang="en-US" altLang="ko-KR" sz="900" b="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축사업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테마파크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광시설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통시설 등 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토목사업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속도로 건설사업과 교량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하철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철도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지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항만건설 등 성공적으로 수행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랜트사업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산자가 목적하는 원료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간재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종제품을 제조하는 설비산업</a:t>
            </a:r>
            <a:endParaRPr kumimoji="1"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C6537A-950F-5046-7E56-F5362BF4E176}"/>
              </a:ext>
            </a:extLst>
          </p:cNvPr>
          <p:cNvSpPr txBox="1"/>
          <p:nvPr/>
        </p:nvSpPr>
        <p:spPr>
          <a:xfrm>
            <a:off x="920950" y="1707465"/>
            <a:ext cx="68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건설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개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건축 영업 등에 공격적으로 나섰다가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자재가격과 금리인상 영향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大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 자재 가격 인상으로 수익성 저조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지면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률이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1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.7%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상반기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8%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까지 하락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 경기 침체 상황에서 높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우발채무 부담이 지속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되고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있어 채무상환능력 저하가 예상되는 상황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우발채무 리스크 현실화 우려로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와 은행권 차입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채 발행 등을 통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화증권 매입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화증권 매입자금을 마련하기 위해 롯데정밀화학 등 계열사들이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0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규모 후순위 대출에 참여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메리츠증권으로부터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고금리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12%)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억원 조달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보유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유가증권 매각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상증자 및 계열사 자금 지원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해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상반기 현금확보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3074" name="Picture 2" descr="롯데건설 또 손 벌렸다…국내 은행 2곳서 3500억원 차입, 한 달 사이 벌써 다섯 번째 | 서울신문">
            <a:extLst>
              <a:ext uri="{FF2B5EF4-FFF2-40B4-BE49-F238E27FC236}">
                <a16:creationId xmlns:a16="http://schemas.microsoft.com/office/drawing/2014/main" id="{EE500FD9-6F9E-565C-6359-C9647CEECB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4" t="28961" r="14920" b="27442"/>
          <a:stretch/>
        </p:blipFill>
        <p:spPr bwMode="auto">
          <a:xfrm>
            <a:off x="504088" y="2283131"/>
            <a:ext cx="1512000" cy="546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DCDA92-B806-742E-F485-D93C6BF51800}"/>
              </a:ext>
            </a:extLst>
          </p:cNvPr>
          <p:cNvSpPr txBox="1"/>
          <p:nvPr/>
        </p:nvSpPr>
        <p:spPr>
          <a:xfrm>
            <a:off x="7583278" y="5890553"/>
            <a:ext cx="1823916" cy="3542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008A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가증권 매각</a:t>
            </a:r>
            <a:r>
              <a:rPr lang="en-US" altLang="ko-KR" sz="850" b="1" i="1" kern="0">
                <a:solidFill>
                  <a:srgbClr val="008A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850" b="1" i="1" kern="0">
                <a:solidFill>
                  <a:srgbClr val="008A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상증자</a:t>
            </a:r>
            <a:r>
              <a:rPr lang="en-US" altLang="ko-KR" sz="850" b="1" i="1" kern="0">
                <a:solidFill>
                  <a:srgbClr val="008A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br>
              <a:rPr lang="en-US" altLang="ko-KR" sz="850" b="1" i="1" kern="0">
                <a:solidFill>
                  <a:srgbClr val="008A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ko-KR" altLang="en-US" sz="850" b="1" i="1" kern="0">
                <a:solidFill>
                  <a:srgbClr val="008A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계열사 자금수혈로 현금보유 증가</a:t>
            </a:r>
          </a:p>
        </p:txBody>
      </p:sp>
      <p:sp>
        <p:nvSpPr>
          <p:cNvPr id="13" name="Circular Arrow 40">
            <a:extLst>
              <a:ext uri="{FF2B5EF4-FFF2-40B4-BE49-F238E27FC236}">
                <a16:creationId xmlns:a16="http://schemas.microsoft.com/office/drawing/2014/main" id="{8DE33FFE-53E6-59D2-B975-8939356B5726}"/>
              </a:ext>
            </a:extLst>
          </p:cNvPr>
          <p:cNvSpPr/>
          <p:nvPr/>
        </p:nvSpPr>
        <p:spPr>
          <a:xfrm rot="12294627" flipH="1">
            <a:off x="7569308" y="3981856"/>
            <a:ext cx="940722" cy="1463194"/>
          </a:xfrm>
          <a:prstGeom prst="circularArrow">
            <a:avLst>
              <a:gd name="adj1" fmla="val 7589"/>
              <a:gd name="adj2" fmla="val 1096960"/>
              <a:gd name="adj3" fmla="val 20330066"/>
              <a:gd name="adj4" fmla="val 17122857"/>
              <a:gd name="adj5" fmla="val 10391"/>
            </a:avLst>
          </a:prstGeom>
          <a:solidFill>
            <a:srgbClr val="008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D46915-3BCD-0EAD-AB5C-74B29E2F4242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5E23E754-A220-F57F-728A-9D3821048B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0152526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1001F76A-FB50-2DDD-F0F5-E8F012B77817}"/>
              </a:ext>
            </a:extLst>
          </p:cNvPr>
          <p:cNvCxnSpPr>
            <a:cxnSpLocks/>
          </p:cNvCxnSpPr>
          <p:nvPr/>
        </p:nvCxnSpPr>
        <p:spPr>
          <a:xfrm>
            <a:off x="2975428" y="4908877"/>
            <a:ext cx="1838803" cy="0"/>
          </a:xfrm>
          <a:prstGeom prst="line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6A227B47-CA3D-BC8E-26E3-3D41C9E0DF21}"/>
              </a:ext>
            </a:extLst>
          </p:cNvPr>
          <p:cNvSpPr txBox="1"/>
          <p:nvPr/>
        </p:nvSpPr>
        <p:spPr>
          <a:xfrm>
            <a:off x="3175325" y="4798106"/>
            <a:ext cx="874019" cy="215444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ko-KR" altLang="en-US" sz="800" b="1">
                <a:solidFill>
                  <a:srgbClr val="C00000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Univers for KPMG"/>
              </a:rPr>
              <a:t>부동산경기침체</a:t>
            </a:r>
          </a:p>
        </p:txBody>
      </p:sp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4598841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E3287763-777A-2395-2D0A-4359DFDC2ADF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9DC4C8-5866-BB85-947E-80539425B9D7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7091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8896261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C83B2B95-CCCA-6D81-ECE2-9EFA3AF330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19100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4815764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쇼핑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백화점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마트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마트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등 오프라인 점포를 기반으로 유통사업 수행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커머스로 온라인몰을 운영하며</a:t>
            </a:r>
            <a:r>
              <a:rPr kumimoji="1"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홈쇼핑에서는 </a:t>
            </a:r>
            <a:r>
              <a:rPr kumimoji="1"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V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홈쇼핑 사업을 운영 </a:t>
            </a:r>
            <a:endParaRPr kumimoji="1"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컬처웍스는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영화 및 </a:t>
            </a:r>
            <a:r>
              <a:rPr kumimoji="1"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화컨텐츠사업을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수행하고 국내외에 지점을 두고 있음</a:t>
            </a:r>
            <a:endParaRPr kumimoji="1"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C6537A-950F-5046-7E56-F5362BF4E176}"/>
              </a:ext>
            </a:extLst>
          </p:cNvPr>
          <p:cNvSpPr txBox="1"/>
          <p:nvPr/>
        </p:nvSpPr>
        <p:spPr>
          <a:xfrm>
            <a:off x="920950" y="1707465"/>
            <a:ext cx="68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쇼핑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로나 이후 급격히 감소했던 백화점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트 등 주요 사업부들의 매출이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데믹과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함께 다시 개선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은 코로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전 수준을 회복했고 마트도 흑자전환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면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전제품전문점 시장 환경 악화로 하이마트 실적 부진 지속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1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MM PE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공동 인수한 한샘 실적 부진도 부담으로 작용</a:t>
            </a:r>
            <a:endParaRPr kumimoji="1" lang="en-US" altLang="ko-KR" sz="9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유동성 확보 위해 백화점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곳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트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 곳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홈쇼핑 본사 등 부동산 자산 매각 추진 중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신용등급이 하향 조정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  <a:sym typeface="Wingdings" panose="05000000000000000000" pitchFamily="2" charset="2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통사업에 향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총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,00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을 투자계획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 점포 리뉴얼이 상당 부분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,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에만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,81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이 투입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온라인 사업에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3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투자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마트는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타플렉스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맥스 등 특화 매장에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투자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4098" name="Picture 2" descr="롯데쇼핑 - 나무위키">
            <a:extLst>
              <a:ext uri="{FF2B5EF4-FFF2-40B4-BE49-F238E27FC236}">
                <a16:creationId xmlns:a16="http://schemas.microsoft.com/office/drawing/2014/main" id="{3EA383D6-82AB-E8BC-01F1-4FB926A8B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025" y="2347671"/>
            <a:ext cx="1383791" cy="45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EA79A90-30D4-5E85-E210-F2FD36F5E4C7}"/>
              </a:ext>
            </a:extLst>
          </p:cNvPr>
          <p:cNvSpPr txBox="1"/>
          <p:nvPr/>
        </p:nvSpPr>
        <p:spPr>
          <a:xfrm>
            <a:off x="3371506" y="3588679"/>
            <a:ext cx="1823916" cy="3542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엔데믹</a:t>
            </a:r>
            <a:r>
              <a:rPr lang="ko-KR" altLang="en-US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수요로 백화점</a:t>
            </a:r>
            <a:r>
              <a:rPr lang="en-US" altLang="ko-KR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마트 등 </a:t>
            </a:r>
            <a:br>
              <a:rPr lang="en-US" altLang="ko-KR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ko-KR" altLang="en-US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주요 사업부 성장에 힘입어 수익성회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C07FF6-732C-2198-7742-7E44AE8A94BC}"/>
              </a:ext>
            </a:extLst>
          </p:cNvPr>
          <p:cNvSpPr txBox="1"/>
          <p:nvPr/>
        </p:nvSpPr>
        <p:spPr>
          <a:xfrm>
            <a:off x="2596231" y="4696226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39B56579-34C4-5BBF-C814-469C1DAE8003}"/>
              </a:ext>
            </a:extLst>
          </p:cNvPr>
          <p:cNvCxnSpPr>
            <a:cxnSpLocks/>
          </p:cNvCxnSpPr>
          <p:nvPr/>
        </p:nvCxnSpPr>
        <p:spPr>
          <a:xfrm>
            <a:off x="594360" y="4920364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E8095D03-717C-C923-87AC-593B64558283}"/>
              </a:ext>
            </a:extLst>
          </p:cNvPr>
          <p:cNvCxnSpPr/>
          <p:nvPr/>
        </p:nvCxnSpPr>
        <p:spPr>
          <a:xfrm>
            <a:off x="4811209" y="4910280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5DA51DA-CF33-3BEE-C56E-4E72264DED2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E99539-A03A-BE7C-E8D6-CEA3BC4A732C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BD4CB0-E9F3-0E34-F2D3-67FC698194CD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6212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애경그룹</a:t>
            </a:r>
          </a:p>
        </p:txBody>
      </p:sp>
    </p:spTree>
    <p:extLst>
      <p:ext uri="{BB962C8B-B14F-4D97-AF65-F5344CB8AC3E}">
        <p14:creationId xmlns:p14="http://schemas.microsoft.com/office/powerpoint/2010/main" val="4193940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b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Executive Summary</a:t>
            </a:r>
            <a:endParaRPr lang="ko-KR" altLang="en-US" b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682306C5-EC26-49DF-918A-91B791999B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I.</a:t>
            </a:r>
            <a:endParaRPr lang="ko-KR" altLang="en-US" b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40099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503453" y="3212600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4492421" y="230424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4492421" y="248944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4492421" y="267464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4492421" y="285985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4492421" y="304505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6907453" y="230424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6907453" y="248944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6907453" y="267464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6907453" y="285985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6907453" y="304505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9322485" y="230424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9322485" y="248944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9322485" y="267464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9322485" y="285985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9322485" y="304505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2420276" y="226546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로나 이후 영업실적 </a:t>
            </a:r>
            <a:r>
              <a:rPr lang="ko-KR" altLang="en-US" sz="900" b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개선세</a:t>
            </a:r>
            <a:b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3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반기 매출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YoY +13.3%, 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업이익 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YoY +166.0% </a:t>
            </a:r>
            <a:r>
              <a:rPr lang="ko-KR" altLang="en-US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증가</a:t>
            </a:r>
            <a:r>
              <a:rPr lang="en-US" altLang="ko-KR" sz="8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4789290" y="226546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이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차입부채를 초과하며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3%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안정적 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7231622" y="226546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802A8544-9484-5380-3540-CE30F3BF5E45}"/>
              </a:ext>
            </a:extLst>
          </p:cNvPr>
          <p:cNvCxnSpPr>
            <a:cxnSpLocks/>
          </p:cNvCxnSpPr>
          <p:nvPr/>
        </p:nvCxnSpPr>
        <p:spPr>
          <a:xfrm>
            <a:off x="503453" y="4214062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275EA1F-6801-F806-BFFA-80C00140AD34}"/>
              </a:ext>
            </a:extLst>
          </p:cNvPr>
          <p:cNvSpPr/>
          <p:nvPr/>
        </p:nvSpPr>
        <p:spPr>
          <a:xfrm>
            <a:off x="4492421" y="328297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BD3C0A0-78BF-9660-2646-110A2D2236AA}"/>
              </a:ext>
            </a:extLst>
          </p:cNvPr>
          <p:cNvSpPr/>
          <p:nvPr/>
        </p:nvSpPr>
        <p:spPr>
          <a:xfrm>
            <a:off x="4492421" y="34681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0CDE98FE-2BEB-4660-7CB3-9ED31370F8BF}"/>
              </a:ext>
            </a:extLst>
          </p:cNvPr>
          <p:cNvSpPr/>
          <p:nvPr/>
        </p:nvSpPr>
        <p:spPr>
          <a:xfrm>
            <a:off x="4492421" y="365337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241C604-C7B5-2168-50E9-3E038048CD40}"/>
              </a:ext>
            </a:extLst>
          </p:cNvPr>
          <p:cNvSpPr/>
          <p:nvPr/>
        </p:nvSpPr>
        <p:spPr>
          <a:xfrm>
            <a:off x="4492421" y="383858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43296B8-19DE-8E44-3580-FDDCD7E55786}"/>
              </a:ext>
            </a:extLst>
          </p:cNvPr>
          <p:cNvSpPr/>
          <p:nvPr/>
        </p:nvSpPr>
        <p:spPr>
          <a:xfrm>
            <a:off x="4492421" y="402378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B31A67-3266-FE51-0B6B-D729F723D42B}"/>
              </a:ext>
            </a:extLst>
          </p:cNvPr>
          <p:cNvSpPr/>
          <p:nvPr/>
        </p:nvSpPr>
        <p:spPr>
          <a:xfrm>
            <a:off x="6907453" y="328297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06C5142-CC1D-33A4-FA5F-E5002FC0C2B7}"/>
              </a:ext>
            </a:extLst>
          </p:cNvPr>
          <p:cNvSpPr/>
          <p:nvPr/>
        </p:nvSpPr>
        <p:spPr>
          <a:xfrm>
            <a:off x="6907453" y="34681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6AEE687-2A43-A57F-604D-DD7F4CF82361}"/>
              </a:ext>
            </a:extLst>
          </p:cNvPr>
          <p:cNvSpPr/>
          <p:nvPr/>
        </p:nvSpPr>
        <p:spPr>
          <a:xfrm>
            <a:off x="6907453" y="365337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BBDC857-C900-90A9-729E-76E5B8BDD16B}"/>
              </a:ext>
            </a:extLst>
          </p:cNvPr>
          <p:cNvSpPr/>
          <p:nvPr/>
        </p:nvSpPr>
        <p:spPr>
          <a:xfrm>
            <a:off x="6907453" y="383858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A6D8254-B87D-6C6D-1891-815165E6E20B}"/>
              </a:ext>
            </a:extLst>
          </p:cNvPr>
          <p:cNvSpPr/>
          <p:nvPr/>
        </p:nvSpPr>
        <p:spPr>
          <a:xfrm>
            <a:off x="6907453" y="402378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C06993D1-1136-8386-CC3F-9536C4E192AB}"/>
              </a:ext>
            </a:extLst>
          </p:cNvPr>
          <p:cNvSpPr/>
          <p:nvPr/>
        </p:nvSpPr>
        <p:spPr>
          <a:xfrm>
            <a:off x="9322485" y="328297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98D63A8E-7203-2E64-99B2-391D9F8A0384}"/>
              </a:ext>
            </a:extLst>
          </p:cNvPr>
          <p:cNvSpPr/>
          <p:nvPr/>
        </p:nvSpPr>
        <p:spPr>
          <a:xfrm>
            <a:off x="9322485" y="34681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37F714D8-F335-4F00-EA2B-4C73FF6A0387}"/>
              </a:ext>
            </a:extLst>
          </p:cNvPr>
          <p:cNvSpPr/>
          <p:nvPr/>
        </p:nvSpPr>
        <p:spPr>
          <a:xfrm>
            <a:off x="9322485" y="365337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02111F6D-D202-0571-FACB-79853FC99094}"/>
              </a:ext>
            </a:extLst>
          </p:cNvPr>
          <p:cNvSpPr/>
          <p:nvPr/>
        </p:nvSpPr>
        <p:spPr>
          <a:xfrm>
            <a:off x="9322485" y="383858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23A45F5-6F94-9EDE-B896-1DC13D851CCD}"/>
              </a:ext>
            </a:extLst>
          </p:cNvPr>
          <p:cNvSpPr/>
          <p:nvPr/>
        </p:nvSpPr>
        <p:spPr>
          <a:xfrm>
            <a:off x="9322485" y="402378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AFDC5F4-9A3F-F664-5E97-2BF278E66218}"/>
              </a:ext>
            </a:extLst>
          </p:cNvPr>
          <p:cNvSpPr txBox="1"/>
          <p:nvPr/>
        </p:nvSpPr>
        <p:spPr>
          <a:xfrm>
            <a:off x="2420276" y="323885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석유화학 업계 부진으로 전기 대비 실적 악화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B68AC89-214F-E51B-A35A-F1B20697054F}"/>
              </a:ext>
            </a:extLst>
          </p:cNvPr>
          <p:cNvSpPr txBox="1"/>
          <p:nvPr/>
        </p:nvSpPr>
        <p:spPr>
          <a:xfrm>
            <a:off x="4789290" y="323885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과 차입금의존도가 업계 최저 수준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으로 유지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상 유지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65FD29C-72A5-1CFC-1D83-4810D038E136}"/>
              </a:ext>
            </a:extLst>
          </p:cNvPr>
          <p:cNvSpPr txBox="1"/>
          <p:nvPr/>
        </p:nvSpPr>
        <p:spPr>
          <a:xfrm>
            <a:off x="7231622" y="323885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해외 생산 공장 증설 진행 중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다만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과거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CAPEX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수준은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 EBIT, EBITDA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로 범위 이내</a:t>
            </a:r>
            <a:endParaRPr lang="ko-KR" altLang="en-US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5" name="직선 연결선 84">
            <a:extLst>
              <a:ext uri="{FF2B5EF4-FFF2-40B4-BE49-F238E27FC236}">
                <a16:creationId xmlns:a16="http://schemas.microsoft.com/office/drawing/2014/main" id="{4BF5CA7D-2161-F624-8BF5-4ECE71707D86}"/>
              </a:ext>
            </a:extLst>
          </p:cNvPr>
          <p:cNvCxnSpPr>
            <a:cxnSpLocks/>
          </p:cNvCxnSpPr>
          <p:nvPr/>
        </p:nvCxnSpPr>
        <p:spPr>
          <a:xfrm>
            <a:off x="503453" y="5282184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154B1AB-864D-E6EA-6A50-F92C5E90DB50}"/>
              </a:ext>
            </a:extLst>
          </p:cNvPr>
          <p:cNvSpPr/>
          <p:nvPr/>
        </p:nvSpPr>
        <p:spPr>
          <a:xfrm>
            <a:off x="4492421" y="432160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4C484B3B-A537-4220-5B14-399862F72547}"/>
              </a:ext>
            </a:extLst>
          </p:cNvPr>
          <p:cNvSpPr/>
          <p:nvPr/>
        </p:nvSpPr>
        <p:spPr>
          <a:xfrm>
            <a:off x="4492421" y="450680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5FCBF72E-6E69-1FA4-5875-C5A9D40F4624}"/>
              </a:ext>
            </a:extLst>
          </p:cNvPr>
          <p:cNvSpPr/>
          <p:nvPr/>
        </p:nvSpPr>
        <p:spPr>
          <a:xfrm>
            <a:off x="4492421" y="469200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9FE3822B-94E4-AF37-9E7E-FC74582FF63C}"/>
              </a:ext>
            </a:extLst>
          </p:cNvPr>
          <p:cNvSpPr/>
          <p:nvPr/>
        </p:nvSpPr>
        <p:spPr>
          <a:xfrm>
            <a:off x="4492421" y="487721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BC19565F-C2E8-CF6C-AD20-AD80240F1424}"/>
              </a:ext>
            </a:extLst>
          </p:cNvPr>
          <p:cNvSpPr/>
          <p:nvPr/>
        </p:nvSpPr>
        <p:spPr>
          <a:xfrm>
            <a:off x="4492421" y="50624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CC00318B-EE28-9849-5F1F-F89467B48390}"/>
              </a:ext>
            </a:extLst>
          </p:cNvPr>
          <p:cNvSpPr/>
          <p:nvPr/>
        </p:nvSpPr>
        <p:spPr>
          <a:xfrm>
            <a:off x="6907453" y="432160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6FD50299-1A4C-EC00-CFBF-2F26C09E6782}"/>
              </a:ext>
            </a:extLst>
          </p:cNvPr>
          <p:cNvSpPr/>
          <p:nvPr/>
        </p:nvSpPr>
        <p:spPr>
          <a:xfrm>
            <a:off x="6907453" y="450680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7CCEC674-5144-D082-B95F-80F056E1A841}"/>
              </a:ext>
            </a:extLst>
          </p:cNvPr>
          <p:cNvSpPr/>
          <p:nvPr/>
        </p:nvSpPr>
        <p:spPr>
          <a:xfrm>
            <a:off x="6907453" y="469200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71F38A48-6438-3C9D-10E2-1D6EE1B573C8}"/>
              </a:ext>
            </a:extLst>
          </p:cNvPr>
          <p:cNvSpPr/>
          <p:nvPr/>
        </p:nvSpPr>
        <p:spPr>
          <a:xfrm>
            <a:off x="6907453" y="487721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6A8A33A6-C88A-7555-6661-55774CF01553}"/>
              </a:ext>
            </a:extLst>
          </p:cNvPr>
          <p:cNvSpPr/>
          <p:nvPr/>
        </p:nvSpPr>
        <p:spPr>
          <a:xfrm>
            <a:off x="6907453" y="506241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747C5E07-84C7-1AEC-9D4E-B1F53F20EF51}"/>
              </a:ext>
            </a:extLst>
          </p:cNvPr>
          <p:cNvSpPr/>
          <p:nvPr/>
        </p:nvSpPr>
        <p:spPr>
          <a:xfrm>
            <a:off x="9322485" y="4321603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67E6B9C8-B83B-6DBE-CCBA-0DEE7B7A6AF4}"/>
              </a:ext>
            </a:extLst>
          </p:cNvPr>
          <p:cNvSpPr/>
          <p:nvPr/>
        </p:nvSpPr>
        <p:spPr>
          <a:xfrm>
            <a:off x="9322485" y="450680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8DC959C-ABA3-30EF-DD01-0B13F3AF3EDA}"/>
              </a:ext>
            </a:extLst>
          </p:cNvPr>
          <p:cNvSpPr/>
          <p:nvPr/>
        </p:nvSpPr>
        <p:spPr>
          <a:xfrm>
            <a:off x="9322485" y="469200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3AE7B102-7C8E-6AA5-294D-D079E694F281}"/>
              </a:ext>
            </a:extLst>
          </p:cNvPr>
          <p:cNvSpPr/>
          <p:nvPr/>
        </p:nvSpPr>
        <p:spPr>
          <a:xfrm>
            <a:off x="9322485" y="487721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AC26CF1-F89A-F38E-CDA6-9D89DCC405F8}"/>
              </a:ext>
            </a:extLst>
          </p:cNvPr>
          <p:cNvSpPr/>
          <p:nvPr/>
        </p:nvSpPr>
        <p:spPr>
          <a:xfrm>
            <a:off x="9322485" y="506241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33E44CD-DE11-3E3B-D45C-41B67043EB99}"/>
              </a:ext>
            </a:extLst>
          </p:cNvPr>
          <p:cNvSpPr txBox="1"/>
          <p:nvPr/>
        </p:nvSpPr>
        <p:spPr>
          <a:xfrm>
            <a:off x="2420276" y="434189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OVID-19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여파로 제주항공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19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,335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이었던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EBITDA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2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에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-)161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으로 추락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2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하반기 이후 여행 수요가 증가하면서 영업이익 급증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C24FBF8-4B6C-0DE2-0426-DBF12C36141B}"/>
              </a:ext>
            </a:extLst>
          </p:cNvPr>
          <p:cNvSpPr txBox="1"/>
          <p:nvPr/>
        </p:nvSpPr>
        <p:spPr>
          <a:xfrm>
            <a:off x="4789290" y="4271212"/>
            <a:ext cx="2016000" cy="98457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로나 시기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’20~’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유상증자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회사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CB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종자본증권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합쳐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,599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의 자금을 조달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자본으로 인정받은 금액이 많음에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이 약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00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높은 편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보유 중인 </a:t>
            </a:r>
            <a:r>
              <a:rPr lang="ko-KR" altLang="en-US" sz="900" b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多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CD7B612-A99A-6339-85A7-7C601D74A131}"/>
              </a:ext>
            </a:extLst>
          </p:cNvPr>
          <p:cNvSpPr txBox="1"/>
          <p:nvPr/>
        </p:nvSpPr>
        <p:spPr>
          <a:xfrm>
            <a:off x="7231622" y="434189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항공기 관련 대규모 투자계획</a:t>
            </a:r>
            <a:b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차세대 항공기 도입을 위해 향후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약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,52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규모의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apex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소요 예상</a:t>
            </a:r>
          </a:p>
        </p:txBody>
      </p:sp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2AA5C34F-5336-CD70-55D5-BB1EC79533EA}"/>
              </a:ext>
            </a:extLst>
          </p:cNvPr>
          <p:cNvCxnSpPr>
            <a:cxnSpLocks/>
          </p:cNvCxnSpPr>
          <p:nvPr/>
        </p:nvCxnSpPr>
        <p:spPr>
          <a:xfrm>
            <a:off x="503453" y="6317159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5DDF5A38-0903-471B-9F76-F7B3F2E1D980}"/>
              </a:ext>
            </a:extLst>
          </p:cNvPr>
          <p:cNvSpPr/>
          <p:nvPr/>
        </p:nvSpPr>
        <p:spPr>
          <a:xfrm>
            <a:off x="4492421" y="535657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42018F4D-2930-8733-4490-8FBB121EC600}"/>
              </a:ext>
            </a:extLst>
          </p:cNvPr>
          <p:cNvSpPr/>
          <p:nvPr/>
        </p:nvSpPr>
        <p:spPr>
          <a:xfrm>
            <a:off x="4492421" y="554178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21FF79A5-18E7-1CE5-32C4-19EE989EA816}"/>
              </a:ext>
            </a:extLst>
          </p:cNvPr>
          <p:cNvSpPr/>
          <p:nvPr/>
        </p:nvSpPr>
        <p:spPr>
          <a:xfrm>
            <a:off x="4492421" y="572698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982C754C-FCBC-14DB-E9DB-B8B279955D69}"/>
              </a:ext>
            </a:extLst>
          </p:cNvPr>
          <p:cNvSpPr/>
          <p:nvPr/>
        </p:nvSpPr>
        <p:spPr>
          <a:xfrm>
            <a:off x="4492421" y="591218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BCEEB98-B842-F540-34F0-8B9C274906C8}"/>
              </a:ext>
            </a:extLst>
          </p:cNvPr>
          <p:cNvSpPr/>
          <p:nvPr/>
        </p:nvSpPr>
        <p:spPr>
          <a:xfrm>
            <a:off x="4492421" y="609739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FC40C4A7-9E54-7C57-50A2-DD4C94513638}"/>
              </a:ext>
            </a:extLst>
          </p:cNvPr>
          <p:cNvSpPr/>
          <p:nvPr/>
        </p:nvSpPr>
        <p:spPr>
          <a:xfrm>
            <a:off x="6907453" y="535657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71F0BCF1-3612-319D-77A6-EBD7A2077A00}"/>
              </a:ext>
            </a:extLst>
          </p:cNvPr>
          <p:cNvSpPr/>
          <p:nvPr/>
        </p:nvSpPr>
        <p:spPr>
          <a:xfrm>
            <a:off x="6907453" y="554178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1B3AEE0D-E5DF-1A7D-ACE0-7FA2C7B47177}"/>
              </a:ext>
            </a:extLst>
          </p:cNvPr>
          <p:cNvSpPr/>
          <p:nvPr/>
        </p:nvSpPr>
        <p:spPr>
          <a:xfrm>
            <a:off x="6907453" y="572698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5AAC39A0-E556-3720-FA70-0482A1866000}"/>
              </a:ext>
            </a:extLst>
          </p:cNvPr>
          <p:cNvSpPr/>
          <p:nvPr/>
        </p:nvSpPr>
        <p:spPr>
          <a:xfrm>
            <a:off x="6907453" y="591218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B53B4A51-C202-41AF-529B-0EEAEA49B696}"/>
              </a:ext>
            </a:extLst>
          </p:cNvPr>
          <p:cNvSpPr/>
          <p:nvPr/>
        </p:nvSpPr>
        <p:spPr>
          <a:xfrm>
            <a:off x="6907453" y="609739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EB8C0B88-4B80-797C-6475-FCDC0BB09B77}"/>
              </a:ext>
            </a:extLst>
          </p:cNvPr>
          <p:cNvSpPr/>
          <p:nvPr/>
        </p:nvSpPr>
        <p:spPr>
          <a:xfrm>
            <a:off x="9322485" y="535657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F7783635-0E70-C2B9-A68F-C6559120DE4B}"/>
              </a:ext>
            </a:extLst>
          </p:cNvPr>
          <p:cNvSpPr/>
          <p:nvPr/>
        </p:nvSpPr>
        <p:spPr>
          <a:xfrm>
            <a:off x="9322485" y="554178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392FD67A-6BD1-AB50-43E8-C6E01500DACA}"/>
              </a:ext>
            </a:extLst>
          </p:cNvPr>
          <p:cNvSpPr/>
          <p:nvPr/>
        </p:nvSpPr>
        <p:spPr>
          <a:xfrm>
            <a:off x="9322485" y="572698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85E2555D-FC45-F324-9BD0-8303DAE53BA6}"/>
              </a:ext>
            </a:extLst>
          </p:cNvPr>
          <p:cNvSpPr/>
          <p:nvPr/>
        </p:nvSpPr>
        <p:spPr>
          <a:xfrm>
            <a:off x="9322485" y="591218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E62FE95-2190-0730-8F8B-4A7A4F06A70D}"/>
              </a:ext>
            </a:extLst>
          </p:cNvPr>
          <p:cNvSpPr/>
          <p:nvPr/>
        </p:nvSpPr>
        <p:spPr>
          <a:xfrm>
            <a:off x="9322485" y="609739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0DFFEE9-6AC7-6062-9531-A368E4644948}"/>
              </a:ext>
            </a:extLst>
          </p:cNvPr>
          <p:cNvSpPr txBox="1"/>
          <p:nvPr/>
        </p:nvSpPr>
        <p:spPr>
          <a:xfrm>
            <a:off x="2420276" y="53452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회사의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근린형 쇼핑몰’ 사업이 최근 트렌드와 맞지 않아 수년째 실적 악화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 영업손실 및 이자보상배율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  <a:endParaRPr lang="en-US" altLang="ko-KR" sz="900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1~‘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매년 약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0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의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당기순손실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기록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’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상반기 전기 동기간 대비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당기순손실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약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0%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증가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E5AE4D4-75B2-E79E-70C9-F1220FE98244}"/>
              </a:ext>
            </a:extLst>
          </p:cNvPr>
          <p:cNvSpPr txBox="1"/>
          <p:nvPr/>
        </p:nvSpPr>
        <p:spPr>
          <a:xfrm>
            <a:off x="4789290" y="53452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신용등급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BB+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하향 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23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계열사를 상대로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,000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규모 유상증자 및 운영자금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00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차입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b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인 실적악화로 향후 자금수혈이 지속될 가능성 高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6BB3553-AA79-0AE0-6385-CD8453A306A8}"/>
              </a:ext>
            </a:extLst>
          </p:cNvPr>
          <p:cNvSpPr txBox="1"/>
          <p:nvPr/>
        </p:nvSpPr>
        <p:spPr>
          <a:xfrm>
            <a:off x="7231622" y="53452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. AK S&amp;D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의 실적 적자 심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및 추가적인 자금 수혈 필요성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2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제주항공 실적 호조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그러나 향후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Capex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소요액 증가로 계열사 지원 여력 제한적인 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석유화학 업계 부진으로 주요 계열사인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애경케미칼의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재무실적이 하락세인 점을 고려</a:t>
            </a:r>
            <a:endParaRPr lang="ko-KR" altLang="en-US" sz="1200" b="1" u="sng" kern="0" dirty="0">
              <a:solidFill>
                <a:srgbClr val="C00000"/>
              </a:solidFill>
              <a:highlight>
                <a:srgbClr val="FFFF00"/>
              </a:highlight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2" name="Picture 2" descr="애경 로고">
            <a:extLst>
              <a:ext uri="{FF2B5EF4-FFF2-40B4-BE49-F238E27FC236}">
                <a16:creationId xmlns:a16="http://schemas.microsoft.com/office/drawing/2014/main" id="{B48AE850-3EF5-0DB8-5DB5-624738288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99" y="2359255"/>
            <a:ext cx="1481137" cy="75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2" descr="표경원 애경케미칼 대표 &quot; ESG경영 선도기업이 되어야 한다&quot; &lt; 재계 &lt; 뉴스룸 &lt; 기사본문 - S-저널">
            <a:extLst>
              <a:ext uri="{FF2B5EF4-FFF2-40B4-BE49-F238E27FC236}">
                <a16:creationId xmlns:a16="http://schemas.microsoft.com/office/drawing/2014/main" id="{6C8C862E-06D5-8D89-C0EE-49FF7FC144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88" y="3484902"/>
            <a:ext cx="1573371" cy="435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제주항공, 주당가치 희석·매크로 악화에 목표가↓ - 흥국">
            <a:extLst>
              <a:ext uri="{FF2B5EF4-FFF2-40B4-BE49-F238E27FC236}">
                <a16:creationId xmlns:a16="http://schemas.microsoft.com/office/drawing/2014/main" id="{607C4738-E260-239A-9AC4-70B2C98997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24" y="4330869"/>
            <a:ext cx="1573328" cy="82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" descr="어패럴뉴스 - AK에스앤디, 평택역사 흡수합병">
            <a:extLst>
              <a:ext uri="{FF2B5EF4-FFF2-40B4-BE49-F238E27FC236}">
                <a16:creationId xmlns:a16="http://schemas.microsoft.com/office/drawing/2014/main" id="{60A490E8-CC7E-D911-0872-F4CE78998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3" r="5939"/>
          <a:stretch/>
        </p:blipFill>
        <p:spPr bwMode="auto">
          <a:xfrm>
            <a:off x="793144" y="5351439"/>
            <a:ext cx="1333501" cy="903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8327AAF0-21D9-556E-53DF-47F79790DF7C}"/>
              </a:ext>
            </a:extLst>
          </p:cNvPr>
          <p:cNvSpPr/>
          <p:nvPr/>
        </p:nvSpPr>
        <p:spPr>
          <a:xfrm>
            <a:off x="10356987" y="2924336"/>
            <a:ext cx="2747279" cy="2751434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재무실적 추이로 변경하고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선되고 있는 계열사에 대해서는 있는 그대로 </a:t>
            </a:r>
            <a:r>
              <a:rPr lang="ko-KR" altLang="en-US" sz="1000" b="1" err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급해주는걸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 err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려해보시죠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!</a:t>
            </a:r>
          </a:p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산업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보고서 참고해서 과거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준을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BIT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또는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BITDA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</a:t>
            </a:r>
            <a:r>
              <a:rPr lang="ko-KR" altLang="en-US" sz="1000" b="1" err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커버가능하다는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점 추가 고려</a:t>
            </a:r>
            <a:endParaRPr lang="en-US" altLang="ko-KR" sz="1000" b="1">
              <a:solidFill>
                <a:schemeClr val="bg1"/>
              </a:solidFill>
              <a:highlight>
                <a:srgbClr val="009CFF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228600" indent="-228600">
              <a:buAutoNum type="arabicPeriod"/>
            </a:pPr>
            <a:r>
              <a:rPr lang="ko-KR" altLang="en-US" sz="1000" b="1" err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</a:t>
            </a:r>
            <a:r>
              <a:rPr lang="ko-KR" altLang="en-US" sz="1000" b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CAPEX</a:t>
            </a:r>
            <a:r>
              <a:rPr lang="ko-KR" altLang="en-US" sz="1000" b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투자 규모 관련해서는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/A</a:t>
            </a:r>
            <a:r>
              <a:rPr lang="ko-KR" altLang="en-US" sz="1000" b="1" err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것인가</a:t>
            </a:r>
            <a:r>
              <a:rPr lang="en-US" altLang="ko-KR" sz="1000" b="1">
                <a:solidFill>
                  <a:schemeClr val="bg1"/>
                </a:solidFill>
                <a:highlight>
                  <a:srgbClr val="FF00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Covid-19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간 동안 실적 악화 수준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투입이 얼마나 많이 이루어졌는지 살짝 언급하는 건 어떨까요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승전결 느낌으로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!</a:t>
            </a:r>
          </a:p>
          <a:p>
            <a:pPr marL="228600" indent="-228600">
              <a:buAutoNum type="arabicPeriod"/>
            </a:pP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라자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AK S&amp;D) – ‘23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상반기 기준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동기 대비 실적 악화한 점 추가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초 계열사 상대로 유상증자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,000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실행한 것 추가 고려</a:t>
            </a:r>
            <a:endParaRPr lang="en-US" altLang="ko-KR" sz="1000" b="1">
              <a:solidFill>
                <a:schemeClr val="bg1"/>
              </a:solidFill>
              <a:highlight>
                <a:srgbClr val="009CFF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064E275D-6DC8-F354-21E9-C5BB99D63D4D}"/>
              </a:ext>
            </a:extLst>
          </p:cNvPr>
          <p:cNvSpPr/>
          <p:nvPr/>
        </p:nvSpPr>
        <p:spPr>
          <a:xfrm>
            <a:off x="0" y="6933357"/>
            <a:ext cx="4370389" cy="1600563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228600" indent="-228600">
              <a:buAutoNum type="arabicPeriod"/>
            </a:pPr>
            <a:r>
              <a:rPr lang="ko-KR" altLang="en-US" sz="1000" err="1">
                <a:solidFill>
                  <a:schemeClr val="bg1"/>
                </a:solidFill>
                <a:highlight>
                  <a:srgbClr val="FFCCCC"/>
                </a:highlight>
              </a:rPr>
              <a:t>에이케이에스앤디의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 경우 최근 지속적으로 영업손실 및 이자보상배율 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1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미만임도 언급해주시면 좋을 것 같습니다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.</a:t>
            </a:r>
          </a:p>
          <a:p>
            <a:pPr marL="228600" indent="-228600">
              <a:buAutoNum type="arabicPeriod"/>
            </a:pPr>
            <a:r>
              <a:rPr lang="ko-KR" altLang="en-US" sz="1000" err="1">
                <a:solidFill>
                  <a:schemeClr val="bg1"/>
                </a:solidFill>
              </a:rPr>
              <a:t>에이케이에스앤디가</a:t>
            </a:r>
            <a:r>
              <a:rPr lang="ko-KR" altLang="en-US" sz="1000">
                <a:solidFill>
                  <a:schemeClr val="bg1"/>
                </a:solidFill>
              </a:rPr>
              <a:t> 생각보다 상황이 많이 </a:t>
            </a:r>
            <a:r>
              <a:rPr lang="ko-KR" altLang="en-US" sz="1000" err="1">
                <a:solidFill>
                  <a:schemeClr val="bg1"/>
                </a:solidFill>
              </a:rPr>
              <a:t>안좋은</a:t>
            </a:r>
            <a:r>
              <a:rPr lang="ko-KR" altLang="en-US" sz="1000">
                <a:solidFill>
                  <a:schemeClr val="bg1"/>
                </a:solidFill>
              </a:rPr>
              <a:t> 것 같은데</a:t>
            </a:r>
            <a:r>
              <a:rPr lang="en-US" altLang="ko-KR" sz="1000">
                <a:solidFill>
                  <a:schemeClr val="bg1"/>
                </a:solidFill>
              </a:rPr>
              <a:t>(’22</a:t>
            </a:r>
            <a:r>
              <a:rPr lang="ko-KR" altLang="en-US" sz="1000">
                <a:solidFill>
                  <a:schemeClr val="bg1"/>
                </a:solidFill>
              </a:rPr>
              <a:t>년말 기준 유동성 차입금 약 </a:t>
            </a:r>
            <a:r>
              <a:rPr lang="en-US" altLang="ko-KR" sz="1000">
                <a:solidFill>
                  <a:schemeClr val="bg1"/>
                </a:solidFill>
              </a:rPr>
              <a:t>2,000</a:t>
            </a:r>
            <a:r>
              <a:rPr lang="ko-KR" altLang="en-US" sz="1000">
                <a:solidFill>
                  <a:schemeClr val="bg1"/>
                </a:solidFill>
              </a:rPr>
              <a:t>억원 규모로</a:t>
            </a:r>
            <a:r>
              <a:rPr lang="en-US" altLang="ko-KR" sz="1000">
                <a:solidFill>
                  <a:schemeClr val="bg1"/>
                </a:solidFill>
              </a:rPr>
              <a:t>, </a:t>
            </a:r>
            <a:r>
              <a:rPr lang="ko-KR" altLang="en-US" sz="1000">
                <a:solidFill>
                  <a:schemeClr val="bg1"/>
                </a:solidFill>
              </a:rPr>
              <a:t>최근 유증 및 계열사 차입 후에도 유동성 리스크는 해소되지 않을 것으로 전망</a:t>
            </a:r>
            <a:r>
              <a:rPr lang="en-US" altLang="ko-KR" sz="1000">
                <a:solidFill>
                  <a:schemeClr val="bg1"/>
                </a:solidFill>
              </a:rPr>
              <a:t>),</a:t>
            </a:r>
            <a:r>
              <a:rPr lang="ko-KR" altLang="en-US" sz="1000">
                <a:solidFill>
                  <a:schemeClr val="bg1"/>
                </a:solidFill>
              </a:rPr>
              <a:t> 이후 계열사들의 추가 지원 여력이 충분하지 않을 것으로 판단된다면 </a:t>
            </a:r>
            <a:r>
              <a:rPr lang="en-US" altLang="ko-KR" sz="1000">
                <a:solidFill>
                  <a:schemeClr val="bg1"/>
                </a:solidFill>
              </a:rPr>
              <a:t>High</a:t>
            </a:r>
            <a:r>
              <a:rPr lang="ko-KR" altLang="en-US" sz="1000">
                <a:solidFill>
                  <a:schemeClr val="bg1"/>
                </a:solidFill>
              </a:rPr>
              <a:t>로 </a:t>
            </a:r>
            <a:r>
              <a:rPr lang="en-US" altLang="ko-KR" sz="1000">
                <a:solidFill>
                  <a:schemeClr val="bg1"/>
                </a:solidFill>
              </a:rPr>
              <a:t>rating</a:t>
            </a:r>
            <a:r>
              <a:rPr lang="ko-KR" altLang="en-US" sz="1000">
                <a:solidFill>
                  <a:schemeClr val="bg1"/>
                </a:solidFill>
              </a:rPr>
              <a:t> 해도 되지 않을까 싶은데 어떨까요</a:t>
            </a:r>
            <a:r>
              <a:rPr lang="en-US" altLang="ko-KR" sz="1000">
                <a:solidFill>
                  <a:schemeClr val="bg1"/>
                </a:solidFill>
              </a:rPr>
              <a:t>? </a:t>
            </a:r>
            <a:r>
              <a:rPr lang="ko-KR" altLang="en-US" sz="1000">
                <a:solidFill>
                  <a:schemeClr val="bg1"/>
                </a:solidFill>
              </a:rPr>
              <a:t>그나마 그룹 내에서 돈 잘 벌던 </a:t>
            </a:r>
            <a:r>
              <a:rPr lang="ko-KR" altLang="en-US" sz="1000" err="1">
                <a:solidFill>
                  <a:schemeClr val="bg1"/>
                </a:solidFill>
              </a:rPr>
              <a:t>애경케미칼도</a:t>
            </a:r>
            <a:r>
              <a:rPr lang="ko-KR" altLang="en-US" sz="1000">
                <a:solidFill>
                  <a:schemeClr val="bg1"/>
                </a:solidFill>
              </a:rPr>
              <a:t> </a:t>
            </a:r>
            <a:r>
              <a:rPr lang="en-US" altLang="ko-KR" sz="1000">
                <a:solidFill>
                  <a:schemeClr val="bg1"/>
                </a:solidFill>
              </a:rPr>
              <a:t>‘23</a:t>
            </a:r>
            <a:r>
              <a:rPr lang="ko-KR" altLang="en-US" sz="1000">
                <a:solidFill>
                  <a:schemeClr val="bg1"/>
                </a:solidFill>
              </a:rPr>
              <a:t>년에는 실적이 많이 꺾인 것 같습니다</a:t>
            </a:r>
            <a:r>
              <a:rPr lang="en-US" altLang="ko-KR" sz="1000">
                <a:solidFill>
                  <a:schemeClr val="bg1"/>
                </a:solidFill>
              </a:rPr>
              <a:t>)</a:t>
            </a:r>
            <a:br>
              <a:rPr lang="en-US" altLang="ko-KR" sz="1000">
                <a:solidFill>
                  <a:schemeClr val="bg1"/>
                </a:solidFill>
              </a:rPr>
            </a:br>
            <a:r>
              <a:rPr lang="en-US" altLang="ko-KR" sz="1000">
                <a:solidFill>
                  <a:schemeClr val="bg1"/>
                </a:solidFill>
              </a:rPr>
              <a:t>&gt;&gt; 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논의사항</a:t>
            </a:r>
          </a:p>
        </p:txBody>
      </p:sp>
    </p:spTree>
    <p:extLst>
      <p:ext uri="{BB962C8B-B14F-4D97-AF65-F5344CB8AC3E}">
        <p14:creationId xmlns:p14="http://schemas.microsoft.com/office/powerpoint/2010/main" val="32828499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애경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/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애경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장영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마포구 양화로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88 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애경타워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54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9,31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조업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학제품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장품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용품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항공 운송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</a:t>
            </a:r>
            <a:endParaRPr lang="en-US" altLang="ko-KR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석유화학 제품</a:t>
            </a:r>
            <a:r>
              <a:rPr lang="en-US" altLang="ko-KR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8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990503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애경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/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,29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89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4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,284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1,759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8.1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6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,672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1,813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9.4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6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88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,98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,31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37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4,8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1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본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27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,01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,0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애경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개발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 S&amp;D</a:t>
            </a:r>
          </a:p>
          <a:p>
            <a:pPr algn="ctr"/>
            <a:r>
              <a:rPr lang="en-US" altLang="ko-KR" sz="8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AK Plaza)</a:t>
            </a:r>
            <a:endParaRPr lang="ko-KR" altLang="en-US" sz="7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1454134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</a:t>
            </a:r>
            <a:endParaRPr lang="en-US" altLang="ko-KR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8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8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대주주</a:t>
            </a:r>
            <a:r>
              <a:rPr lang="en-US" altLang="ko-KR" sz="8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6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endParaRPr lang="en-US" altLang="ko-KR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산개발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원애경역사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3A43F36-7E8C-B110-B5E1-C42059243E5B}"/>
              </a:ext>
            </a:extLst>
          </p:cNvPr>
          <p:cNvSpPr/>
          <p:nvPr/>
        </p:nvSpPr>
        <p:spPr>
          <a:xfrm>
            <a:off x="6213452" y="3539795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포애경타운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BDA41510-EE1C-D462-D604-0B3E9CAD627F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산업</a:t>
            </a:r>
            <a:endParaRPr lang="en-US" altLang="ko-KR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장품</a:t>
            </a:r>
            <a:r>
              <a:rPr lang="en-US" altLang="ko-KR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용품</a:t>
            </a:r>
            <a:r>
              <a:rPr lang="en-US" altLang="ko-KR" sz="8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8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30672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0FD1D5E-BF4E-5FDF-DB6B-3DD40A0FC492}"/>
              </a:ext>
            </a:extLst>
          </p:cNvPr>
          <p:cNvCxnSpPr>
            <a:cxnSpLocks/>
          </p:cNvCxnSpPr>
          <p:nvPr/>
        </p:nvCxnSpPr>
        <p:spPr>
          <a:xfrm>
            <a:off x="2805594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애경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96AB30BB-E90D-337F-CACF-29B2F70D638E}"/>
              </a:ext>
            </a:extLst>
          </p:cNvPr>
          <p:cNvSpPr/>
          <p:nvPr/>
        </p:nvSpPr>
        <p:spPr>
          <a:xfrm>
            <a:off x="4450131" y="2535959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홀딩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90E004C-8AEE-CAFE-60F3-E26D87A6A087}"/>
              </a:ext>
            </a:extLst>
          </p:cNvPr>
          <p:cNvCxnSpPr>
            <a:cxnSpLocks/>
          </p:cNvCxnSpPr>
          <p:nvPr/>
        </p:nvCxnSpPr>
        <p:spPr>
          <a:xfrm flipH="1">
            <a:off x="1472064" y="3090418"/>
            <a:ext cx="7101925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8DB37D4-213D-EDBA-DF2C-5C8134AE0A6B}"/>
              </a:ext>
            </a:extLst>
          </p:cNvPr>
          <p:cNvCxnSpPr>
            <a:cxnSpLocks/>
          </p:cNvCxnSpPr>
          <p:nvPr/>
        </p:nvCxnSpPr>
        <p:spPr>
          <a:xfrm>
            <a:off x="4180898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6DA89548-4077-F7B7-F4FF-0F6EA692D728}"/>
              </a:ext>
            </a:extLst>
          </p:cNvPr>
          <p:cNvCxnSpPr>
            <a:cxnSpLocks/>
          </p:cNvCxnSpPr>
          <p:nvPr/>
        </p:nvCxnSpPr>
        <p:spPr>
          <a:xfrm>
            <a:off x="1472064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5CF756E9-084E-095F-A101-7C1CDA47D40F}"/>
              </a:ext>
            </a:extLst>
          </p:cNvPr>
          <p:cNvSpPr/>
          <p:nvPr/>
        </p:nvSpPr>
        <p:spPr>
          <a:xfrm>
            <a:off x="1185632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2.2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270B63B1-3D18-E312-DD25-D54F16B0247A}"/>
              </a:ext>
            </a:extLst>
          </p:cNvPr>
          <p:cNvSpPr/>
          <p:nvPr/>
        </p:nvSpPr>
        <p:spPr>
          <a:xfrm>
            <a:off x="2515047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D2C920EF-54B3-1973-C1C3-0D19AF77FF3E}"/>
              </a:ext>
            </a:extLst>
          </p:cNvPr>
          <p:cNvSpPr/>
          <p:nvPr/>
        </p:nvSpPr>
        <p:spPr>
          <a:xfrm>
            <a:off x="3886236" y="324235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5.1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51EBC106-0948-23CE-CD6A-D16AAF07732F}"/>
              </a:ext>
            </a:extLst>
          </p:cNvPr>
          <p:cNvSpPr/>
          <p:nvPr/>
        </p:nvSpPr>
        <p:spPr>
          <a:xfrm>
            <a:off x="3676898" y="360100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산업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D80FB0BA-6BBF-A1BE-FF9B-7617F044DD72}"/>
              </a:ext>
            </a:extLst>
          </p:cNvPr>
          <p:cNvSpPr/>
          <p:nvPr/>
        </p:nvSpPr>
        <p:spPr>
          <a:xfrm>
            <a:off x="968064" y="360073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83544130-3C77-4955-5E8C-4D3B584273C6}"/>
              </a:ext>
            </a:extLst>
          </p:cNvPr>
          <p:cNvSpPr/>
          <p:nvPr/>
        </p:nvSpPr>
        <p:spPr>
          <a:xfrm>
            <a:off x="2301594" y="360100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아이에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AF3326DB-B393-81C8-7F50-D619B66FDEA5}"/>
              </a:ext>
            </a:extLst>
          </p:cNvPr>
          <p:cNvCxnSpPr>
            <a:cxnSpLocks/>
          </p:cNvCxnSpPr>
          <p:nvPr/>
        </p:nvCxnSpPr>
        <p:spPr>
          <a:xfrm>
            <a:off x="5657070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타원 7">
            <a:extLst>
              <a:ext uri="{FF2B5EF4-FFF2-40B4-BE49-F238E27FC236}">
                <a16:creationId xmlns:a16="http://schemas.microsoft.com/office/drawing/2014/main" id="{31CA8706-9177-2328-D59D-53440819BD79}"/>
              </a:ext>
            </a:extLst>
          </p:cNvPr>
          <p:cNvSpPr/>
          <p:nvPr/>
        </p:nvSpPr>
        <p:spPr>
          <a:xfrm>
            <a:off x="5362408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.6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모서리가 둥근 직사각형 167">
            <a:extLst>
              <a:ext uri="{FF2B5EF4-FFF2-40B4-BE49-F238E27FC236}">
                <a16:creationId xmlns:a16="http://schemas.microsoft.com/office/drawing/2014/main" id="{52FDE01B-2F58-1609-78A9-744E297722A2}"/>
              </a:ext>
            </a:extLst>
          </p:cNvPr>
          <p:cNvSpPr/>
          <p:nvPr/>
        </p:nvSpPr>
        <p:spPr>
          <a:xfrm>
            <a:off x="5153070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45FDFD9-56BF-77A9-043D-3E8E4DC1E50D}"/>
              </a:ext>
            </a:extLst>
          </p:cNvPr>
          <p:cNvCxnSpPr>
            <a:cxnSpLocks/>
          </p:cNvCxnSpPr>
          <p:nvPr/>
        </p:nvCxnSpPr>
        <p:spPr>
          <a:xfrm>
            <a:off x="7098599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타원 10">
            <a:extLst>
              <a:ext uri="{FF2B5EF4-FFF2-40B4-BE49-F238E27FC236}">
                <a16:creationId xmlns:a16="http://schemas.microsoft.com/office/drawing/2014/main" id="{2D8B7B5D-07C2-8E6F-9820-9E202B06F7A9}"/>
              </a:ext>
            </a:extLst>
          </p:cNvPr>
          <p:cNvSpPr/>
          <p:nvPr/>
        </p:nvSpPr>
        <p:spPr>
          <a:xfrm>
            <a:off x="6803937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.6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모서리가 둥근 직사각형 167">
            <a:extLst>
              <a:ext uri="{FF2B5EF4-FFF2-40B4-BE49-F238E27FC236}">
                <a16:creationId xmlns:a16="http://schemas.microsoft.com/office/drawing/2014/main" id="{CE76DF49-3EC5-E65A-7DB5-7440D12F40F5}"/>
              </a:ext>
            </a:extLst>
          </p:cNvPr>
          <p:cNvSpPr/>
          <p:nvPr/>
        </p:nvSpPr>
        <p:spPr>
          <a:xfrm>
            <a:off x="6594599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에스앤디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C1E2FFDB-4337-8D8A-736C-C6AE29917677}"/>
              </a:ext>
            </a:extLst>
          </p:cNvPr>
          <p:cNvCxnSpPr>
            <a:cxnSpLocks/>
          </p:cNvCxnSpPr>
          <p:nvPr/>
        </p:nvCxnSpPr>
        <p:spPr>
          <a:xfrm>
            <a:off x="8573989" y="309014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타원 13">
            <a:extLst>
              <a:ext uri="{FF2B5EF4-FFF2-40B4-BE49-F238E27FC236}">
                <a16:creationId xmlns:a16="http://schemas.microsoft.com/office/drawing/2014/main" id="{690C53C3-607D-48B9-EB4F-269DBE88FA25}"/>
              </a:ext>
            </a:extLst>
          </p:cNvPr>
          <p:cNvSpPr/>
          <p:nvPr/>
        </p:nvSpPr>
        <p:spPr>
          <a:xfrm>
            <a:off x="8279327" y="324208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.6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FE39BFF0-A340-3EF7-4EDB-A8299F08084C}"/>
              </a:ext>
            </a:extLst>
          </p:cNvPr>
          <p:cNvSpPr/>
          <p:nvPr/>
        </p:nvSpPr>
        <p:spPr>
          <a:xfrm>
            <a:off x="8069989" y="360073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자산개발</a:t>
            </a: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44898F7B-8C49-7730-D852-1AE47202E337}"/>
              </a:ext>
            </a:extLst>
          </p:cNvPr>
          <p:cNvCxnSpPr>
            <a:cxnSpLocks/>
          </p:cNvCxnSpPr>
          <p:nvPr/>
        </p:nvCxnSpPr>
        <p:spPr>
          <a:xfrm>
            <a:off x="1765550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>
            <a:extLst>
              <a:ext uri="{FF2B5EF4-FFF2-40B4-BE49-F238E27FC236}">
                <a16:creationId xmlns:a16="http://schemas.microsoft.com/office/drawing/2014/main" id="{F2D73734-8486-076A-20B3-54FB99F3E8EB}"/>
              </a:ext>
            </a:extLst>
          </p:cNvPr>
          <p:cNvSpPr/>
          <p:nvPr/>
        </p:nvSpPr>
        <p:spPr>
          <a:xfrm>
            <a:off x="1473377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0" name="모서리가 둥근 직사각형 167">
            <a:extLst>
              <a:ext uri="{FF2B5EF4-FFF2-40B4-BE49-F238E27FC236}">
                <a16:creationId xmlns:a16="http://schemas.microsoft.com/office/drawing/2014/main" id="{036D5440-7A8F-3B4F-DFD5-77C7368914D5}"/>
              </a:ext>
            </a:extLst>
          </p:cNvPr>
          <p:cNvSpPr/>
          <p:nvPr/>
        </p:nvSpPr>
        <p:spPr>
          <a:xfrm>
            <a:off x="1472064" y="4367299"/>
            <a:ext cx="612000" cy="53787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</a:t>
            </a:r>
            <a:b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엠앤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바이오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1BAA0BE9-DD68-94F7-387E-58812243EDC1}"/>
              </a:ext>
            </a:extLst>
          </p:cNvPr>
          <p:cNvCxnSpPr>
            <a:cxnSpLocks/>
          </p:cNvCxnSpPr>
          <p:nvPr/>
        </p:nvCxnSpPr>
        <p:spPr>
          <a:xfrm>
            <a:off x="1104798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타원 24">
            <a:extLst>
              <a:ext uri="{FF2B5EF4-FFF2-40B4-BE49-F238E27FC236}">
                <a16:creationId xmlns:a16="http://schemas.microsoft.com/office/drawing/2014/main" id="{D8E6AC7F-4FE3-1632-127D-2F9F3A9FD62F}"/>
              </a:ext>
            </a:extLst>
          </p:cNvPr>
          <p:cNvSpPr/>
          <p:nvPr/>
        </p:nvSpPr>
        <p:spPr>
          <a:xfrm>
            <a:off x="812625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6" name="모서리가 둥근 직사각형 167">
            <a:extLst>
              <a:ext uri="{FF2B5EF4-FFF2-40B4-BE49-F238E27FC236}">
                <a16:creationId xmlns:a16="http://schemas.microsoft.com/office/drawing/2014/main" id="{4F376910-B11C-56A6-2348-421886ADA9F3}"/>
              </a:ext>
            </a:extLst>
          </p:cNvPr>
          <p:cNvSpPr/>
          <p:nvPr/>
        </p:nvSpPr>
        <p:spPr>
          <a:xfrm>
            <a:off x="806038" y="4360971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중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컨트리클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9" name="모서리가 둥근 직사각형 167">
            <a:extLst>
              <a:ext uri="{FF2B5EF4-FFF2-40B4-BE49-F238E27FC236}">
                <a16:creationId xmlns:a16="http://schemas.microsoft.com/office/drawing/2014/main" id="{2CA433CB-95F5-8460-BA2B-B7C0B93CA325}"/>
              </a:ext>
            </a:extLst>
          </p:cNvPr>
          <p:cNvSpPr/>
          <p:nvPr/>
        </p:nvSpPr>
        <p:spPr>
          <a:xfrm>
            <a:off x="806038" y="4935255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수도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D9EC6F40-D95D-4AA5-F0D3-4937F0EEB2B5}"/>
              </a:ext>
            </a:extLst>
          </p:cNvPr>
          <p:cNvCxnSpPr>
            <a:cxnSpLocks/>
          </p:cNvCxnSpPr>
          <p:nvPr/>
        </p:nvCxnSpPr>
        <p:spPr>
          <a:xfrm>
            <a:off x="4548535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타원 31">
            <a:extLst>
              <a:ext uri="{FF2B5EF4-FFF2-40B4-BE49-F238E27FC236}">
                <a16:creationId xmlns:a16="http://schemas.microsoft.com/office/drawing/2014/main" id="{345B97F4-0C7E-8305-75EB-00433FAC2D36}"/>
              </a:ext>
            </a:extLst>
          </p:cNvPr>
          <p:cNvSpPr/>
          <p:nvPr/>
        </p:nvSpPr>
        <p:spPr>
          <a:xfrm>
            <a:off x="4256362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1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3" name="모서리가 둥근 직사각형 167">
            <a:extLst>
              <a:ext uri="{FF2B5EF4-FFF2-40B4-BE49-F238E27FC236}">
                <a16:creationId xmlns:a16="http://schemas.microsoft.com/office/drawing/2014/main" id="{63362C6C-CE0B-C13A-D895-04B41AE7BB41}"/>
              </a:ext>
            </a:extLst>
          </p:cNvPr>
          <p:cNvSpPr/>
          <p:nvPr/>
        </p:nvSpPr>
        <p:spPr>
          <a:xfrm>
            <a:off x="4255049" y="4367299"/>
            <a:ext cx="612000" cy="53787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에스티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47A6B482-792F-BC84-69B0-39649E9508B6}"/>
              </a:ext>
            </a:extLst>
          </p:cNvPr>
          <p:cNvCxnSpPr>
            <a:cxnSpLocks/>
          </p:cNvCxnSpPr>
          <p:nvPr/>
        </p:nvCxnSpPr>
        <p:spPr>
          <a:xfrm>
            <a:off x="3887783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타원 34">
            <a:extLst>
              <a:ext uri="{FF2B5EF4-FFF2-40B4-BE49-F238E27FC236}">
                <a16:creationId xmlns:a16="http://schemas.microsoft.com/office/drawing/2014/main" id="{4ECA9BB3-F703-9E6A-03D6-F162D4F57343}"/>
              </a:ext>
            </a:extLst>
          </p:cNvPr>
          <p:cNvSpPr/>
          <p:nvPr/>
        </p:nvSpPr>
        <p:spPr>
          <a:xfrm>
            <a:off x="3595610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7" name="모서리가 둥근 직사각형 167">
            <a:extLst>
              <a:ext uri="{FF2B5EF4-FFF2-40B4-BE49-F238E27FC236}">
                <a16:creationId xmlns:a16="http://schemas.microsoft.com/office/drawing/2014/main" id="{98FD05A8-9095-2B82-D5E7-6689EC7D757A}"/>
              </a:ext>
            </a:extLst>
          </p:cNvPr>
          <p:cNvSpPr/>
          <p:nvPr/>
        </p:nvSpPr>
        <p:spPr>
          <a:xfrm>
            <a:off x="3589023" y="4360971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두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산업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8" name="모서리가 둥근 직사각형 167">
            <a:extLst>
              <a:ext uri="{FF2B5EF4-FFF2-40B4-BE49-F238E27FC236}">
                <a16:creationId xmlns:a16="http://schemas.microsoft.com/office/drawing/2014/main" id="{53CC082D-F2BE-5D00-4DFD-E09BFFF4EEE0}"/>
              </a:ext>
            </a:extLst>
          </p:cNvPr>
          <p:cNvSpPr/>
          <p:nvPr/>
        </p:nvSpPr>
        <p:spPr>
          <a:xfrm>
            <a:off x="3589023" y="4935255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제이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09BC5220-579C-40B3-0D54-C2A0FA053E01}"/>
              </a:ext>
            </a:extLst>
          </p:cNvPr>
          <p:cNvCxnSpPr>
            <a:cxnSpLocks/>
          </p:cNvCxnSpPr>
          <p:nvPr/>
        </p:nvCxnSpPr>
        <p:spPr>
          <a:xfrm>
            <a:off x="5998465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타원 39">
            <a:extLst>
              <a:ext uri="{FF2B5EF4-FFF2-40B4-BE49-F238E27FC236}">
                <a16:creationId xmlns:a16="http://schemas.microsoft.com/office/drawing/2014/main" id="{FEE9C67C-5029-724B-DA1F-FAA4AED44098}"/>
              </a:ext>
            </a:extLst>
          </p:cNvPr>
          <p:cNvSpPr/>
          <p:nvPr/>
        </p:nvSpPr>
        <p:spPr>
          <a:xfrm>
            <a:off x="5706292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9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1" name="모서리가 둥근 직사각형 167">
            <a:extLst>
              <a:ext uri="{FF2B5EF4-FFF2-40B4-BE49-F238E27FC236}">
                <a16:creationId xmlns:a16="http://schemas.microsoft.com/office/drawing/2014/main" id="{A58AFCF3-3536-C128-7531-E1C5FBB17468}"/>
              </a:ext>
            </a:extLst>
          </p:cNvPr>
          <p:cNvSpPr/>
          <p:nvPr/>
        </p:nvSpPr>
        <p:spPr>
          <a:xfrm>
            <a:off x="5704979" y="4367299"/>
            <a:ext cx="612000" cy="53787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퍼시픽제</a:t>
            </a:r>
            <a: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kumimoji="0" lang="ko-KR" altLang="en-US" sz="8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전문</a:t>
            </a:r>
            <a:r>
              <a:rPr lang="ko-KR" altLang="en-US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모</a:t>
            </a:r>
            <a:br>
              <a:rPr lang="en-US" altLang="ko-KR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투자</a:t>
            </a:r>
            <a:endParaRPr kumimoji="0" lang="ko-KR" altLang="en-US" sz="8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8FBD7102-56A4-9A55-92AE-B9376E2E1708}"/>
              </a:ext>
            </a:extLst>
          </p:cNvPr>
          <p:cNvCxnSpPr>
            <a:cxnSpLocks/>
          </p:cNvCxnSpPr>
          <p:nvPr/>
        </p:nvCxnSpPr>
        <p:spPr>
          <a:xfrm>
            <a:off x="5337713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타원 42">
            <a:extLst>
              <a:ext uri="{FF2B5EF4-FFF2-40B4-BE49-F238E27FC236}">
                <a16:creationId xmlns:a16="http://schemas.microsoft.com/office/drawing/2014/main" id="{E225EBAB-AF57-A9A1-9B3A-E16C44A922E5}"/>
              </a:ext>
            </a:extLst>
          </p:cNvPr>
          <p:cNvSpPr/>
          <p:nvPr/>
        </p:nvSpPr>
        <p:spPr>
          <a:xfrm>
            <a:off x="5045540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4" name="모서리가 둥근 직사각형 167">
            <a:extLst>
              <a:ext uri="{FF2B5EF4-FFF2-40B4-BE49-F238E27FC236}">
                <a16:creationId xmlns:a16="http://schemas.microsoft.com/office/drawing/2014/main" id="{2EFF7674-B649-A36B-6D96-8503C3AF5902}"/>
              </a:ext>
            </a:extLst>
          </p:cNvPr>
          <p:cNvSpPr/>
          <p:nvPr/>
        </p:nvSpPr>
        <p:spPr>
          <a:xfrm>
            <a:off x="5038953" y="4360971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두락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모서리가 둥근 직사각형 167">
            <a:extLst>
              <a:ext uri="{FF2B5EF4-FFF2-40B4-BE49-F238E27FC236}">
                <a16:creationId xmlns:a16="http://schemas.microsoft.com/office/drawing/2014/main" id="{546066E8-0938-411C-C0A5-D4D6CEDF5074}"/>
              </a:ext>
            </a:extLst>
          </p:cNvPr>
          <p:cNvSpPr/>
          <p:nvPr/>
        </p:nvSpPr>
        <p:spPr>
          <a:xfrm>
            <a:off x="5038953" y="4935255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이</a:t>
            </a:r>
            <a:b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에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D451141E-5040-DCAB-8851-A951440D1E5C}"/>
              </a:ext>
            </a:extLst>
          </p:cNvPr>
          <p:cNvCxnSpPr>
            <a:cxnSpLocks/>
          </p:cNvCxnSpPr>
          <p:nvPr/>
        </p:nvCxnSpPr>
        <p:spPr>
          <a:xfrm>
            <a:off x="7447280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타원 46">
            <a:extLst>
              <a:ext uri="{FF2B5EF4-FFF2-40B4-BE49-F238E27FC236}">
                <a16:creationId xmlns:a16="http://schemas.microsoft.com/office/drawing/2014/main" id="{524E0D9B-A7F3-E10D-5B78-C010CD3C810B}"/>
              </a:ext>
            </a:extLst>
          </p:cNvPr>
          <p:cNvSpPr/>
          <p:nvPr/>
        </p:nvSpPr>
        <p:spPr>
          <a:xfrm>
            <a:off x="7155107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2.6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8" name="모서리가 둥근 직사각형 167">
            <a:extLst>
              <a:ext uri="{FF2B5EF4-FFF2-40B4-BE49-F238E27FC236}">
                <a16:creationId xmlns:a16="http://schemas.microsoft.com/office/drawing/2014/main" id="{276CE8A3-68F0-4B27-7DED-F37ABD1C58C2}"/>
              </a:ext>
            </a:extLst>
          </p:cNvPr>
          <p:cNvSpPr/>
          <p:nvPr/>
        </p:nvSpPr>
        <p:spPr>
          <a:xfrm>
            <a:off x="7153794" y="4367299"/>
            <a:ext cx="612000" cy="53787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포</a:t>
            </a:r>
            <a:b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타운</a:t>
            </a: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34CA771D-CAAD-62CD-A9F9-9EA5C083D21E}"/>
              </a:ext>
            </a:extLst>
          </p:cNvPr>
          <p:cNvCxnSpPr>
            <a:cxnSpLocks/>
          </p:cNvCxnSpPr>
          <p:nvPr/>
        </p:nvCxnSpPr>
        <p:spPr>
          <a:xfrm>
            <a:off x="6786528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타원 49">
            <a:extLst>
              <a:ext uri="{FF2B5EF4-FFF2-40B4-BE49-F238E27FC236}">
                <a16:creationId xmlns:a16="http://schemas.microsoft.com/office/drawing/2014/main" id="{F53D2D1F-519C-C596-B84E-A4768A05E0DA}"/>
              </a:ext>
            </a:extLst>
          </p:cNvPr>
          <p:cNvSpPr/>
          <p:nvPr/>
        </p:nvSpPr>
        <p:spPr>
          <a:xfrm>
            <a:off x="6494355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4.2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1" name="모서리가 둥근 직사각형 167">
            <a:extLst>
              <a:ext uri="{FF2B5EF4-FFF2-40B4-BE49-F238E27FC236}">
                <a16:creationId xmlns:a16="http://schemas.microsoft.com/office/drawing/2014/main" id="{E8E78379-FC83-F73C-A111-76CCC73C33A8}"/>
              </a:ext>
            </a:extLst>
          </p:cNvPr>
          <p:cNvSpPr/>
          <p:nvPr/>
        </p:nvSpPr>
        <p:spPr>
          <a:xfrm>
            <a:off x="6487768" y="4360971"/>
            <a:ext cx="612000" cy="54661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원</a:t>
            </a:r>
            <a:b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역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85A41FF8-87EA-51AD-2FE5-3C87D3868E38}"/>
              </a:ext>
            </a:extLst>
          </p:cNvPr>
          <p:cNvCxnSpPr>
            <a:cxnSpLocks/>
          </p:cNvCxnSpPr>
          <p:nvPr/>
        </p:nvCxnSpPr>
        <p:spPr>
          <a:xfrm>
            <a:off x="8881096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E7CB36B7-3E14-85E3-F524-32D19A361A69}"/>
              </a:ext>
            </a:extLst>
          </p:cNvPr>
          <p:cNvSpPr/>
          <p:nvPr/>
        </p:nvSpPr>
        <p:spPr>
          <a:xfrm>
            <a:off x="8588923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4" name="모서리가 둥근 직사각형 167">
            <a:extLst>
              <a:ext uri="{FF2B5EF4-FFF2-40B4-BE49-F238E27FC236}">
                <a16:creationId xmlns:a16="http://schemas.microsoft.com/office/drawing/2014/main" id="{5780007A-BE70-D04E-6721-3149A64A5898}"/>
              </a:ext>
            </a:extLst>
          </p:cNvPr>
          <p:cNvSpPr/>
          <p:nvPr/>
        </p:nvSpPr>
        <p:spPr>
          <a:xfrm>
            <a:off x="8593725" y="4360971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엘로지스틱스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에프브이</a:t>
            </a:r>
            <a:endParaRPr kumimoji="0" lang="ko-KR" altLang="en-US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54F25FA0-F7E6-F164-1911-DD4462ED750C}"/>
              </a:ext>
            </a:extLst>
          </p:cNvPr>
          <p:cNvCxnSpPr>
            <a:cxnSpLocks/>
          </p:cNvCxnSpPr>
          <p:nvPr/>
        </p:nvCxnSpPr>
        <p:spPr>
          <a:xfrm>
            <a:off x="8220344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타원 55">
            <a:extLst>
              <a:ext uri="{FF2B5EF4-FFF2-40B4-BE49-F238E27FC236}">
                <a16:creationId xmlns:a16="http://schemas.microsoft.com/office/drawing/2014/main" id="{28B5486D-3545-B49A-1291-BDB046A2BDFA}"/>
              </a:ext>
            </a:extLst>
          </p:cNvPr>
          <p:cNvSpPr/>
          <p:nvPr/>
        </p:nvSpPr>
        <p:spPr>
          <a:xfrm>
            <a:off x="7928171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모서리가 둥근 직사각형 167">
            <a:extLst>
              <a:ext uri="{FF2B5EF4-FFF2-40B4-BE49-F238E27FC236}">
                <a16:creationId xmlns:a16="http://schemas.microsoft.com/office/drawing/2014/main" id="{CDE00C26-7583-BBC6-F4CC-9D49638C8447}"/>
              </a:ext>
            </a:extLst>
          </p:cNvPr>
          <p:cNvSpPr/>
          <p:nvPr/>
        </p:nvSpPr>
        <p:spPr>
          <a:xfrm>
            <a:off x="7921584" y="4360971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강남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8" name="모서리가 둥근 직사각형 167">
            <a:extLst>
              <a:ext uri="{FF2B5EF4-FFF2-40B4-BE49-F238E27FC236}">
                <a16:creationId xmlns:a16="http://schemas.microsoft.com/office/drawing/2014/main" id="{1CDD250D-7754-8053-1C80-37ED8ED3AF95}"/>
              </a:ext>
            </a:extLst>
          </p:cNvPr>
          <p:cNvSpPr/>
          <p:nvPr/>
        </p:nvSpPr>
        <p:spPr>
          <a:xfrm>
            <a:off x="7921584" y="4845206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자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9" name="모서리가 둥근 직사각형 167">
            <a:extLst>
              <a:ext uri="{FF2B5EF4-FFF2-40B4-BE49-F238E27FC236}">
                <a16:creationId xmlns:a16="http://schemas.microsoft.com/office/drawing/2014/main" id="{69ADFCEA-591D-AF45-D5EE-2591B0E97CCF}"/>
              </a:ext>
            </a:extLst>
          </p:cNvPr>
          <p:cNvSpPr/>
          <p:nvPr/>
        </p:nvSpPr>
        <p:spPr>
          <a:xfrm>
            <a:off x="7921584" y="5329441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례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0" name="모서리가 둥근 직사각형 167">
            <a:extLst>
              <a:ext uri="{FF2B5EF4-FFF2-40B4-BE49-F238E27FC236}">
                <a16:creationId xmlns:a16="http://schemas.microsoft.com/office/drawing/2014/main" id="{63F37778-D4C5-F7F2-70D5-FA4C51E6CD08}"/>
              </a:ext>
            </a:extLst>
          </p:cNvPr>
          <p:cNvSpPr/>
          <p:nvPr/>
        </p:nvSpPr>
        <p:spPr>
          <a:xfrm>
            <a:off x="7921584" y="5813676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흥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모서리가 둥근 직사각형 167">
            <a:extLst>
              <a:ext uri="{FF2B5EF4-FFF2-40B4-BE49-F238E27FC236}">
                <a16:creationId xmlns:a16="http://schemas.microsoft.com/office/drawing/2014/main" id="{A8280DA6-485C-320B-9806-298027EB4657}"/>
              </a:ext>
            </a:extLst>
          </p:cNvPr>
          <p:cNvSpPr/>
          <p:nvPr/>
        </p:nvSpPr>
        <p:spPr>
          <a:xfrm>
            <a:off x="8593725" y="4845206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엠플러스</a:t>
            </a:r>
            <a:br>
              <a:rPr kumimoji="0" lang="en-US" altLang="ko-KR" sz="7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피에프브이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곡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2" name="모서리가 둥근 직사각형 167">
            <a:extLst>
              <a:ext uri="{FF2B5EF4-FFF2-40B4-BE49-F238E27FC236}">
                <a16:creationId xmlns:a16="http://schemas.microsoft.com/office/drawing/2014/main" id="{7BB09901-CF96-1B84-F3AD-C90357932246}"/>
              </a:ext>
            </a:extLst>
          </p:cNvPr>
          <p:cNvSpPr/>
          <p:nvPr/>
        </p:nvSpPr>
        <p:spPr>
          <a:xfrm>
            <a:off x="8593725" y="5329441"/>
            <a:ext cx="612000" cy="46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주제이비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물류센터</a:t>
            </a:r>
            <a:endParaRPr kumimoji="0" lang="en-US" altLang="ko-KR" sz="75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7" name="직선 화살표 연결선 66">
            <a:extLst>
              <a:ext uri="{FF2B5EF4-FFF2-40B4-BE49-F238E27FC236}">
                <a16:creationId xmlns:a16="http://schemas.microsoft.com/office/drawing/2014/main" id="{940E47A6-FA1F-7963-687F-BF58F3CBB1D5}"/>
              </a:ext>
            </a:extLst>
          </p:cNvPr>
          <p:cNvCxnSpPr>
            <a:cxnSpLocks/>
          </p:cNvCxnSpPr>
          <p:nvPr/>
        </p:nvCxnSpPr>
        <p:spPr>
          <a:xfrm>
            <a:off x="4954131" y="2887980"/>
            <a:ext cx="0" cy="202168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FD04A42F-DBFD-D0D7-C7CC-0FAB856A567F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4954131" y="2352834"/>
            <a:ext cx="0" cy="292437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1B030492-73A5-0CE1-AE55-47C2F96B08F2}"/>
              </a:ext>
            </a:extLst>
          </p:cNvPr>
          <p:cNvSpPr/>
          <p:nvPr/>
        </p:nvSpPr>
        <p:spPr>
          <a:xfrm>
            <a:off x="4450131" y="1992834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장영신 및 </a:t>
            </a: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관자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ACFBCD15-221C-36BB-C099-BE88B3EBEFAD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EFA8DF6D-3F0B-78E6-9E02-8960A512278A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8" name="모서리가 둥근 직사각형 167">
            <a:extLst>
              <a:ext uri="{FF2B5EF4-FFF2-40B4-BE49-F238E27FC236}">
                <a16:creationId xmlns:a16="http://schemas.microsoft.com/office/drawing/2014/main" id="{EDA26B1B-18A8-CA1A-D650-C10820FA8077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3" name="모서리가 둥근 직사각형 167">
            <a:extLst>
              <a:ext uri="{FF2B5EF4-FFF2-40B4-BE49-F238E27FC236}">
                <a16:creationId xmlns:a16="http://schemas.microsoft.com/office/drawing/2014/main" id="{ACEDCF2C-A700-D411-7FD9-A866435119CC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4" name="모서리가 둥근 직사각형 167">
            <a:extLst>
              <a:ext uri="{FF2B5EF4-FFF2-40B4-BE49-F238E27FC236}">
                <a16:creationId xmlns:a16="http://schemas.microsoft.com/office/drawing/2014/main" id="{65FA5DBC-BECC-6EB7-4D66-E665ACA8EA30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65" name="모서리가 둥근 직사각형 167">
            <a:extLst>
              <a:ext uri="{FF2B5EF4-FFF2-40B4-BE49-F238E27FC236}">
                <a16:creationId xmlns:a16="http://schemas.microsoft.com/office/drawing/2014/main" id="{980447FB-EBAF-0CB6-C081-0C4D97D287BA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6" name="모서리가 둥근 직사각형 167">
            <a:extLst>
              <a:ext uri="{FF2B5EF4-FFF2-40B4-BE49-F238E27FC236}">
                <a16:creationId xmlns:a16="http://schemas.microsoft.com/office/drawing/2014/main" id="{86C5C400-6D9E-28AE-7B32-CECD5AEBF898}"/>
              </a:ext>
            </a:extLst>
          </p:cNvPr>
          <p:cNvSpPr/>
          <p:nvPr/>
        </p:nvSpPr>
        <p:spPr>
          <a:xfrm>
            <a:off x="8293213" y="193336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68" name="모서리가 둥근 직사각형 167">
            <a:extLst>
              <a:ext uri="{FF2B5EF4-FFF2-40B4-BE49-F238E27FC236}">
                <a16:creationId xmlns:a16="http://schemas.microsoft.com/office/drawing/2014/main" id="{C97CE025-5AB0-8409-D7AE-80B71F3FB7FA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모서리가 둥근 직사각형 167">
            <a:extLst>
              <a:ext uri="{FF2B5EF4-FFF2-40B4-BE49-F238E27FC236}">
                <a16:creationId xmlns:a16="http://schemas.microsoft.com/office/drawing/2014/main" id="{702B570A-8023-C8FB-86EB-D2A6F09BC0A9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E95894E5-2E93-A4AF-CC45-21C81EF54365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타원 2">
            <a:extLst>
              <a:ext uri="{FF2B5EF4-FFF2-40B4-BE49-F238E27FC236}">
                <a16:creationId xmlns:a16="http://schemas.microsoft.com/office/drawing/2014/main" id="{62314456-53F9-ECA1-CB45-A3E8EC0B5F2F}"/>
              </a:ext>
            </a:extLst>
          </p:cNvPr>
          <p:cNvSpPr/>
          <p:nvPr/>
        </p:nvSpPr>
        <p:spPr>
          <a:xfrm>
            <a:off x="4874816" y="2343843"/>
            <a:ext cx="612000" cy="180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5.2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036477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산업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용품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장품 제조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력 분야인 화장품이 견실한 성장을 이어갔고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용품이 뒤를 이음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표적인 브랜드로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라시스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2080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치약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트리오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큐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이 있음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기준 전사매출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oY +13.3%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YoY +166.0%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장품 사업부문의 경우 코로나 이후 글로벌 성장에 힘입어 최대 이익 시현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국가 및 채널 다변화로 견조한 성장을 보임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용품 부문의 경우 제품 프리미엄화와 브랜드 포트폴리오 강화 지속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디지털 채널 고성장 및 오프라인 채널 운영의 효율화</a:t>
            </a:r>
            <a:endParaRPr lang="ko-KR" altLang="en-US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반적으로 안정적인 재무구조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참고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AK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는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단기차입금 일부인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조달에 애경산업 주식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6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주를 담보로 설정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애경산업 주식수의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2.2%)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참고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AK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는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S&amp;D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조달한 단기차입금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0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을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급보증하면서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애경산업 주식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25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주를 담보의 일부로 제공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애경산업 주식수의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7.3%)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백만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20950" y="1707465"/>
            <a:ext cx="68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산업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7" name="Picture 2" descr="애경 로고">
            <a:extLst>
              <a:ext uri="{FF2B5EF4-FFF2-40B4-BE49-F238E27FC236}">
                <a16:creationId xmlns:a16="http://schemas.microsoft.com/office/drawing/2014/main" id="{6A03BC52-00C2-2F73-E4B6-7FA36D0F6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948" y="2171359"/>
            <a:ext cx="1561672" cy="79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E36414D-DF9A-C006-C951-C989D5A1D37D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3" name="차트 12">
            <a:extLst>
              <a:ext uri="{FF2B5EF4-FFF2-40B4-BE49-F238E27FC236}">
                <a16:creationId xmlns:a16="http://schemas.microsoft.com/office/drawing/2014/main" id="{84769762-04E5-2F15-3945-8928EA82B934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9507EFD9-9A0A-DB4A-FDF9-7EF72D9B5A1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 dirty="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 dirty="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8437124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유화</a:t>
            </a: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켐텍</a:t>
            </a: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화학 </a:t>
            </a: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합병하여 </a:t>
            </a: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21</a:t>
            </a:r>
            <a:r>
              <a:rPr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출범</a:t>
            </a: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소제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합성수지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화학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/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바이오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&amp;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너지 사업분야에서 석유화학 및 화학물질 제조</a:t>
            </a:r>
            <a:endParaRPr kumimoji="1" lang="en-US" altLang="ko-KR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의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력 사업은 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무수프탈산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PA)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 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소제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당시장에서 공급 능력 기준으로 국내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계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를 차지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음이온 계면활성제 시장과 경화제 시장에서는 국내 점유율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를 차지</a:t>
            </a:r>
            <a:endParaRPr kumimoji="1" lang="ko-KR" altLang="en-US" sz="9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수요 부진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글로벌 공급망 회복 지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자재 가격 상승과 금융시장의 변동성 확대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실적악화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만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복소비에 따른 신차 수요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도체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급난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완화 등 요인이 겹치면서 전기자동차와 에너지저장시스템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ESS)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요가 확대돼 관련 생태계 회복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채비율과 차입금의존도가 업계 최저 수준으로 유지되고 있어 향후 투자를 늘리는 과정에서 재무적 선택지 多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 닝보에 있는 공장에서는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A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소제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생산라인 증설 작업 진행 중이며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베트남법인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나는 호치민 공장 내 계면활성제와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UPR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산라인을 늘리는 중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향후 해외 向 투자↑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20950" y="1707465"/>
            <a:ext cx="756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0242" name="Picture 2" descr="표경원 애경케미칼 대표 &quot; ESG경영 선도기업이 되어야 한다&quot; &lt; 재계 &lt; 뉴스룸 &lt; 기사본문 - S-저널">
            <a:extLst>
              <a:ext uri="{FF2B5EF4-FFF2-40B4-BE49-F238E27FC236}">
                <a16:creationId xmlns:a16="http://schemas.microsoft.com/office/drawing/2014/main" id="{A7EEF887-A463-4382-5DD6-4FDC54C6E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76" y="2345747"/>
            <a:ext cx="1541274" cy="426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64D9F2B-9EA1-2CE2-00DC-ED28907F3BA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6E9867E6-57E5-C155-6CD0-C159C794DC6C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D0F62DC-A88D-DF9D-2897-FD439F9906C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629570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형급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저비용 항공사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LCC)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로나</a:t>
            </a:r>
            <a:r>
              <a:rPr lang="en-US" altLang="ko-KR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 </a:t>
            </a:r>
            <a:r>
              <a:rPr lang="ko-KR" altLang="en-US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태를 겪으며 여객 외 화물분야로도 사업 영역을 확장</a:t>
            </a:r>
            <a:endParaRPr lang="en-US" altLang="ko-KR" sz="900" i="0">
              <a:solidFill>
                <a:srgbClr val="333333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3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면세점과 협력해 기내면세점 운영을 시작</a:t>
            </a: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로나 </a:t>
            </a:r>
            <a:r>
              <a:rPr lang="ko-KR" altLang="en-US" sz="900" b="1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데믹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언으로 여행 수요가 크게 늘면서 제주항공의 영업이익이 급증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해 상반기 제주항공의 영업이익은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53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작년 상반기 영업손실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46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서 흑자 전환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항공기 관련 대규모 투자계획</a:t>
            </a:r>
            <a:b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내년부터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총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4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492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달러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약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22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규모의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B737-8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 도입할 계획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20950" y="1707465"/>
            <a:ext cx="756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1266" name="Picture 2" descr="제주항공, 주당가치 희석·매크로 악화에 목표가↓ - 흥국">
            <a:extLst>
              <a:ext uri="{FF2B5EF4-FFF2-40B4-BE49-F238E27FC236}">
                <a16:creationId xmlns:a16="http://schemas.microsoft.com/office/drawing/2014/main" id="{E6183842-CDD0-0223-220A-568256D02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85" y="2159879"/>
            <a:ext cx="1573328" cy="82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ED62E95-2255-9FA3-2D5A-6F4B54F5CAFC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7423562A-CA9C-4746-D335-E7B43727240A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7BF88BDF-90B6-DE89-2274-3CC6CDA47882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99488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에스앤디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 운영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AK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라자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07</a:t>
            </a:r>
            <a:r>
              <a:rPr lang="ko-KR" altLang="en-US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삼성물산 소속 삼성 플라자를 애경그룹이 인수 후 </a:t>
            </a:r>
            <a:r>
              <a:rPr lang="en-US" altLang="ko-KR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 PLAZA</a:t>
            </a:r>
            <a:r>
              <a:rPr lang="ko-KR" altLang="en-US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상호를 변경하면서 시작</a:t>
            </a:r>
            <a:endParaRPr lang="en-US" altLang="ko-KR" sz="900" i="0">
              <a:solidFill>
                <a:srgbClr val="333333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점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분당 서현점을 시작으로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현재 전국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 지점을 운영 중</a:t>
            </a: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회사가 추구하는 ‘근린형 쇼핑몰’ 사업이 최근 소비 경향과 맞지 않아 수년째 실적 악화 中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종 코로나바이러스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염증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로나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)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파로 명품 구매가 폭등하면서 경쟁사들이 누린 코로나 특수를 보지 못함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채널 시프트 가속화에 따른 고객 이탈과 중저가 패션 상품의 가격 경쟁 심화에 따른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객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비용 증가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말 기준 유동성차입금 및 사채 잔액은 </a:t>
            </a: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,148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규모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유상증자를 단행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총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규모의 자금 수혈을 받음</a:t>
            </a:r>
            <a:b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~4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자회사로부터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0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차입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무보증사채 신용등급을 기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BBB-(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정적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BB+(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안정적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하향 조정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속적인 실적악화와 높은 부채비율로 향후 타 계열사로부터의 자금수혈이 지속될 가능성 高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케이에스앤디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2290" name="Picture 2" descr="어패럴뉴스 - AK에스앤디, 평택역사 흡수합병">
            <a:extLst>
              <a:ext uri="{FF2B5EF4-FFF2-40B4-BE49-F238E27FC236}">
                <a16:creationId xmlns:a16="http://schemas.microsoft.com/office/drawing/2014/main" id="{EDBAE0C4-2947-85EF-F424-99CBC43145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3" r="5939"/>
          <a:stretch/>
        </p:blipFill>
        <p:spPr bwMode="auto">
          <a:xfrm>
            <a:off x="644609" y="2125160"/>
            <a:ext cx="1333501" cy="903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E0BC224-805E-82DB-E593-96712C8EF94A}"/>
              </a:ext>
            </a:extLst>
          </p:cNvPr>
          <p:cNvSpPr txBox="1"/>
          <p:nvPr/>
        </p:nvSpPr>
        <p:spPr>
          <a:xfrm>
            <a:off x="2596231" y="4721098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43244ADF-139D-B84E-7156-8A1756F1B092}"/>
              </a:ext>
            </a:extLst>
          </p:cNvPr>
          <p:cNvCxnSpPr>
            <a:cxnSpLocks/>
          </p:cNvCxnSpPr>
          <p:nvPr/>
        </p:nvCxnSpPr>
        <p:spPr>
          <a:xfrm>
            <a:off x="594360" y="4935152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1FB7B1C5-634A-C487-0E7C-E7F41D13FF41}"/>
              </a:ext>
            </a:extLst>
          </p:cNvPr>
          <p:cNvCxnSpPr/>
          <p:nvPr/>
        </p:nvCxnSpPr>
        <p:spPr>
          <a:xfrm>
            <a:off x="4811209" y="4935152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6F0C099-A484-7315-E217-16CEC81F19B6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8EE7DC1-DC3D-A181-500D-2CB2891E5E78}"/>
              </a:ext>
            </a:extLst>
          </p:cNvPr>
          <p:cNvSpPr txBox="1"/>
          <p:nvPr/>
        </p:nvSpPr>
        <p:spPr>
          <a:xfrm>
            <a:off x="2596231" y="3667293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수년째 실적 악화 中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EB9B4FC-C669-6821-58FE-F75A7B20F0EC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0" name="차트 9">
            <a:extLst>
              <a:ext uri="{FF2B5EF4-FFF2-40B4-BE49-F238E27FC236}">
                <a16:creationId xmlns:a16="http://schemas.microsoft.com/office/drawing/2014/main" id="{2CB98E62-C4D9-D174-4236-129C20DEA0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874153"/>
              </p:ext>
            </p:extLst>
          </p:nvPr>
        </p:nvGraphicFramePr>
        <p:xfrm>
          <a:off x="-1987674" y="-464851"/>
          <a:ext cx="4972960" cy="2994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212517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부영그룹</a:t>
            </a:r>
          </a:p>
        </p:txBody>
      </p:sp>
    </p:spTree>
    <p:extLst>
      <p:ext uri="{BB962C8B-B14F-4D97-AF65-F5344CB8AC3E}">
        <p14:creationId xmlns:p14="http://schemas.microsoft.com/office/powerpoint/2010/main" val="20508171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503453" y="3860794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4492421" y="2606493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4492421" y="279169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4492421" y="297689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4492421" y="316210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4492421" y="334730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6907453" y="260649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6907453" y="279169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6907453" y="297689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6907453" y="316210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6907453" y="334730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9322485" y="260649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9322485" y="279169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9322485" y="297689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9322485" y="316210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9322485" y="334730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2420276" y="256237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양 경기 저하로 자체사업장 분양 지연 및 분양전환 물량 감소로 실적 악화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매출액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,565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으로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년 대비 약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7%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감소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87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의 영업이익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적자 전환하여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-)1,615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기록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4789290" y="255610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실적악화로 이자보상배율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이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보유 미개발용지 多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‘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말 기준 부영주택의 용지 장부금액 약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,628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사 시 용지 매각을 통한 자금 조달 可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7231622" y="256771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영주택 일부 사업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개발 지연 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b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지연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사업장 관련 소송 비용과 추가 투입자금 발생可</a:t>
            </a:r>
            <a:endParaRPr lang="ko-KR" altLang="en-US" sz="900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802A8544-9484-5380-3540-CE30F3BF5E45}"/>
              </a:ext>
            </a:extLst>
          </p:cNvPr>
          <p:cNvCxnSpPr>
            <a:cxnSpLocks/>
          </p:cNvCxnSpPr>
          <p:nvPr/>
        </p:nvCxnSpPr>
        <p:spPr>
          <a:xfrm>
            <a:off x="503453" y="5527383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275EA1F-6801-F806-BFFA-80C00140AD34}"/>
              </a:ext>
            </a:extLst>
          </p:cNvPr>
          <p:cNvSpPr/>
          <p:nvPr/>
        </p:nvSpPr>
        <p:spPr>
          <a:xfrm>
            <a:off x="4492421" y="421337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BD3C0A0-78BF-9660-2646-110A2D2236AA}"/>
              </a:ext>
            </a:extLst>
          </p:cNvPr>
          <p:cNvSpPr/>
          <p:nvPr/>
        </p:nvSpPr>
        <p:spPr>
          <a:xfrm>
            <a:off x="4492421" y="439858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0CDE98FE-2BEB-4660-7CB3-9ED31370F8BF}"/>
              </a:ext>
            </a:extLst>
          </p:cNvPr>
          <p:cNvSpPr/>
          <p:nvPr/>
        </p:nvSpPr>
        <p:spPr>
          <a:xfrm>
            <a:off x="4492421" y="458378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241C604-C7B5-2168-50E9-3E038048CD40}"/>
              </a:ext>
            </a:extLst>
          </p:cNvPr>
          <p:cNvSpPr/>
          <p:nvPr/>
        </p:nvSpPr>
        <p:spPr>
          <a:xfrm>
            <a:off x="4492421" y="476898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43296B8-19DE-8E44-3580-FDDCD7E55786}"/>
              </a:ext>
            </a:extLst>
          </p:cNvPr>
          <p:cNvSpPr/>
          <p:nvPr/>
        </p:nvSpPr>
        <p:spPr>
          <a:xfrm>
            <a:off x="4492421" y="495419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B31A67-3266-FE51-0B6B-D729F723D42B}"/>
              </a:ext>
            </a:extLst>
          </p:cNvPr>
          <p:cNvSpPr/>
          <p:nvPr/>
        </p:nvSpPr>
        <p:spPr>
          <a:xfrm>
            <a:off x="6907453" y="421337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06C5142-CC1D-33A4-FA5F-E5002FC0C2B7}"/>
              </a:ext>
            </a:extLst>
          </p:cNvPr>
          <p:cNvSpPr/>
          <p:nvPr/>
        </p:nvSpPr>
        <p:spPr>
          <a:xfrm>
            <a:off x="6907453" y="439858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6AEE687-2A43-A57F-604D-DD7F4CF82361}"/>
              </a:ext>
            </a:extLst>
          </p:cNvPr>
          <p:cNvSpPr/>
          <p:nvPr/>
        </p:nvSpPr>
        <p:spPr>
          <a:xfrm>
            <a:off x="6907453" y="458378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BBDC857-C900-90A9-729E-76E5B8BDD16B}"/>
              </a:ext>
            </a:extLst>
          </p:cNvPr>
          <p:cNvSpPr/>
          <p:nvPr/>
        </p:nvSpPr>
        <p:spPr>
          <a:xfrm>
            <a:off x="6907453" y="476898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A6D8254-B87D-6C6D-1891-815165E6E20B}"/>
              </a:ext>
            </a:extLst>
          </p:cNvPr>
          <p:cNvSpPr/>
          <p:nvPr/>
        </p:nvSpPr>
        <p:spPr>
          <a:xfrm>
            <a:off x="6907453" y="495419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C06993D1-1136-8386-CC3F-9536C4E192AB}"/>
              </a:ext>
            </a:extLst>
          </p:cNvPr>
          <p:cNvSpPr/>
          <p:nvPr/>
        </p:nvSpPr>
        <p:spPr>
          <a:xfrm>
            <a:off x="9322485" y="421337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98D63A8E-7203-2E64-99B2-391D9F8A0384}"/>
              </a:ext>
            </a:extLst>
          </p:cNvPr>
          <p:cNvSpPr/>
          <p:nvPr/>
        </p:nvSpPr>
        <p:spPr>
          <a:xfrm>
            <a:off x="9322485" y="439858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37F714D8-F335-4F00-EA2B-4C73FF6A0387}"/>
              </a:ext>
            </a:extLst>
          </p:cNvPr>
          <p:cNvSpPr/>
          <p:nvPr/>
        </p:nvSpPr>
        <p:spPr>
          <a:xfrm>
            <a:off x="9322485" y="458378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02111F6D-D202-0571-FACB-79853FC99094}"/>
              </a:ext>
            </a:extLst>
          </p:cNvPr>
          <p:cNvSpPr/>
          <p:nvPr/>
        </p:nvSpPr>
        <p:spPr>
          <a:xfrm>
            <a:off x="9322485" y="476898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23A45F5-6F94-9EDE-B896-1DC13D851CCD}"/>
              </a:ext>
            </a:extLst>
          </p:cNvPr>
          <p:cNvSpPr/>
          <p:nvPr/>
        </p:nvSpPr>
        <p:spPr>
          <a:xfrm>
            <a:off x="9322485" y="4954190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AFDC5F4-9A3F-F664-5E97-2BF278E66218}"/>
              </a:ext>
            </a:extLst>
          </p:cNvPr>
          <p:cNvSpPr txBox="1"/>
          <p:nvPr/>
        </p:nvSpPr>
        <p:spPr>
          <a:xfrm>
            <a:off x="2420276" y="4169263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라남도 여수시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여천시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중심으로 안정적 성장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B68AC89-214F-E51B-A35A-F1B20697054F}"/>
              </a:ext>
            </a:extLst>
          </p:cNvPr>
          <p:cNvSpPr txBox="1"/>
          <p:nvPr/>
        </p:nvSpPr>
        <p:spPr>
          <a:xfrm>
            <a:off x="4789290" y="416298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이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차입부채를 초과하며 재무구조가 안정적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65FD29C-72A5-1CFC-1D83-4810D038E136}"/>
              </a:ext>
            </a:extLst>
          </p:cNvPr>
          <p:cNvSpPr txBox="1"/>
          <p:nvPr/>
        </p:nvSpPr>
        <p:spPr>
          <a:xfrm>
            <a:off x="7231622" y="415095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18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대규모 투자 이후 구체적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지보수성격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APEX</a:t>
            </a:r>
            <a:endParaRPr lang="ko-KR" altLang="en-US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그룹사 매출의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70%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이상을 담당하는 ㈜부영주택의 분양경기 저하로 인한 실적악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보유용지가 많아 유동성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Risk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가 크지는 않으나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포트폴리오 확장을 위한 신사업 투자 가능성 高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2" name="Picture 2" descr="부영주택 부실시공 전국 규모 드러나">
            <a:extLst>
              <a:ext uri="{FF2B5EF4-FFF2-40B4-BE49-F238E27FC236}">
                <a16:creationId xmlns:a16="http://schemas.microsoft.com/office/drawing/2014/main" id="{74D7890F-59D8-6A21-2372-70D5F5AEE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98" y="2826276"/>
            <a:ext cx="1442590" cy="44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2" descr="블라인드 | 대화도시가스 기업정보">
            <a:extLst>
              <a:ext uri="{FF2B5EF4-FFF2-40B4-BE49-F238E27FC236}">
                <a16:creationId xmlns:a16="http://schemas.microsoft.com/office/drawing/2014/main" id="{938ED53E-6142-165B-7F92-CD854C4135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707" b="30792"/>
          <a:stretch/>
        </p:blipFill>
        <p:spPr bwMode="auto">
          <a:xfrm>
            <a:off x="692416" y="4453378"/>
            <a:ext cx="1496406" cy="456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7EFE2C71-BA8D-A456-E4D0-ADC02CF058E7}"/>
              </a:ext>
            </a:extLst>
          </p:cNvPr>
          <p:cNvSpPr/>
          <p:nvPr/>
        </p:nvSpPr>
        <p:spPr>
          <a:xfrm>
            <a:off x="10139447" y="4175050"/>
            <a:ext cx="2143125" cy="2066260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주택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출액 및 실적이 급격하게 감소한 점을 추가적으로 부각시키는 건 어떨까요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 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자보상배율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만이라는 점과 보유용지가 많다는 점을 별도 꼭지로 다는 것 고려</a:t>
            </a:r>
            <a:endParaRPr lang="en-US" altLang="ko-KR" sz="1000" b="1">
              <a:solidFill>
                <a:schemeClr val="bg1"/>
              </a:solidFill>
              <a:highlight>
                <a:srgbClr val="009CFF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영토건 </a:t>
            </a:r>
            <a:r>
              <a:rPr lang="en-US" altLang="ko-KR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1000" b="1">
                <a:solidFill>
                  <a:schemeClr val="bg1"/>
                </a:solidFill>
                <a:highlight>
                  <a:srgbClr val="009CFF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외 고려</a:t>
            </a:r>
            <a:endParaRPr lang="en-US" altLang="ko-KR" sz="1000" b="1">
              <a:solidFill>
                <a:schemeClr val="bg1"/>
              </a:solidFill>
              <a:highlight>
                <a:srgbClr val="009CFF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228600" indent="-228600">
              <a:buAutoNum type="arabicPeriod"/>
            </a:pPr>
            <a:endParaRPr lang="ko-KR" altLang="en-US" sz="10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7ADD22B3-FEA8-5046-9B18-AE75D35A7A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8242776" y="2140633"/>
            <a:ext cx="8135485" cy="308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281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부영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740079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부영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이중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중구 세종대로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길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42 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부영빌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8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,07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-)2,22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토목</a:t>
            </a:r>
            <a:r>
              <a:rPr lang="ko-KR" altLang="en-US" sz="900" b="1" err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〮주택〮건설</a:t>
            </a:r>
            <a:r>
              <a:rPr lang="ko-KR" altLang="en-US" sz="900" b="1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너지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광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레저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주택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991389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부영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6049260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7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0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,4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40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87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,976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/A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0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8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2272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3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549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,227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/A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5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1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2272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3,20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7,36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1,0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4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3,52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4,86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2,9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3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8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3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11.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부영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출판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화도시가스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504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무주덕유산리조트</a:t>
            </a:r>
            <a:endParaRPr lang="ko-KR" altLang="en-US" sz="8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99139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B06FAD05-9F96-5320-B513-7DDFA45FDCA1}"/>
              </a:ext>
            </a:extLst>
          </p:cNvPr>
          <p:cNvSpPr/>
          <p:nvPr/>
        </p:nvSpPr>
        <p:spPr>
          <a:xfrm>
            <a:off x="7299651" y="3065453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</a:t>
            </a:r>
            <a:r>
              <a:rPr lang="en-US" altLang="ko-KR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C</a:t>
            </a:r>
            <a:endParaRPr lang="ko-KR" altLang="en-US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라일보</a:t>
            </a:r>
            <a:endParaRPr lang="ko-KR" altLang="en-US" sz="8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1454134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3BDF7E44-1587-FB8B-FF9B-152A176B0C66}"/>
              </a:ext>
            </a:extLst>
          </p:cNvPr>
          <p:cNvSpPr/>
          <p:nvPr/>
        </p:nvSpPr>
        <p:spPr>
          <a:xfrm>
            <a:off x="8380040" y="3065453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천일보</a:t>
            </a: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A15B33A0-D10C-BAB5-AE83-A70693E94413}"/>
              </a:ext>
            </a:extLst>
          </p:cNvPr>
          <p:cNvSpPr/>
          <p:nvPr/>
        </p:nvSpPr>
        <p:spPr>
          <a:xfrm>
            <a:off x="8380040" y="3529668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천출판사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6808EC94-2F50-692D-4AE5-C5C771956DFA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남광건설산업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48033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kumimoji="0" lang="ko-K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자금조달 필요성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801824F-C316-B19F-D1BE-4F8CC42AEB75}"/>
              </a:ext>
            </a:extLst>
          </p:cNvPr>
          <p:cNvSpPr/>
          <p:nvPr/>
        </p:nvSpPr>
        <p:spPr>
          <a:xfrm>
            <a:off x="488950" y="1724907"/>
            <a:ext cx="826503" cy="4223406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EECD132-FC8F-8787-7870-376871268EA4}"/>
              </a:ext>
            </a:extLst>
          </p:cNvPr>
          <p:cNvSpPr/>
          <p:nvPr/>
        </p:nvSpPr>
        <p:spPr>
          <a:xfrm>
            <a:off x="1379622" y="1724907"/>
            <a:ext cx="5111572" cy="4223406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사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불어난 재무부담에도 투자계획 지키는 롯데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달 루트 확보가 관건 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1)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</a:t>
            </a:r>
            <a:r>
              <a:rPr lang="ko-KR" altLang="en-US" sz="1000" b="1" u="sng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미칼</a:t>
            </a:r>
            <a:r>
              <a:rPr lang="en-US" altLang="ko-KR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유통 등 기존 사업 및 바이오</a:t>
            </a:r>
            <a:r>
              <a:rPr lang="en-US" altLang="ko-KR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 u="sng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r>
              <a:rPr lang="ko-KR" altLang="en-US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에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투자 예정</a:t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그룹은 향후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기존 사업과 신사업에 투자하겠다는 계획 발표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범용 석유화학 경쟁력 강화를 위한 설비투자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산증설과 수소와 전지소재 사업 강화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9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백화점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대규모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복합몰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발과 기존 지점 리뉴얼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마트의 특화매장 확대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8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바이오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10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00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…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사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M&amp;A 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스크 직면한 롯데그룹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에 “전방위 현금 확보” 지시 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3.08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</a:t>
            </a:r>
            <a: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lang="ko-KR" altLang="en-US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</a:t>
            </a:r>
            <a: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,000</a:t>
            </a:r>
            <a:r>
              <a:rPr lang="ko-KR" altLang="en-US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규모 </a:t>
            </a:r>
            <a: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 </a:t>
            </a:r>
            <a:r>
              <a:rPr lang="ko-KR" altLang="en-US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추진하였으나 인수 성과 부진</a:t>
            </a:r>
            <a:b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2021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한샘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2,995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, 2022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진머티리얼즈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2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,000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,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미니스톱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3,134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등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,000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투입</a:t>
            </a:r>
            <a:r>
              <a:rPr lang="ko-KR" altLang="en-US" sz="900" b="1" u="sng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며 공격적으로 몸집을 키웠지만 인수 성과가 부진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건전성 악화</a:t>
            </a:r>
            <a:r>
              <a:rPr lang="en-US" altLang="ko-KR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확보에 총력</a:t>
            </a:r>
            <a:b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</a:t>
            </a:r>
            <a:r>
              <a:rPr lang="en-US" altLang="ko-KR" sz="900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지주를 포함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 </a:t>
            </a:r>
            <a:r>
              <a:rPr lang="ko-KR" altLang="en-US" sz="900" b="0" i="0" err="1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롯데쇼핑 </a:t>
            </a:r>
            <a:r>
              <a:rPr lang="ko-KR" altLang="en-US" sz="900" b="0" i="0" err="1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렌탈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0" i="0" err="1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캐피탈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0" i="0" err="1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리아세븐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의 신용등급이 강등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됐다</a:t>
            </a:r>
            <a:r>
              <a:rPr lang="en-US" altLang="ko-KR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순차입금이 크게 늘며 그룹 재무건전성에도 </a:t>
            </a:r>
            <a:r>
              <a:rPr lang="ko-KR" altLang="en-US" sz="900" b="0" i="0" err="1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빨간불이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켜졌다</a:t>
            </a:r>
            <a:r>
              <a:rPr lang="en-US" altLang="ko-KR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결국 </a:t>
            </a:r>
            <a:r>
              <a:rPr lang="en-US" altLang="ko-KR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멈추고 유동성 확보로 방향을 틀었다</a:t>
            </a:r>
            <a:r>
              <a:rPr lang="en-US" altLang="ko-KR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지주 중심으로 계열사들이 매각 가능한 자산을 추려 현금화에 나섰다</a:t>
            </a:r>
            <a:r>
              <a:rPr lang="en-US" altLang="ko-KR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  <a:r>
              <a:rPr lang="en-US" altLang="ko-KR" sz="10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br>
              <a:rPr lang="en-US" altLang="ko-KR" sz="10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쇼핑</a:t>
            </a:r>
            <a:r>
              <a:rPr lang="ko-KR" altLang="en-US" sz="900" b="1" u="sng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은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 </a:t>
            </a:r>
            <a:r>
              <a:rPr lang="en-US" altLang="ko-KR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 자산 </a:t>
            </a:r>
            <a:r>
              <a:rPr lang="ko-KR" altLang="en-US" sz="900" b="1" u="sng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마트 </a:t>
            </a:r>
            <a:r>
              <a:rPr lang="en-US" altLang="ko-KR" sz="900" b="1" u="sng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900" b="1" u="sng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</a:t>
            </a:r>
            <a:r>
              <a:rPr lang="en-US" altLang="ko-KR" sz="900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u="sng" err="1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웰푸드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제과공장 및 제빵공장 중 일부</a:t>
            </a:r>
            <a:r>
              <a:rPr lang="en-US" altLang="ko-KR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u="sng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홈쇼핑 양평동 본사 건물</a:t>
            </a:r>
            <a:r>
              <a:rPr lang="ko-KR" altLang="en-US" sz="900" b="0" i="0">
                <a:solidFill>
                  <a:srgbClr val="7F7F7F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매각 검토 중으로 계열사 전반에 걸쳐 유동성 확보에 총력을 기울이는 중</a:t>
            </a:r>
            <a:endParaRPr kumimoji="0" lang="en-US" altLang="ko-KR" sz="10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미칼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[</a:t>
            </a:r>
            <a:r>
              <a:rPr kumimoji="0" lang="ko-KR" alt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케미칼은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금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부담 큰데 실적 부진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건전성 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경고등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6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작년 대규모 적자에 차입금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6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늘어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..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해도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.4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투자 예고</a:t>
            </a:r>
            <a:endParaRPr kumimoji="0" lang="en-US" altLang="ko-KR" sz="1000" b="1" i="0" u="sng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en-US" altLang="ko-KR" sz="10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0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전지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소 투자금만 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4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에너지머티리얼즈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조달 플랜은 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7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산 </a:t>
            </a:r>
            <a:r>
              <a:rPr kumimoji="0" lang="en-US" altLang="ko-KR" sz="900" b="1" i="0" u="sng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a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설 위해 향후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4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~ 3.2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규모 투자금 조달 필요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바이오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헬스케어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ko-KR" alt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롯데바이오로직스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30</a:t>
            </a:r>
            <a:r>
              <a:rPr kumimoji="0" lang="ko-KR" alt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달러 투자해 국내 공장 신설</a:t>
            </a:r>
            <a:r>
              <a:rPr kumimoji="0" lang="en-US" altLang="ko-KR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“ (’23.01)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6C0F064-FA0C-166C-8CE5-A9A8074359AF}"/>
              </a:ext>
            </a:extLst>
          </p:cNvPr>
          <p:cNvSpPr/>
          <p:nvPr/>
        </p:nvSpPr>
        <p:spPr>
          <a:xfrm>
            <a:off x="6555363" y="1724907"/>
            <a:ext cx="2861687" cy="4223406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E49E2"/>
              </a:buClr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롯데그룹은 현재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E49E2"/>
              </a:buClr>
              <a:buSzTx/>
              <a:buFont typeface="Wingdings" panose="05000000000000000000" pitchFamily="2" charset="2"/>
              <a:buChar char="u"/>
              <a:tabLst/>
              <a:defRPr/>
            </a:pP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거 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공격적인 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재무부담 증가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수성과 부진</a:t>
            </a:r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E49E2"/>
              </a:buClr>
              <a:buSzTx/>
              <a:buFont typeface="Wingdings" panose="05000000000000000000" pitchFamily="2" charset="2"/>
              <a:buChar char="u"/>
              <a:tabLst/>
              <a:defRPr/>
            </a:pP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석유화학 업계 수익성 하락으로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롯데케미칼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실적 부진 지속에도 </a:t>
            </a:r>
            <a:r>
              <a:rPr kumimoji="0" lang="ko-KR" alt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롯데케미칼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중심 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배터리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사업 확장 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+ 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석유화학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사업 동시에 진행 중</a:t>
            </a:r>
            <a:b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→ </a:t>
            </a:r>
            <a:r>
              <a:rPr kumimoji="0" lang="ko-KR" altLang="en-US" sz="1200" b="0" i="0" u="none" strike="noStrike" kern="120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화학사업 의존도 </a:t>
            </a:r>
            <a:r>
              <a:rPr kumimoji="0" lang="en-US" altLang="ko-KR" sz="1200" b="0" i="0" u="none" strike="noStrike" kern="120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High &amp; </a:t>
            </a:r>
            <a:r>
              <a:rPr kumimoji="0" lang="ko-KR" altLang="en-US" sz="1200" b="1" i="0" u="none" strike="noStrike" kern="120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유동성 </a:t>
            </a:r>
            <a:r>
              <a:rPr kumimoji="0" lang="en-US" altLang="ko-KR" sz="1200" b="1" i="0" u="none" strike="noStrike" kern="120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Ris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E49E2"/>
              </a:buClr>
              <a:buSzTx/>
              <a:buFont typeface="Wingdings" panose="05000000000000000000" pitchFamily="2" charset="2"/>
              <a:buChar char="u"/>
              <a:tabLst/>
              <a:defRPr/>
            </a:pP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간 약 </a:t>
            </a:r>
            <a:r>
              <a:rPr lang="en-US" altLang="ko-KR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</a:t>
            </a: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 규모 기존</a:t>
            </a:r>
            <a:r>
              <a:rPr lang="en-US" altLang="ko-KR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 투자 계획 발표</a:t>
            </a:r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1E49E2"/>
              </a:buClr>
              <a:buSzTx/>
              <a:buFont typeface="Wingdings" panose="05000000000000000000" pitchFamily="2" charset="2"/>
              <a:buChar char="u"/>
              <a:tabLst/>
              <a:defRPr/>
            </a:pP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유동성 확보에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총력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비핵심자산</a:t>
            </a:r>
            <a:r>
              <a:rPr kumimoji="0" lang="en-US" altLang="ko-KR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</a:t>
            </a:r>
            <a:r>
              <a: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매각 추진 중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▶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추가 매물화 가능성 및 자금조달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니터링 필요</a:t>
            </a:r>
            <a:b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→ 롯데쇼핑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롯데웰푸드</a:t>
            </a: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롯데홈쇼핑 등 비핵심자산 매각 진행 중</a:t>
            </a:r>
            <a:b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→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그룹사 내 비핵심자산 추가 매물화 가능성 모니터링 필요</a:t>
            </a:r>
            <a:b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→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자산 매각 외 자금조달 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또한 상존할 것으로 판단</a:t>
            </a:r>
            <a:endParaRPr kumimoji="0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err="1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ko-KR" altLang="en-US" sz="1000">
                        <a:solidFill>
                          <a:schemeClr val="bg1"/>
                        </a:solidFill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pic>
        <p:nvPicPr>
          <p:cNvPr id="3" name="그림 2" descr="그래픽, 폰트, 하트, 상징이(가) 표시된 사진&#10;&#10;자동 생성된 설명">
            <a:extLst>
              <a:ext uri="{FF2B5EF4-FFF2-40B4-BE49-F238E27FC236}">
                <a16:creationId xmlns:a16="http://schemas.microsoft.com/office/drawing/2014/main" id="{5EB11C05-F4A0-2A27-A006-F07D55744C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358" y="3147973"/>
            <a:ext cx="609685" cy="5620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6ED1E5F-2C1C-6297-463C-B2A8363C04C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41539307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BB055F63-211D-0E25-3F9A-0B20CEB86D94}"/>
              </a:ext>
            </a:extLst>
          </p:cNvPr>
          <p:cNvCxnSpPr>
            <a:cxnSpLocks/>
          </p:cNvCxnSpPr>
          <p:nvPr/>
        </p:nvCxnSpPr>
        <p:spPr>
          <a:xfrm>
            <a:off x="2291894" y="2086898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3DFDA3FB-5F1E-02E7-D719-A3C8103AF50D}"/>
              </a:ext>
            </a:extLst>
          </p:cNvPr>
          <p:cNvCxnSpPr>
            <a:cxnSpLocks/>
          </p:cNvCxnSpPr>
          <p:nvPr/>
        </p:nvCxnSpPr>
        <p:spPr>
          <a:xfrm>
            <a:off x="3615020" y="2256074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영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모서리가 둥근 직사각형 167">
            <a:extLst>
              <a:ext uri="{FF2B5EF4-FFF2-40B4-BE49-F238E27FC236}">
                <a16:creationId xmlns:a16="http://schemas.microsoft.com/office/drawing/2014/main" id="{60353AF1-8126-AFEA-4A65-1F31CCBA9F74}"/>
              </a:ext>
            </a:extLst>
          </p:cNvPr>
          <p:cNvSpPr/>
          <p:nvPr/>
        </p:nvSpPr>
        <p:spPr>
          <a:xfrm>
            <a:off x="4450131" y="174082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중근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0" name="직선 화살표 연결선 89">
            <a:extLst>
              <a:ext uri="{FF2B5EF4-FFF2-40B4-BE49-F238E27FC236}">
                <a16:creationId xmlns:a16="http://schemas.microsoft.com/office/drawing/2014/main" id="{43109740-053F-F0DF-7EDB-8F0E2EB2D5C8}"/>
              </a:ext>
            </a:extLst>
          </p:cNvPr>
          <p:cNvCxnSpPr>
            <a:cxnSpLocks/>
          </p:cNvCxnSpPr>
          <p:nvPr/>
        </p:nvCxnSpPr>
        <p:spPr>
          <a:xfrm>
            <a:off x="3932347" y="4878978"/>
            <a:ext cx="0" cy="393071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화살표 연결선 91">
            <a:extLst>
              <a:ext uri="{FF2B5EF4-FFF2-40B4-BE49-F238E27FC236}">
                <a16:creationId xmlns:a16="http://schemas.microsoft.com/office/drawing/2014/main" id="{E935A7BE-4561-C7EF-6D9E-DDE3F3CE7AAB}"/>
              </a:ext>
            </a:extLst>
          </p:cNvPr>
          <p:cNvCxnSpPr>
            <a:cxnSpLocks/>
          </p:cNvCxnSpPr>
          <p:nvPr/>
        </p:nvCxnSpPr>
        <p:spPr>
          <a:xfrm flipH="1">
            <a:off x="2593900" y="4882508"/>
            <a:ext cx="4734107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화살표 연결선 93">
            <a:extLst>
              <a:ext uri="{FF2B5EF4-FFF2-40B4-BE49-F238E27FC236}">
                <a16:creationId xmlns:a16="http://schemas.microsoft.com/office/drawing/2014/main" id="{D1F7E1ED-AF17-9C0B-318B-94DA5E85F7A2}"/>
              </a:ext>
            </a:extLst>
          </p:cNvPr>
          <p:cNvCxnSpPr>
            <a:cxnSpLocks/>
          </p:cNvCxnSpPr>
          <p:nvPr/>
        </p:nvCxnSpPr>
        <p:spPr>
          <a:xfrm>
            <a:off x="4608622" y="488250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직선 화살표 연결선 102">
            <a:extLst>
              <a:ext uri="{FF2B5EF4-FFF2-40B4-BE49-F238E27FC236}">
                <a16:creationId xmlns:a16="http://schemas.microsoft.com/office/drawing/2014/main" id="{F9A52656-31BF-BF6F-7779-1D941FE79412}"/>
              </a:ext>
            </a:extLst>
          </p:cNvPr>
          <p:cNvCxnSpPr>
            <a:cxnSpLocks/>
          </p:cNvCxnSpPr>
          <p:nvPr/>
        </p:nvCxnSpPr>
        <p:spPr>
          <a:xfrm>
            <a:off x="5286045" y="4882154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>
            <a:extLst>
              <a:ext uri="{FF2B5EF4-FFF2-40B4-BE49-F238E27FC236}">
                <a16:creationId xmlns:a16="http://schemas.microsoft.com/office/drawing/2014/main" id="{0694BFDE-6889-98F9-7237-59BE9D42DB1F}"/>
              </a:ext>
            </a:extLst>
          </p:cNvPr>
          <p:cNvCxnSpPr>
            <a:cxnSpLocks/>
          </p:cNvCxnSpPr>
          <p:nvPr/>
        </p:nvCxnSpPr>
        <p:spPr>
          <a:xfrm>
            <a:off x="5963271" y="488250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2011D034-81CA-E006-B084-CD1213088B51}"/>
              </a:ext>
            </a:extLst>
          </p:cNvPr>
          <p:cNvCxnSpPr>
            <a:cxnSpLocks/>
          </p:cNvCxnSpPr>
          <p:nvPr/>
        </p:nvCxnSpPr>
        <p:spPr>
          <a:xfrm>
            <a:off x="6654052" y="488215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07D9DD75-99F6-8DEB-9CD3-38738E363EAE}"/>
              </a:ext>
            </a:extLst>
          </p:cNvPr>
          <p:cNvCxnSpPr>
            <a:cxnSpLocks/>
          </p:cNvCxnSpPr>
          <p:nvPr/>
        </p:nvCxnSpPr>
        <p:spPr>
          <a:xfrm>
            <a:off x="3264186" y="4878978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타원 108">
            <a:extLst>
              <a:ext uri="{FF2B5EF4-FFF2-40B4-BE49-F238E27FC236}">
                <a16:creationId xmlns:a16="http://schemas.microsoft.com/office/drawing/2014/main" id="{EE9F082E-D1BF-454C-1F5B-B657092C6DC5}"/>
              </a:ext>
            </a:extLst>
          </p:cNvPr>
          <p:cNvSpPr/>
          <p:nvPr/>
        </p:nvSpPr>
        <p:spPr>
          <a:xfrm>
            <a:off x="2978643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0" name="타원 109">
            <a:extLst>
              <a:ext uri="{FF2B5EF4-FFF2-40B4-BE49-F238E27FC236}">
                <a16:creationId xmlns:a16="http://schemas.microsoft.com/office/drawing/2014/main" id="{91F36D96-9117-3E5A-A8C2-3A699812BDCB}"/>
              </a:ext>
            </a:extLst>
          </p:cNvPr>
          <p:cNvSpPr/>
          <p:nvPr/>
        </p:nvSpPr>
        <p:spPr>
          <a:xfrm>
            <a:off x="3655948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1" name="타원 110">
            <a:extLst>
              <a:ext uri="{FF2B5EF4-FFF2-40B4-BE49-F238E27FC236}">
                <a16:creationId xmlns:a16="http://schemas.microsoft.com/office/drawing/2014/main" id="{E0B511AB-6277-3EC2-635B-5C667541DBC8}"/>
              </a:ext>
            </a:extLst>
          </p:cNvPr>
          <p:cNvSpPr/>
          <p:nvPr/>
        </p:nvSpPr>
        <p:spPr>
          <a:xfrm>
            <a:off x="4333253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5.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2" name="타원 111">
            <a:extLst>
              <a:ext uri="{FF2B5EF4-FFF2-40B4-BE49-F238E27FC236}">
                <a16:creationId xmlns:a16="http://schemas.microsoft.com/office/drawing/2014/main" id="{B57850F9-364C-DB9C-A765-D10702807614}"/>
              </a:ext>
            </a:extLst>
          </p:cNvPr>
          <p:cNvSpPr/>
          <p:nvPr/>
        </p:nvSpPr>
        <p:spPr>
          <a:xfrm>
            <a:off x="5010558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3" name="타원 112">
            <a:extLst>
              <a:ext uri="{FF2B5EF4-FFF2-40B4-BE49-F238E27FC236}">
                <a16:creationId xmlns:a16="http://schemas.microsoft.com/office/drawing/2014/main" id="{CBEAFC4D-476F-F942-37CA-3AFB6892F6AD}"/>
              </a:ext>
            </a:extLst>
          </p:cNvPr>
          <p:cNvSpPr/>
          <p:nvPr/>
        </p:nvSpPr>
        <p:spPr>
          <a:xfrm>
            <a:off x="5687863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4" name="타원 113">
            <a:extLst>
              <a:ext uri="{FF2B5EF4-FFF2-40B4-BE49-F238E27FC236}">
                <a16:creationId xmlns:a16="http://schemas.microsoft.com/office/drawing/2014/main" id="{5E63055C-8169-80AA-FA50-EA9FD87B753E}"/>
              </a:ext>
            </a:extLst>
          </p:cNvPr>
          <p:cNvSpPr/>
          <p:nvPr/>
        </p:nvSpPr>
        <p:spPr>
          <a:xfrm>
            <a:off x="6365166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8.9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17" name="직선 화살표 연결선 116">
            <a:extLst>
              <a:ext uri="{FF2B5EF4-FFF2-40B4-BE49-F238E27FC236}">
                <a16:creationId xmlns:a16="http://schemas.microsoft.com/office/drawing/2014/main" id="{54F66CF3-8946-27AA-2093-AECFACAC3A93}"/>
              </a:ext>
            </a:extLst>
          </p:cNvPr>
          <p:cNvCxnSpPr>
            <a:cxnSpLocks/>
          </p:cNvCxnSpPr>
          <p:nvPr/>
        </p:nvCxnSpPr>
        <p:spPr>
          <a:xfrm flipH="1">
            <a:off x="2938745" y="2251708"/>
            <a:ext cx="464673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화살표 연결선 117">
            <a:extLst>
              <a:ext uri="{FF2B5EF4-FFF2-40B4-BE49-F238E27FC236}">
                <a16:creationId xmlns:a16="http://schemas.microsoft.com/office/drawing/2014/main" id="{F0952DBC-CD40-8190-FD20-A74D19077045}"/>
              </a:ext>
            </a:extLst>
          </p:cNvPr>
          <p:cNvCxnSpPr>
            <a:cxnSpLocks/>
          </p:cNvCxnSpPr>
          <p:nvPr/>
        </p:nvCxnSpPr>
        <p:spPr>
          <a:xfrm>
            <a:off x="4283181" y="2251707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FC0750F1-C4A7-7DB3-A44B-2280B700DD86}"/>
              </a:ext>
            </a:extLst>
          </p:cNvPr>
          <p:cNvCxnSpPr>
            <a:cxnSpLocks/>
            <a:stCxn id="45" idx="2"/>
          </p:cNvCxnSpPr>
          <p:nvPr/>
        </p:nvCxnSpPr>
        <p:spPr>
          <a:xfrm>
            <a:off x="4954131" y="2100825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23E50151-FDBA-2638-5C5A-73C2FE6876CB}"/>
              </a:ext>
            </a:extLst>
          </p:cNvPr>
          <p:cNvCxnSpPr>
            <a:cxnSpLocks/>
          </p:cNvCxnSpPr>
          <p:nvPr/>
        </p:nvCxnSpPr>
        <p:spPr>
          <a:xfrm>
            <a:off x="5637830" y="2251707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FEA14854-8C22-9931-B518-FE0CCE8B3284}"/>
              </a:ext>
            </a:extLst>
          </p:cNvPr>
          <p:cNvCxnSpPr>
            <a:cxnSpLocks/>
          </p:cNvCxnSpPr>
          <p:nvPr/>
        </p:nvCxnSpPr>
        <p:spPr>
          <a:xfrm>
            <a:off x="6258761" y="2251353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CEBD24FD-D1A9-9A63-0576-34AD47B8EA77}"/>
              </a:ext>
            </a:extLst>
          </p:cNvPr>
          <p:cNvCxnSpPr>
            <a:cxnSpLocks/>
          </p:cNvCxnSpPr>
          <p:nvPr/>
        </p:nvCxnSpPr>
        <p:spPr>
          <a:xfrm>
            <a:off x="2938745" y="2256074"/>
            <a:ext cx="0" cy="1080835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타원 128">
            <a:extLst>
              <a:ext uri="{FF2B5EF4-FFF2-40B4-BE49-F238E27FC236}">
                <a16:creationId xmlns:a16="http://schemas.microsoft.com/office/drawing/2014/main" id="{A665E5AC-6FD0-69E3-74BE-E3F5FADEFD46}"/>
              </a:ext>
            </a:extLst>
          </p:cNvPr>
          <p:cNvSpPr/>
          <p:nvPr/>
        </p:nvSpPr>
        <p:spPr>
          <a:xfrm>
            <a:off x="2652313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2.8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0" name="타원 129">
            <a:extLst>
              <a:ext uri="{FF2B5EF4-FFF2-40B4-BE49-F238E27FC236}">
                <a16:creationId xmlns:a16="http://schemas.microsoft.com/office/drawing/2014/main" id="{635C2300-9A27-F01C-5CF5-9CD3BBDCF86C}"/>
              </a:ext>
            </a:extLst>
          </p:cNvPr>
          <p:cNvSpPr/>
          <p:nvPr/>
        </p:nvSpPr>
        <p:spPr>
          <a:xfrm>
            <a:off x="3315237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5.0%</a:t>
            </a:r>
            <a:endParaRPr lang="ko-KR" altLang="en-US" sz="8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1" name="타원 130">
            <a:extLst>
              <a:ext uri="{FF2B5EF4-FFF2-40B4-BE49-F238E27FC236}">
                <a16:creationId xmlns:a16="http://schemas.microsoft.com/office/drawing/2014/main" id="{3F68F74D-9581-7578-2440-C5A0C58086D2}"/>
              </a:ext>
            </a:extLst>
          </p:cNvPr>
          <p:cNvSpPr/>
          <p:nvPr/>
        </p:nvSpPr>
        <p:spPr>
          <a:xfrm>
            <a:off x="3978161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1.5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2" name="타원 131">
            <a:extLst>
              <a:ext uri="{FF2B5EF4-FFF2-40B4-BE49-F238E27FC236}">
                <a16:creationId xmlns:a16="http://schemas.microsoft.com/office/drawing/2014/main" id="{DE336CAE-8682-DA1C-B10C-9E82A0BC170F}"/>
              </a:ext>
            </a:extLst>
          </p:cNvPr>
          <p:cNvSpPr/>
          <p:nvPr/>
        </p:nvSpPr>
        <p:spPr>
          <a:xfrm>
            <a:off x="4641085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3.8%</a:t>
            </a:r>
            <a:endParaRPr lang="ko-KR" altLang="en-US" sz="8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3" name="타원 132">
            <a:extLst>
              <a:ext uri="{FF2B5EF4-FFF2-40B4-BE49-F238E27FC236}">
                <a16:creationId xmlns:a16="http://schemas.microsoft.com/office/drawing/2014/main" id="{BFAFAF26-1F64-1DB7-0857-865AD2A74241}"/>
              </a:ext>
            </a:extLst>
          </p:cNvPr>
          <p:cNvSpPr/>
          <p:nvPr/>
        </p:nvSpPr>
        <p:spPr>
          <a:xfrm>
            <a:off x="5304009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1439FF82-C36A-212C-7121-CE534D18F5D9}"/>
              </a:ext>
            </a:extLst>
          </p:cNvPr>
          <p:cNvSpPr/>
          <p:nvPr/>
        </p:nvSpPr>
        <p:spPr>
          <a:xfrm>
            <a:off x="5966933" y="236145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1" name="직선 화살표 연결선 140">
            <a:extLst>
              <a:ext uri="{FF2B5EF4-FFF2-40B4-BE49-F238E27FC236}">
                <a16:creationId xmlns:a16="http://schemas.microsoft.com/office/drawing/2014/main" id="{7502AEE2-4FA3-8342-2651-E3186F9B06B4}"/>
              </a:ext>
            </a:extLst>
          </p:cNvPr>
          <p:cNvCxnSpPr>
            <a:cxnSpLocks/>
          </p:cNvCxnSpPr>
          <p:nvPr/>
        </p:nvCxnSpPr>
        <p:spPr>
          <a:xfrm>
            <a:off x="6928470" y="2249261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타원 142">
            <a:extLst>
              <a:ext uri="{FF2B5EF4-FFF2-40B4-BE49-F238E27FC236}">
                <a16:creationId xmlns:a16="http://schemas.microsoft.com/office/drawing/2014/main" id="{CC4A826F-79BA-0B0A-FB41-71C622287EC3}"/>
              </a:ext>
            </a:extLst>
          </p:cNvPr>
          <p:cNvSpPr/>
          <p:nvPr/>
        </p:nvSpPr>
        <p:spPr>
          <a:xfrm>
            <a:off x="6629857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98F07733-B499-4782-9520-83A39C4B26E3}"/>
              </a:ext>
            </a:extLst>
          </p:cNvPr>
          <p:cNvCxnSpPr>
            <a:cxnSpLocks/>
          </p:cNvCxnSpPr>
          <p:nvPr/>
        </p:nvCxnSpPr>
        <p:spPr>
          <a:xfrm>
            <a:off x="7585479" y="2249261"/>
            <a:ext cx="0" cy="108000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타원 4">
            <a:extLst>
              <a:ext uri="{FF2B5EF4-FFF2-40B4-BE49-F238E27FC236}">
                <a16:creationId xmlns:a16="http://schemas.microsoft.com/office/drawing/2014/main" id="{5C305CC9-C47A-6448-3B15-7EBC728D5933}"/>
              </a:ext>
            </a:extLst>
          </p:cNvPr>
          <p:cNvSpPr/>
          <p:nvPr/>
        </p:nvSpPr>
        <p:spPr>
          <a:xfrm>
            <a:off x="7292783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9.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2C2A672D-A193-7813-66D9-4543AADEA07B}"/>
              </a:ext>
            </a:extLst>
          </p:cNvPr>
          <p:cNvSpPr/>
          <p:nvPr/>
        </p:nvSpPr>
        <p:spPr>
          <a:xfrm>
            <a:off x="1986769" y="235936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F1098D5F-9744-C222-06A8-9D1CF51D7FC3}"/>
              </a:ext>
            </a:extLst>
          </p:cNvPr>
          <p:cNvSpPr/>
          <p:nvPr/>
        </p:nvSpPr>
        <p:spPr>
          <a:xfrm>
            <a:off x="1796700" y="173714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중근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b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배우자</a:t>
            </a:r>
          </a:p>
        </p:txBody>
      </p:sp>
      <p:cxnSp>
        <p:nvCxnSpPr>
          <p:cNvPr id="26" name="직선 화살표 연결선 25">
            <a:extLst>
              <a:ext uri="{FF2B5EF4-FFF2-40B4-BE49-F238E27FC236}">
                <a16:creationId xmlns:a16="http://schemas.microsoft.com/office/drawing/2014/main" id="{1EDE456B-BED3-3254-0A75-E69A6A771CAC}"/>
              </a:ext>
            </a:extLst>
          </p:cNvPr>
          <p:cNvCxnSpPr>
            <a:cxnSpLocks/>
          </p:cNvCxnSpPr>
          <p:nvPr/>
        </p:nvCxnSpPr>
        <p:spPr>
          <a:xfrm>
            <a:off x="4953209" y="346651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타원 27">
            <a:extLst>
              <a:ext uri="{FF2B5EF4-FFF2-40B4-BE49-F238E27FC236}">
                <a16:creationId xmlns:a16="http://schemas.microsoft.com/office/drawing/2014/main" id="{BCEC1141-437A-43E9-CE60-C0118E1BAFE3}"/>
              </a:ext>
            </a:extLst>
          </p:cNvPr>
          <p:cNvSpPr/>
          <p:nvPr/>
        </p:nvSpPr>
        <p:spPr>
          <a:xfrm>
            <a:off x="4689612" y="359002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180F6695-2319-EEE3-2147-48508A11BDD8}"/>
              </a:ext>
            </a:extLst>
          </p:cNvPr>
          <p:cNvCxnSpPr>
            <a:cxnSpLocks/>
          </p:cNvCxnSpPr>
          <p:nvPr/>
        </p:nvCxnSpPr>
        <p:spPr>
          <a:xfrm>
            <a:off x="5591102" y="346651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타원 31">
            <a:extLst>
              <a:ext uri="{FF2B5EF4-FFF2-40B4-BE49-F238E27FC236}">
                <a16:creationId xmlns:a16="http://schemas.microsoft.com/office/drawing/2014/main" id="{CA97E42C-C220-8FE4-205B-4D712EAA6245}"/>
              </a:ext>
            </a:extLst>
          </p:cNvPr>
          <p:cNvSpPr/>
          <p:nvPr/>
        </p:nvSpPr>
        <p:spPr>
          <a:xfrm>
            <a:off x="5327505" y="359777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812FAE23-53C4-E65E-D17F-F51542C21F53}"/>
              </a:ext>
            </a:extLst>
          </p:cNvPr>
          <p:cNvCxnSpPr>
            <a:cxnSpLocks/>
          </p:cNvCxnSpPr>
          <p:nvPr/>
        </p:nvCxnSpPr>
        <p:spPr>
          <a:xfrm>
            <a:off x="4292457" y="346651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타원 33">
            <a:extLst>
              <a:ext uri="{FF2B5EF4-FFF2-40B4-BE49-F238E27FC236}">
                <a16:creationId xmlns:a16="http://schemas.microsoft.com/office/drawing/2014/main" id="{1CB1F11A-7D09-3719-B3D2-37722673B5BC}"/>
              </a:ext>
            </a:extLst>
          </p:cNvPr>
          <p:cNvSpPr/>
          <p:nvPr/>
        </p:nvSpPr>
        <p:spPr>
          <a:xfrm>
            <a:off x="4028860" y="359002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E2639C8C-043B-B226-D6EC-0DED8F192C9F}"/>
              </a:ext>
            </a:extLst>
          </p:cNvPr>
          <p:cNvCxnSpPr>
            <a:cxnSpLocks/>
          </p:cNvCxnSpPr>
          <p:nvPr/>
        </p:nvCxnSpPr>
        <p:spPr>
          <a:xfrm>
            <a:off x="7579692" y="348855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타원 37">
            <a:extLst>
              <a:ext uri="{FF2B5EF4-FFF2-40B4-BE49-F238E27FC236}">
                <a16:creationId xmlns:a16="http://schemas.microsoft.com/office/drawing/2014/main" id="{259E8328-522E-CD13-B4ED-3CA4B23DB152}"/>
              </a:ext>
            </a:extLst>
          </p:cNvPr>
          <p:cNvSpPr/>
          <p:nvPr/>
        </p:nvSpPr>
        <p:spPr>
          <a:xfrm>
            <a:off x="7316095" y="359777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3" name="모서리가 둥근 직사각형 167">
            <a:extLst>
              <a:ext uri="{FF2B5EF4-FFF2-40B4-BE49-F238E27FC236}">
                <a16:creationId xmlns:a16="http://schemas.microsoft.com/office/drawing/2014/main" id="{1AB245EC-3030-549E-92F7-80D9D1C7657C}"/>
              </a:ext>
            </a:extLst>
          </p:cNvPr>
          <p:cNvSpPr/>
          <p:nvPr/>
        </p:nvSpPr>
        <p:spPr>
          <a:xfrm>
            <a:off x="2772816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토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</a:t>
            </a:r>
          </a:p>
        </p:txBody>
      </p:sp>
      <p:sp>
        <p:nvSpPr>
          <p:cNvPr id="124" name="모서리가 둥근 직사각형 167">
            <a:extLst>
              <a:ext uri="{FF2B5EF4-FFF2-40B4-BE49-F238E27FC236}">
                <a16:creationId xmlns:a16="http://schemas.microsoft.com/office/drawing/2014/main" id="{89EA38C1-8E29-F929-EFAF-7AD8F1CEB9CE}"/>
              </a:ext>
            </a:extLst>
          </p:cNvPr>
          <p:cNvSpPr/>
          <p:nvPr/>
        </p:nvSpPr>
        <p:spPr>
          <a:xfrm>
            <a:off x="3433777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도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5" name="모서리가 둥근 직사각형 167">
            <a:extLst>
              <a:ext uri="{FF2B5EF4-FFF2-40B4-BE49-F238E27FC236}">
                <a16:creationId xmlns:a16="http://schemas.microsoft.com/office/drawing/2014/main" id="{B1EBA518-DFCF-783C-F369-B08F6301631C}"/>
              </a:ext>
            </a:extLst>
          </p:cNvPr>
          <p:cNvSpPr/>
          <p:nvPr/>
        </p:nvSpPr>
        <p:spPr>
          <a:xfrm>
            <a:off x="2111855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6" name="모서리가 둥근 직사각형 167">
            <a:extLst>
              <a:ext uri="{FF2B5EF4-FFF2-40B4-BE49-F238E27FC236}">
                <a16:creationId xmlns:a16="http://schemas.microsoft.com/office/drawing/2014/main" id="{8EB2BD11-5BA6-0AD8-8CF6-FCF5C716D796}"/>
              </a:ext>
            </a:extLst>
          </p:cNvPr>
          <p:cNvSpPr/>
          <p:nvPr/>
        </p:nvSpPr>
        <p:spPr>
          <a:xfrm>
            <a:off x="4094738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택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</a:t>
            </a:r>
          </a:p>
        </p:txBody>
      </p:sp>
      <p:sp>
        <p:nvSpPr>
          <p:cNvPr id="127" name="모서리가 둥근 직사각형 167">
            <a:extLst>
              <a:ext uri="{FF2B5EF4-FFF2-40B4-BE49-F238E27FC236}">
                <a16:creationId xmlns:a16="http://schemas.microsoft.com/office/drawing/2014/main" id="{73CA2CBA-8232-F44E-5A36-F99D91275CFB}"/>
              </a:ext>
            </a:extLst>
          </p:cNvPr>
          <p:cNvSpPr/>
          <p:nvPr/>
        </p:nvSpPr>
        <p:spPr>
          <a:xfrm>
            <a:off x="4755699" y="2626898"/>
            <a:ext cx="371874" cy="867119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8" name="모서리가 둥근 직사각형 167">
            <a:extLst>
              <a:ext uri="{FF2B5EF4-FFF2-40B4-BE49-F238E27FC236}">
                <a16:creationId xmlns:a16="http://schemas.microsoft.com/office/drawing/2014/main" id="{AC12C238-0C23-B14A-34B1-462BF7707D4D}"/>
              </a:ext>
            </a:extLst>
          </p:cNvPr>
          <p:cNvSpPr/>
          <p:nvPr/>
        </p:nvSpPr>
        <p:spPr>
          <a:xfrm>
            <a:off x="5416660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남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</a:t>
            </a:r>
          </a:p>
        </p:txBody>
      </p:sp>
      <p:sp>
        <p:nvSpPr>
          <p:cNvPr id="142" name="모서리가 둥근 직사각형 167">
            <a:extLst>
              <a:ext uri="{FF2B5EF4-FFF2-40B4-BE49-F238E27FC236}">
                <a16:creationId xmlns:a16="http://schemas.microsoft.com/office/drawing/2014/main" id="{64F710CE-5046-AFEB-9CA3-166F2DA44E2F}"/>
              </a:ext>
            </a:extLst>
          </p:cNvPr>
          <p:cNvSpPr/>
          <p:nvPr/>
        </p:nvSpPr>
        <p:spPr>
          <a:xfrm>
            <a:off x="6077621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남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양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" name="모서리가 둥근 직사각형 167">
            <a:extLst>
              <a:ext uri="{FF2B5EF4-FFF2-40B4-BE49-F238E27FC236}">
                <a16:creationId xmlns:a16="http://schemas.microsoft.com/office/drawing/2014/main" id="{012B3AFA-9989-90E6-0C38-37E0B2FC9044}"/>
              </a:ext>
            </a:extLst>
          </p:cNvPr>
          <p:cNvSpPr/>
          <p:nvPr/>
        </p:nvSpPr>
        <p:spPr>
          <a:xfrm>
            <a:off x="6738582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강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택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" name="모서리가 둥근 직사각형 167">
            <a:extLst>
              <a:ext uri="{FF2B5EF4-FFF2-40B4-BE49-F238E27FC236}">
                <a16:creationId xmlns:a16="http://schemas.microsoft.com/office/drawing/2014/main" id="{C9651EDF-A17C-D5B4-9EC8-147EDA4285FF}"/>
              </a:ext>
            </a:extLst>
          </p:cNvPr>
          <p:cNvSpPr/>
          <p:nvPr/>
        </p:nvSpPr>
        <p:spPr>
          <a:xfrm>
            <a:off x="7399542" y="26268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라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</a:t>
            </a:r>
          </a:p>
        </p:txBody>
      </p:sp>
      <p:cxnSp>
        <p:nvCxnSpPr>
          <p:cNvPr id="44" name="직선 화살표 연결선 43">
            <a:extLst>
              <a:ext uri="{FF2B5EF4-FFF2-40B4-BE49-F238E27FC236}">
                <a16:creationId xmlns:a16="http://schemas.microsoft.com/office/drawing/2014/main" id="{C772D74C-1ADD-C7B0-6C27-94814C728D1E}"/>
              </a:ext>
            </a:extLst>
          </p:cNvPr>
          <p:cNvCxnSpPr>
            <a:cxnSpLocks/>
          </p:cNvCxnSpPr>
          <p:nvPr/>
        </p:nvCxnSpPr>
        <p:spPr>
          <a:xfrm>
            <a:off x="7328007" y="488215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타원 47">
            <a:extLst>
              <a:ext uri="{FF2B5EF4-FFF2-40B4-BE49-F238E27FC236}">
                <a16:creationId xmlns:a16="http://schemas.microsoft.com/office/drawing/2014/main" id="{687B7024-931A-FD02-D873-4CC3D4933F0A}"/>
              </a:ext>
            </a:extLst>
          </p:cNvPr>
          <p:cNvSpPr/>
          <p:nvPr/>
        </p:nvSpPr>
        <p:spPr>
          <a:xfrm>
            <a:off x="7039121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9.9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E60AD5C6-0BC1-2780-3E9C-9D0576CD2C8D}"/>
              </a:ext>
            </a:extLst>
          </p:cNvPr>
          <p:cNvCxnSpPr>
            <a:cxnSpLocks/>
          </p:cNvCxnSpPr>
          <p:nvPr/>
        </p:nvCxnSpPr>
        <p:spPr>
          <a:xfrm>
            <a:off x="2593900" y="488215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타원 51">
            <a:extLst>
              <a:ext uri="{FF2B5EF4-FFF2-40B4-BE49-F238E27FC236}">
                <a16:creationId xmlns:a16="http://schemas.microsoft.com/office/drawing/2014/main" id="{BFEA7A17-7554-B292-1DEE-C13941B38102}"/>
              </a:ext>
            </a:extLst>
          </p:cNvPr>
          <p:cNvSpPr/>
          <p:nvPr/>
        </p:nvSpPr>
        <p:spPr>
          <a:xfrm>
            <a:off x="2305014" y="499225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6%</a:t>
            </a:r>
            <a:endParaRPr lang="ko-KR" altLang="en-US" sz="800" err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E0D86BE8-630C-835C-9E0C-2A0AD18CCBDE}"/>
              </a:ext>
            </a:extLst>
          </p:cNvPr>
          <p:cNvSpPr/>
          <p:nvPr/>
        </p:nvSpPr>
        <p:spPr>
          <a:xfrm>
            <a:off x="3752202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B273A0D0-3BB2-EEF2-C901-98E71F85CD4C}"/>
              </a:ext>
            </a:extLst>
          </p:cNvPr>
          <p:cNvSpPr/>
          <p:nvPr/>
        </p:nvSpPr>
        <p:spPr>
          <a:xfrm>
            <a:off x="4426155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덕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트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7" name="모서리가 둥근 직사각형 167">
            <a:extLst>
              <a:ext uri="{FF2B5EF4-FFF2-40B4-BE49-F238E27FC236}">
                <a16:creationId xmlns:a16="http://schemas.microsoft.com/office/drawing/2014/main" id="{B5FCC2C1-3A4B-FF4D-D30C-1D4B35E5EA19}"/>
              </a:ext>
            </a:extLst>
          </p:cNvPr>
          <p:cNvSpPr/>
          <p:nvPr/>
        </p:nvSpPr>
        <p:spPr>
          <a:xfrm>
            <a:off x="3078249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경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8" name="모서리가 둥근 직사각형 167">
            <a:extLst>
              <a:ext uri="{FF2B5EF4-FFF2-40B4-BE49-F238E27FC236}">
                <a16:creationId xmlns:a16="http://schemas.microsoft.com/office/drawing/2014/main" id="{CBF06004-9F89-B1BC-0C1D-D7565DE2F51B}"/>
              </a:ext>
            </a:extLst>
          </p:cNvPr>
          <p:cNvSpPr/>
          <p:nvPr/>
        </p:nvSpPr>
        <p:spPr>
          <a:xfrm>
            <a:off x="5100108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31D70668-EBFD-88A8-DB6D-30D557314C24}"/>
              </a:ext>
            </a:extLst>
          </p:cNvPr>
          <p:cNvSpPr/>
          <p:nvPr/>
        </p:nvSpPr>
        <p:spPr>
          <a:xfrm>
            <a:off x="5774061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트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0" name="모서리가 둥근 직사각형 167">
            <a:extLst>
              <a:ext uri="{FF2B5EF4-FFF2-40B4-BE49-F238E27FC236}">
                <a16:creationId xmlns:a16="http://schemas.microsoft.com/office/drawing/2014/main" id="{DC8B4FC4-AED0-1AE6-B8C0-F4BAEE2C6F48}"/>
              </a:ext>
            </a:extLst>
          </p:cNvPr>
          <p:cNvSpPr/>
          <p:nvPr/>
        </p:nvSpPr>
        <p:spPr>
          <a:xfrm>
            <a:off x="6448016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더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래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식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7" name="모서리가 둥근 직사각형 167">
            <a:extLst>
              <a:ext uri="{FF2B5EF4-FFF2-40B4-BE49-F238E27FC236}">
                <a16:creationId xmlns:a16="http://schemas.microsoft.com/office/drawing/2014/main" id="{00C62DC0-3E9A-5472-ED6D-6ED52A800F70}"/>
              </a:ext>
            </a:extLst>
          </p:cNvPr>
          <p:cNvSpPr/>
          <p:nvPr/>
        </p:nvSpPr>
        <p:spPr>
          <a:xfrm>
            <a:off x="7121971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</a:t>
            </a:r>
          </a:p>
        </p:txBody>
      </p:sp>
      <p:sp>
        <p:nvSpPr>
          <p:cNvPr id="50" name="모서리가 둥근 직사각형 167">
            <a:extLst>
              <a:ext uri="{FF2B5EF4-FFF2-40B4-BE49-F238E27FC236}">
                <a16:creationId xmlns:a16="http://schemas.microsoft.com/office/drawing/2014/main" id="{D0B619ED-3495-4F6F-2704-9F30385C26AB}"/>
              </a:ext>
            </a:extLst>
          </p:cNvPr>
          <p:cNvSpPr/>
          <p:nvPr/>
        </p:nvSpPr>
        <p:spPr>
          <a:xfrm>
            <a:off x="2387864" y="5226233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종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합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28F4E796-08F7-0F04-8686-4BF01FC405FC}"/>
              </a:ext>
            </a:extLst>
          </p:cNvPr>
          <p:cNvCxnSpPr>
            <a:cxnSpLocks/>
          </p:cNvCxnSpPr>
          <p:nvPr/>
        </p:nvCxnSpPr>
        <p:spPr>
          <a:xfrm>
            <a:off x="7493845" y="5646941"/>
            <a:ext cx="369674" cy="0"/>
          </a:xfrm>
          <a:prstGeom prst="straightConnector1">
            <a:avLst/>
          </a:prstGeom>
          <a:ln>
            <a:solidFill>
              <a:srgbClr val="649CFF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모서리가 둥근 직사각형 167">
            <a:extLst>
              <a:ext uri="{FF2B5EF4-FFF2-40B4-BE49-F238E27FC236}">
                <a16:creationId xmlns:a16="http://schemas.microsoft.com/office/drawing/2014/main" id="{3223BF52-B921-9B1D-0AE5-149E1E4395FF}"/>
              </a:ext>
            </a:extLst>
          </p:cNvPr>
          <p:cNvSpPr/>
          <p:nvPr/>
        </p:nvSpPr>
        <p:spPr>
          <a:xfrm>
            <a:off x="7902959" y="5229681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출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타원 78">
            <a:extLst>
              <a:ext uri="{FF2B5EF4-FFF2-40B4-BE49-F238E27FC236}">
                <a16:creationId xmlns:a16="http://schemas.microsoft.com/office/drawing/2014/main" id="{A9E1B75C-C130-05AB-D28C-7BF7036BAE17}"/>
              </a:ext>
            </a:extLst>
          </p:cNvPr>
          <p:cNvSpPr/>
          <p:nvPr/>
        </p:nvSpPr>
        <p:spPr>
          <a:xfrm>
            <a:off x="7383425" y="5478167"/>
            <a:ext cx="576000" cy="144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2" name="직선 화살표 연결선 81">
            <a:extLst>
              <a:ext uri="{FF2B5EF4-FFF2-40B4-BE49-F238E27FC236}">
                <a16:creationId xmlns:a16="http://schemas.microsoft.com/office/drawing/2014/main" id="{F71F9336-95E7-B584-E780-73D588E7211C}"/>
              </a:ext>
            </a:extLst>
          </p:cNvPr>
          <p:cNvCxnSpPr>
            <a:cxnSpLocks/>
          </p:cNvCxnSpPr>
          <p:nvPr/>
        </p:nvCxnSpPr>
        <p:spPr>
          <a:xfrm>
            <a:off x="4953000" y="4698978"/>
            <a:ext cx="0" cy="180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모서리가 둥근 직사각형 167">
            <a:extLst>
              <a:ext uri="{FF2B5EF4-FFF2-40B4-BE49-F238E27FC236}">
                <a16:creationId xmlns:a16="http://schemas.microsoft.com/office/drawing/2014/main" id="{A034E923-FB8F-1AFE-5E97-A10493ED8758}"/>
              </a:ext>
            </a:extLst>
          </p:cNvPr>
          <p:cNvSpPr/>
          <p:nvPr/>
        </p:nvSpPr>
        <p:spPr>
          <a:xfrm>
            <a:off x="7947756" y="192336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8F04C141-A071-D78E-C591-A29B0E8266BF}"/>
              </a:ext>
            </a:extLst>
          </p:cNvPr>
          <p:cNvSpPr/>
          <p:nvPr/>
        </p:nvSpPr>
        <p:spPr>
          <a:xfrm>
            <a:off x="7947756" y="217049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A9963014-8393-5D82-8EFB-DF3436B000C6}"/>
              </a:ext>
            </a:extLst>
          </p:cNvPr>
          <p:cNvSpPr/>
          <p:nvPr/>
        </p:nvSpPr>
        <p:spPr>
          <a:xfrm>
            <a:off x="7947756" y="242524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" name="모서리가 둥근 직사각형 167">
            <a:extLst>
              <a:ext uri="{FF2B5EF4-FFF2-40B4-BE49-F238E27FC236}">
                <a16:creationId xmlns:a16="http://schemas.microsoft.com/office/drawing/2014/main" id="{70AF5BB5-C851-4668-CD37-687787370247}"/>
              </a:ext>
            </a:extLst>
          </p:cNvPr>
          <p:cNvSpPr/>
          <p:nvPr/>
        </p:nvSpPr>
        <p:spPr>
          <a:xfrm>
            <a:off x="7894416" y="16941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20" name="모서리가 둥근 직사각형 167">
            <a:extLst>
              <a:ext uri="{FF2B5EF4-FFF2-40B4-BE49-F238E27FC236}">
                <a16:creationId xmlns:a16="http://schemas.microsoft.com/office/drawing/2014/main" id="{B64D83BF-6D5E-D792-942D-82BCA3AA208F}"/>
              </a:ext>
            </a:extLst>
          </p:cNvPr>
          <p:cNvSpPr/>
          <p:nvPr/>
        </p:nvSpPr>
        <p:spPr>
          <a:xfrm>
            <a:off x="7947756" y="268562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1" name="모서리가 둥근 직사각형 167">
            <a:extLst>
              <a:ext uri="{FF2B5EF4-FFF2-40B4-BE49-F238E27FC236}">
                <a16:creationId xmlns:a16="http://schemas.microsoft.com/office/drawing/2014/main" id="{5BEA0C66-F973-71FB-852A-78A00B4D6605}"/>
              </a:ext>
            </a:extLst>
          </p:cNvPr>
          <p:cNvSpPr/>
          <p:nvPr/>
        </p:nvSpPr>
        <p:spPr>
          <a:xfrm>
            <a:off x="8312213" y="191050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803A1DAC-9987-50D8-DE68-9A905DA12CAD}"/>
              </a:ext>
            </a:extLst>
          </p:cNvPr>
          <p:cNvSpPr/>
          <p:nvPr/>
        </p:nvSpPr>
        <p:spPr>
          <a:xfrm>
            <a:off x="8312213" y="216974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모서리가 둥근 직사각형 167">
            <a:extLst>
              <a:ext uri="{FF2B5EF4-FFF2-40B4-BE49-F238E27FC236}">
                <a16:creationId xmlns:a16="http://schemas.microsoft.com/office/drawing/2014/main" id="{47DF64E8-F282-B910-7771-5E242E992A35}"/>
              </a:ext>
            </a:extLst>
          </p:cNvPr>
          <p:cNvSpPr/>
          <p:nvPr/>
        </p:nvSpPr>
        <p:spPr>
          <a:xfrm>
            <a:off x="8312212" y="242107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" name="모서리가 둥근 직사각형 167">
            <a:extLst>
              <a:ext uri="{FF2B5EF4-FFF2-40B4-BE49-F238E27FC236}">
                <a16:creationId xmlns:a16="http://schemas.microsoft.com/office/drawing/2014/main" id="{82CE6E6A-B118-0005-0C44-58CA0D02EBBA}"/>
              </a:ext>
            </a:extLst>
          </p:cNvPr>
          <p:cNvSpPr/>
          <p:nvPr/>
        </p:nvSpPr>
        <p:spPr>
          <a:xfrm>
            <a:off x="8312213" y="268142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</a:p>
        </p:txBody>
      </p:sp>
      <p:sp>
        <p:nvSpPr>
          <p:cNvPr id="29" name="모서리가 둥근 직사각형 167">
            <a:extLst>
              <a:ext uri="{FF2B5EF4-FFF2-40B4-BE49-F238E27FC236}">
                <a16:creationId xmlns:a16="http://schemas.microsoft.com/office/drawing/2014/main" id="{C0FE8976-8ACA-ABAD-CCF3-25CC171F817A}"/>
              </a:ext>
            </a:extLst>
          </p:cNvPr>
          <p:cNvSpPr/>
          <p:nvPr/>
        </p:nvSpPr>
        <p:spPr>
          <a:xfrm>
            <a:off x="4762135" y="3877467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택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5" name="모서리가 둥근 직사각형 167">
            <a:extLst>
              <a:ext uri="{FF2B5EF4-FFF2-40B4-BE49-F238E27FC236}">
                <a16:creationId xmlns:a16="http://schemas.microsoft.com/office/drawing/2014/main" id="{44951348-EBE4-6D88-EF3A-81A3FA20C6B2}"/>
              </a:ext>
            </a:extLst>
          </p:cNvPr>
          <p:cNvSpPr/>
          <p:nvPr/>
        </p:nvSpPr>
        <p:spPr>
          <a:xfrm>
            <a:off x="4130796" y="387113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</a:t>
            </a:r>
            <a:endParaRPr lang="en-US" altLang="ko-KR" sz="9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65000"/>
                    <a:lumOff val="3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</a:t>
            </a:r>
            <a:endParaRPr lang="en-US" altLang="ko-KR" sz="900" b="1">
              <a:solidFill>
                <a:schemeClr val="tx1">
                  <a:lumMod val="65000"/>
                  <a:lumOff val="3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택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6" name="모서리가 둥근 직사각형 167">
            <a:extLst>
              <a:ext uri="{FF2B5EF4-FFF2-40B4-BE49-F238E27FC236}">
                <a16:creationId xmlns:a16="http://schemas.microsoft.com/office/drawing/2014/main" id="{C2B1C352-313B-84C6-A975-23E096F25D5C}"/>
              </a:ext>
            </a:extLst>
          </p:cNvPr>
          <p:cNvSpPr/>
          <p:nvPr/>
        </p:nvSpPr>
        <p:spPr>
          <a:xfrm>
            <a:off x="5410952" y="387875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</a:t>
            </a:r>
          </a:p>
        </p:txBody>
      </p:sp>
      <p:sp>
        <p:nvSpPr>
          <p:cNvPr id="39" name="모서리가 둥근 직사각형 167">
            <a:extLst>
              <a:ext uri="{FF2B5EF4-FFF2-40B4-BE49-F238E27FC236}">
                <a16:creationId xmlns:a16="http://schemas.microsoft.com/office/drawing/2014/main" id="{040055A7-D470-19D6-B144-57922D546FD8}"/>
              </a:ext>
            </a:extLst>
          </p:cNvPr>
          <p:cNvSpPr/>
          <p:nvPr/>
        </p:nvSpPr>
        <p:spPr>
          <a:xfrm>
            <a:off x="7399542" y="3900798"/>
            <a:ext cx="371874" cy="86711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12B007AB-D00F-E58F-8684-25B8057469BD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059517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1085771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2655292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1C302E7-CEAA-D6D3-CD63-F148C2B630CC}"/>
              </a:ext>
            </a:extLst>
          </p:cNvPr>
          <p:cNvSpPr txBox="1"/>
          <p:nvPr/>
        </p:nvSpPr>
        <p:spPr>
          <a:xfrm>
            <a:off x="2596231" y="5074457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주택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건설업과 임대업영위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급중인 단지 중 대부분이 공공임대</a:t>
            </a:r>
            <a:r>
              <a:rPr lang="en-US" altLang="ko-KR" sz="900" b="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민간임대 주택</a:t>
            </a:r>
            <a:r>
              <a:rPr lang="ko-KR" altLang="en-US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며 대부분 지방에 위치</a:t>
            </a:r>
            <a:endParaRPr lang="en-US" altLang="ko-KR" sz="900" dirty="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근 </a:t>
            </a:r>
            <a:r>
              <a:rPr kumimoji="1" lang="en-US" altLang="ko-KR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kumimoji="1" lang="ko-KR" altLang="en-US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매출에서 분양수익이 차지하는 비중이 </a:t>
            </a:r>
            <a:r>
              <a:rPr kumimoji="1" lang="en-US" altLang="ko-KR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7%</a:t>
            </a:r>
            <a:endParaRPr kumimoji="1" lang="ko-KR" altLang="en-US" sz="900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b="1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경기 저하로 자체사업장 분양이 지연되고 분양전환 물량이 감소하면서 실적 악화 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우호적 외부환경으로 인해 분양전환 수요가 더욱 위축되는 동시에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부분 지방에 위치한 자체분양 사업장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흡한 주택브랜드 인지도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장 분양 및 착공 지연 등 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인이 겹쳐 부진한 영업실적 지속</a:t>
            </a:r>
            <a:endParaRPr kumimoji="1" lang="ko-KR" altLang="en-US" sz="900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주택 일부 사업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 중문관광단지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서울 뚝섬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구역용지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천송도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 지연 </a:t>
            </a:r>
            <a:b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진행 지연 사업장 관련 소송 비용과 추가적인 투입자금 발생可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8A38C010-FE00-0BDA-8D12-FA3311244974}"/>
              </a:ext>
            </a:extLst>
          </p:cNvPr>
          <p:cNvCxnSpPr>
            <a:cxnSpLocks/>
          </p:cNvCxnSpPr>
          <p:nvPr/>
        </p:nvCxnSpPr>
        <p:spPr>
          <a:xfrm>
            <a:off x="594360" y="5298595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39BF0244-74F3-9B9A-3ABF-C3FB42753F2A}"/>
              </a:ext>
            </a:extLst>
          </p:cNvPr>
          <p:cNvCxnSpPr/>
          <p:nvPr/>
        </p:nvCxnSpPr>
        <p:spPr>
          <a:xfrm>
            <a:off x="4811209" y="5288511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20950" y="1707465"/>
            <a:ext cx="68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주택</a:t>
            </a:r>
          </a:p>
        </p:txBody>
      </p:sp>
      <p:pic>
        <p:nvPicPr>
          <p:cNvPr id="5122" name="Picture 2" descr="부영주택 부실시공 전국 규모 드러나">
            <a:extLst>
              <a:ext uri="{FF2B5EF4-FFF2-40B4-BE49-F238E27FC236}">
                <a16:creationId xmlns:a16="http://schemas.microsoft.com/office/drawing/2014/main" id="{F141BCD2-14C8-6602-AEF0-695A434DA4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08" y="2364315"/>
            <a:ext cx="1442590" cy="44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7F04427-5835-BFD7-B4B6-7C23D21F551B}"/>
              </a:ext>
            </a:extLst>
          </p:cNvPr>
          <p:cNvSpPr txBox="1"/>
          <p:nvPr/>
        </p:nvSpPr>
        <p:spPr>
          <a:xfrm>
            <a:off x="3264634" y="3778187"/>
            <a:ext cx="1823916" cy="3542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ct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주택경기 침체 직격탄</a:t>
            </a:r>
            <a:b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실적악화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E13A-5786-F1CC-2E2F-E8209704EA6E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A079DA-D7CE-C763-6922-A522387549B8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16ED50D5-3351-48D5-8D42-D8C45109BD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0918809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BABFF731-9B48-5BAB-07D5-16376A7673E6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5219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C869A751-57DD-78E7-78BF-C1AC5170C8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8915484"/>
              </p:ext>
            </p:extLst>
          </p:nvPr>
        </p:nvGraphicFramePr>
        <p:xfrm>
          <a:off x="7369699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7EB55865-ECAA-1876-69D6-9BF4DDE471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5723544"/>
              </p:ext>
            </p:extLst>
          </p:nvPr>
        </p:nvGraphicFramePr>
        <p:xfrm>
          <a:off x="5154333" y="3588722"/>
          <a:ext cx="26992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0314969"/>
              </p:ext>
            </p:extLst>
          </p:nvPr>
        </p:nvGraphicFramePr>
        <p:xfrm>
          <a:off x="2780143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EC80FB1E-C0D5-8D8F-D941-CC5F0FF8539E}"/>
              </a:ext>
            </a:extLst>
          </p:cNvPr>
          <p:cNvSpPr txBox="1"/>
          <p:nvPr/>
        </p:nvSpPr>
        <p:spPr>
          <a:xfrm>
            <a:off x="5070218" y="3554410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3308695"/>
              </p:ext>
            </p:extLst>
          </p:nvPr>
        </p:nvGraphicFramePr>
        <p:xfrm>
          <a:off x="373826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화도시가스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영토건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6" y="1440000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12161"/>
            <a:ext cx="2771480" cy="151069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료용 가스 제조 및 배관공급업 영위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라남도 여수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천시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및 여천군의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2,731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대에 도시가스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LNG)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급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50" y="1813560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2896472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2868356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856403" y="1707465"/>
            <a:ext cx="86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화도시가스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D8A9C-D43B-DCC9-8988-922CC07F1451}"/>
              </a:ext>
            </a:extLst>
          </p:cNvPr>
          <p:cNvSpPr txBox="1"/>
          <p:nvPr/>
        </p:nvSpPr>
        <p:spPr>
          <a:xfrm>
            <a:off x="1528087" y="4659876"/>
            <a:ext cx="1823916" cy="3542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ct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수익성개선으로 </a:t>
            </a:r>
            <a:br>
              <a:rPr lang="en-US" altLang="ko-KR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ko-KR" altLang="en-US" sz="850" b="1" i="1" kern="0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상승</a:t>
            </a:r>
          </a:p>
        </p:txBody>
      </p:sp>
      <p:graphicFrame>
        <p:nvGraphicFramePr>
          <p:cNvPr id="13" name="차트 12">
            <a:extLst>
              <a:ext uri="{FF2B5EF4-FFF2-40B4-BE49-F238E27FC236}">
                <a16:creationId xmlns:a16="http://schemas.microsoft.com/office/drawing/2014/main" id="{F8FD4597-1974-977E-C285-836C782C98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9361551"/>
              </p:ext>
            </p:extLst>
          </p:nvPr>
        </p:nvGraphicFramePr>
        <p:xfrm>
          <a:off x="4963382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44D7F85-20B7-CE46-1100-10D6F97426E2}"/>
              </a:ext>
            </a:extLst>
          </p:cNvPr>
          <p:cNvSpPr txBox="1"/>
          <p:nvPr/>
        </p:nvSpPr>
        <p:spPr>
          <a:xfrm>
            <a:off x="5078505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이익률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C59689-1555-105B-AC6C-30EC59D0FCFE}"/>
              </a:ext>
            </a:extLst>
          </p:cNvPr>
          <p:cNvSpPr txBox="1"/>
          <p:nvPr/>
        </p:nvSpPr>
        <p:spPr>
          <a:xfrm>
            <a:off x="5079709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137F2CD-CF4A-3814-D33B-BDD03D62E37A}"/>
              </a:ext>
            </a:extLst>
          </p:cNvPr>
          <p:cNvSpPr txBox="1"/>
          <p:nvPr/>
        </p:nvSpPr>
        <p:spPr>
          <a:xfrm>
            <a:off x="7486028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2547FDB-CAB1-0981-5FE1-A1FBD7B54421}"/>
              </a:ext>
            </a:extLst>
          </p:cNvPr>
          <p:cNvSpPr txBox="1"/>
          <p:nvPr/>
        </p:nvSpPr>
        <p:spPr>
          <a:xfrm>
            <a:off x="7457912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D4658421-B373-001B-7815-7616C96236D6}"/>
              </a:ext>
            </a:extLst>
          </p:cNvPr>
          <p:cNvSpPr/>
          <p:nvPr/>
        </p:nvSpPr>
        <p:spPr>
          <a:xfrm>
            <a:off x="5046665" y="1443233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431DCAE2-5F8B-9F35-5030-1F7C4A2F697C}"/>
              </a:ext>
            </a:extLst>
          </p:cNvPr>
          <p:cNvSpPr/>
          <p:nvPr/>
        </p:nvSpPr>
        <p:spPr>
          <a:xfrm>
            <a:off x="6645571" y="1443233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33" name="사각형: 둥근 모서리 32">
            <a:extLst>
              <a:ext uri="{FF2B5EF4-FFF2-40B4-BE49-F238E27FC236}">
                <a16:creationId xmlns:a16="http://schemas.microsoft.com/office/drawing/2014/main" id="{AAB7A172-C483-2266-02F4-A8F11AC2FD97}"/>
              </a:ext>
            </a:extLst>
          </p:cNvPr>
          <p:cNvSpPr/>
          <p:nvPr/>
        </p:nvSpPr>
        <p:spPr>
          <a:xfrm>
            <a:off x="5046662" y="1812162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7481CFA-37E2-4301-D861-DEB42AD7D641}"/>
              </a:ext>
            </a:extLst>
          </p:cNvPr>
          <p:cNvSpPr txBox="1"/>
          <p:nvPr/>
        </p:nvSpPr>
        <p:spPr>
          <a:xfrm>
            <a:off x="5414115" y="1706067"/>
            <a:ext cx="86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영토건</a:t>
            </a:r>
          </a:p>
        </p:txBody>
      </p:sp>
      <p:pic>
        <p:nvPicPr>
          <p:cNvPr id="1026" name="Picture 2" descr="블라인드 | 대화도시가스 기업정보">
            <a:extLst>
              <a:ext uri="{FF2B5EF4-FFF2-40B4-BE49-F238E27FC236}">
                <a16:creationId xmlns:a16="http://schemas.microsoft.com/office/drawing/2014/main" id="{9EFF8316-106C-FDA8-AE13-AB2F954F38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707" b="30792"/>
          <a:stretch/>
        </p:blipFill>
        <p:spPr bwMode="auto">
          <a:xfrm>
            <a:off x="540544" y="2322987"/>
            <a:ext cx="1496406" cy="456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E4C94DCF-FE6B-904C-12D0-E3F28EC6D4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78505" y="2361516"/>
            <a:ext cx="1516160" cy="4141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DC7708-79F4-4784-8BB8-300EBF7E417B}"/>
              </a:ext>
            </a:extLst>
          </p:cNvPr>
          <p:cNvSpPr txBox="1"/>
          <p:nvPr/>
        </p:nvSpPr>
        <p:spPr>
          <a:xfrm>
            <a:off x="6677582" y="1812161"/>
            <a:ext cx="2729612" cy="152130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사업은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축공사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토목공사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분양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외에도 포장공사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차장 및 운동설비를 운영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A792C9-E335-585C-6038-F1421D457446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EB4E43E-E245-9856-84BE-AF0699E0D4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8507917"/>
              </p:ext>
            </p:extLst>
          </p:nvPr>
        </p:nvGraphicFramePr>
        <p:xfrm>
          <a:off x="488948" y="3557278"/>
          <a:ext cx="26992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3CCC82-09AE-C6B4-1C85-5D86322100D1}"/>
              </a:ext>
            </a:extLst>
          </p:cNvPr>
          <p:cNvSpPr txBox="1"/>
          <p:nvPr/>
        </p:nvSpPr>
        <p:spPr>
          <a:xfrm>
            <a:off x="404833" y="3522966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" name="화살표: 왼쪽으로 구부러짐 3">
            <a:extLst>
              <a:ext uri="{FF2B5EF4-FFF2-40B4-BE49-F238E27FC236}">
                <a16:creationId xmlns:a16="http://schemas.microsoft.com/office/drawing/2014/main" id="{DA9426C3-D5FB-58C2-0EE6-E73A2B7979A6}"/>
              </a:ext>
            </a:extLst>
          </p:cNvPr>
          <p:cNvSpPr/>
          <p:nvPr/>
        </p:nvSpPr>
        <p:spPr>
          <a:xfrm>
            <a:off x="2729447" y="4277725"/>
            <a:ext cx="252770" cy="899434"/>
          </a:xfrm>
          <a:prstGeom prst="curvedLeftArrow">
            <a:avLst/>
          </a:prstGeom>
          <a:solidFill>
            <a:srgbClr val="649CFF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Aft>
                <a:spcPts val="300"/>
              </a:spcAft>
            </a:pPr>
            <a:endParaRPr lang="ko-KR" altLang="en-US" sz="1000" err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665399D-15EF-9DA6-5DAB-0709400E3373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700638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 err="1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넷마블그룹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6689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503453" y="4659997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4492421" y="298657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4492421" y="317177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4492421" y="335697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4492421" y="3542180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4492421" y="373393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6907453" y="298706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6907453" y="317226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6907453" y="335746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6907453" y="354267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6907453" y="3734423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9322485" y="299985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9322485" y="318505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9322485" y="337025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9322485" y="355546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9322485" y="3747214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2420276" y="294949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작 부재와 기존 게임의 매출 하향화로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난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부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 연속 영업 적자 기록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웨이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스핀엑스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M&amp;A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과정에서 차입규모 증가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이자부담 확대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4789290" y="3100515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3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 별도기준 차입부채는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93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이나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보유액은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43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수준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월 회사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,60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’24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초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P 1,10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만기 도래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인수금융 상환 위해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최근 자회사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웨이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주식담보대출 실행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동성 확보 위해 교환사채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발행 및 관계사 지분 매각 고려 중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하이브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NC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소프트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웨이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지분 보유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7231622" y="2994291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넷마블은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전체 매출 대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2.1%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에 해당하는 금액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8,580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R&amp;D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에 투자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향후에도 신작게임 및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AI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관련 기술에 적극적으로 투자할 계획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802A8544-9484-5380-3540-CE30F3BF5E45}"/>
              </a:ext>
            </a:extLst>
          </p:cNvPr>
          <p:cNvCxnSpPr>
            <a:cxnSpLocks/>
          </p:cNvCxnSpPr>
          <p:nvPr/>
        </p:nvCxnSpPr>
        <p:spPr>
          <a:xfrm>
            <a:off x="503453" y="5907950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275EA1F-6801-F806-BFFA-80C00140AD34}"/>
              </a:ext>
            </a:extLst>
          </p:cNvPr>
          <p:cNvSpPr/>
          <p:nvPr/>
        </p:nvSpPr>
        <p:spPr>
          <a:xfrm>
            <a:off x="4492421" y="486616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BD3C0A0-78BF-9660-2646-110A2D2236AA}"/>
              </a:ext>
            </a:extLst>
          </p:cNvPr>
          <p:cNvSpPr/>
          <p:nvPr/>
        </p:nvSpPr>
        <p:spPr>
          <a:xfrm>
            <a:off x="4492421" y="505136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0CDE98FE-2BEB-4660-7CB3-9ED31370F8BF}"/>
              </a:ext>
            </a:extLst>
          </p:cNvPr>
          <p:cNvSpPr/>
          <p:nvPr/>
        </p:nvSpPr>
        <p:spPr>
          <a:xfrm>
            <a:off x="4492421" y="523657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241C604-C7B5-2168-50E9-3E038048CD40}"/>
              </a:ext>
            </a:extLst>
          </p:cNvPr>
          <p:cNvSpPr/>
          <p:nvPr/>
        </p:nvSpPr>
        <p:spPr>
          <a:xfrm>
            <a:off x="4492421" y="542177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43296B8-19DE-8E44-3580-FDDCD7E55786}"/>
              </a:ext>
            </a:extLst>
          </p:cNvPr>
          <p:cNvSpPr/>
          <p:nvPr/>
        </p:nvSpPr>
        <p:spPr>
          <a:xfrm>
            <a:off x="4492421" y="560697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B31A67-3266-FE51-0B6B-D729F723D42B}"/>
              </a:ext>
            </a:extLst>
          </p:cNvPr>
          <p:cNvSpPr/>
          <p:nvPr/>
        </p:nvSpPr>
        <p:spPr>
          <a:xfrm>
            <a:off x="6907453" y="486616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06C5142-CC1D-33A4-FA5F-E5002FC0C2B7}"/>
              </a:ext>
            </a:extLst>
          </p:cNvPr>
          <p:cNvSpPr/>
          <p:nvPr/>
        </p:nvSpPr>
        <p:spPr>
          <a:xfrm>
            <a:off x="6907453" y="505136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6AEE687-2A43-A57F-604D-DD7F4CF82361}"/>
              </a:ext>
            </a:extLst>
          </p:cNvPr>
          <p:cNvSpPr/>
          <p:nvPr/>
        </p:nvSpPr>
        <p:spPr>
          <a:xfrm>
            <a:off x="6907453" y="523657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BBDC857-C900-90A9-729E-76E5B8BDD16B}"/>
              </a:ext>
            </a:extLst>
          </p:cNvPr>
          <p:cNvSpPr/>
          <p:nvPr/>
        </p:nvSpPr>
        <p:spPr>
          <a:xfrm>
            <a:off x="6907453" y="542177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A6D8254-B87D-6C6D-1891-815165E6E20B}"/>
              </a:ext>
            </a:extLst>
          </p:cNvPr>
          <p:cNvSpPr/>
          <p:nvPr/>
        </p:nvSpPr>
        <p:spPr>
          <a:xfrm>
            <a:off x="6907453" y="560697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C06993D1-1136-8386-CC3F-9536C4E192AB}"/>
              </a:ext>
            </a:extLst>
          </p:cNvPr>
          <p:cNvSpPr/>
          <p:nvPr/>
        </p:nvSpPr>
        <p:spPr>
          <a:xfrm>
            <a:off x="9322485" y="486616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98D63A8E-7203-2E64-99B2-391D9F8A0384}"/>
              </a:ext>
            </a:extLst>
          </p:cNvPr>
          <p:cNvSpPr/>
          <p:nvPr/>
        </p:nvSpPr>
        <p:spPr>
          <a:xfrm>
            <a:off x="9322485" y="505136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37F714D8-F335-4F00-EA2B-4C73FF6A0387}"/>
              </a:ext>
            </a:extLst>
          </p:cNvPr>
          <p:cNvSpPr/>
          <p:nvPr/>
        </p:nvSpPr>
        <p:spPr>
          <a:xfrm>
            <a:off x="9322485" y="5236570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02111F6D-D202-0571-FACB-79853FC99094}"/>
              </a:ext>
            </a:extLst>
          </p:cNvPr>
          <p:cNvSpPr/>
          <p:nvPr/>
        </p:nvSpPr>
        <p:spPr>
          <a:xfrm>
            <a:off x="9322485" y="5421773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23A45F5-6F94-9EDE-B896-1DC13D851CCD}"/>
              </a:ext>
            </a:extLst>
          </p:cNvPr>
          <p:cNvSpPr/>
          <p:nvPr/>
        </p:nvSpPr>
        <p:spPr>
          <a:xfrm>
            <a:off x="9322485" y="560697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AFDC5F4-9A3F-F664-5E97-2BF278E66218}"/>
              </a:ext>
            </a:extLst>
          </p:cNvPr>
          <p:cNvSpPr txBox="1"/>
          <p:nvPr/>
        </p:nvSpPr>
        <p:spPr>
          <a:xfrm>
            <a:off x="2420276" y="482205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해외법인의 매출성장이 ’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최대 실적 견인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외에도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렌탈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가격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%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인상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규 제품 라인업에 대한 고객의 긍정적 반응 등 최근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웨이의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업황 긍정적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B68AC89-214F-E51B-A35A-F1B20697054F}"/>
              </a:ext>
            </a:extLst>
          </p:cNvPr>
          <p:cNvSpPr txBox="1"/>
          <p:nvPr/>
        </p:nvSpPr>
        <p:spPr>
          <a:xfrm>
            <a:off x="4789290" y="4815773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상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입구조를 장기중심으로 전환하는 수단으로 회사채활용</a:t>
            </a:r>
            <a:b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만기다변화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상환압력완화 </a:t>
            </a:r>
            <a:endParaRPr lang="ko-KR" altLang="en-US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65FD29C-72A5-1CFC-1D83-4810D038E136}"/>
              </a:ext>
            </a:extLst>
          </p:cNvPr>
          <p:cNvSpPr txBox="1"/>
          <p:nvPr/>
        </p:nvSpPr>
        <p:spPr>
          <a:xfrm>
            <a:off x="7231622" y="480373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해외법인 向 투자↑</a:t>
            </a:r>
            <a:b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향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~1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베트남과 말레이시아 투자지속</a:t>
            </a:r>
            <a:b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중국과 일본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럽 등의 법인은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렌탈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사업 준비단계</a:t>
            </a: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게임사업부문 실적 악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차입부채 증가로 인한 이자부담 확대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차환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상환을 위한 단기 유동성 확보 필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지속적인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R&amp;D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투자가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필요하나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보유 자회사 지분을 이용하여 자금 조달이 가능한 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렌탈사업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실적이 개선세인 점을 감안하여 향후 방향성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4E26FA37-8DEA-8C2E-1915-5837C6415900}"/>
              </a:ext>
            </a:extLst>
          </p:cNvPr>
          <p:cNvSpPr/>
          <p:nvPr/>
        </p:nvSpPr>
        <p:spPr>
          <a:xfrm>
            <a:off x="-2268796" y="4769707"/>
            <a:ext cx="2143125" cy="2066260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en-US" altLang="ko-KR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pinX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이 부진한 상황인가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장님이 언급해주신 회사채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P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환 일정이 도래한다는 점을 유동성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언급해주는 건 어떨까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CFO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eleveraging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사를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표력한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바 있는 데 해당 건도 언급해주는 건 어떨까 싶습니다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</a:p>
        </p:txBody>
      </p:sp>
      <p:pic>
        <p:nvPicPr>
          <p:cNvPr id="16" name="Picture 2" descr="게임뷰 모바일 사이트, 꼼꼼하게 비상을 준비한 넷마블, 2022년 상반기 글로벌 흥행 속도 더한다">
            <a:extLst>
              <a:ext uri="{FF2B5EF4-FFF2-40B4-BE49-F238E27FC236}">
                <a16:creationId xmlns:a16="http://schemas.microsoft.com/office/drawing/2014/main" id="{B2A659D8-5F8E-8AF4-3B77-11EFB1CAF1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5" t="8346" r="22134" b="9816"/>
          <a:stretch/>
        </p:blipFill>
        <p:spPr bwMode="auto">
          <a:xfrm>
            <a:off x="713810" y="2681775"/>
            <a:ext cx="1505058" cy="1309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코웨이 - 나무위키">
            <a:extLst>
              <a:ext uri="{FF2B5EF4-FFF2-40B4-BE49-F238E27FC236}">
                <a16:creationId xmlns:a16="http://schemas.microsoft.com/office/drawing/2014/main" id="{A7A07BE2-45AA-19B1-1A77-480EFF649F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78" y="5107285"/>
            <a:ext cx="1485936" cy="34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1436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넷마블그룹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6509404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넷마블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방준혁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 구로구 디지털로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길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38 G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타워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01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7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(CJ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E&amp;M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으로부터 물적분할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4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7,917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39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-)3,018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바일게임 개발 </a:t>
            </a:r>
            <a:b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퍼블리싱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외 게임 자회사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탈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서비스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 및 자회사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516161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넷마블그룹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046254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,31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,7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3,3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73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6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9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3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.2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75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2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FF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3,018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0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7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7,02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3,0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7,9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,80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4,1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,9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.4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6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넷마블그룹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터테인먼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pin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X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Games</a:t>
            </a:r>
          </a:p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소셜 카지노</a:t>
            </a: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1954136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endParaRPr lang="en-US" altLang="ko-KR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8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8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대주주</a:t>
            </a:r>
            <a:r>
              <a:rPr lang="en-US" altLang="ko-KR" sz="8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브</a:t>
            </a:r>
            <a:endParaRPr lang="en-US" altLang="ko-KR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8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2</a:t>
            </a:r>
            <a:r>
              <a:rPr lang="ko-KR" altLang="en-US" sz="8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 주주</a:t>
            </a:r>
            <a:r>
              <a:rPr lang="en-US" altLang="ko-KR" sz="8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abam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3A43F36-7E8C-B110-B5E1-C42059243E5B}"/>
              </a:ext>
            </a:extLst>
          </p:cNvPr>
          <p:cNvSpPr/>
          <p:nvPr/>
        </p:nvSpPr>
        <p:spPr>
          <a:xfrm>
            <a:off x="6213452" y="3539795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ung Fu Factory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F8E6925F-F5B9-1FA3-8F3E-76626F7FE754}"/>
              </a:ext>
            </a:extLst>
          </p:cNvPr>
          <p:cNvSpPr/>
          <p:nvPr/>
        </p:nvSpPr>
        <p:spPr>
          <a:xfrm>
            <a:off x="6213452" y="402297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Jam City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14329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0FD1D5E-BF4E-5FDF-DB6B-3DD40A0FC492}"/>
              </a:ext>
            </a:extLst>
          </p:cNvPr>
          <p:cNvCxnSpPr>
            <a:cxnSpLocks/>
          </p:cNvCxnSpPr>
          <p:nvPr/>
        </p:nvCxnSpPr>
        <p:spPr>
          <a:xfrm>
            <a:off x="4953209" y="2100825"/>
            <a:ext cx="0" cy="63475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넷마블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96AB30BB-E90D-337F-CACF-29B2F70D638E}"/>
              </a:ext>
            </a:extLst>
          </p:cNvPr>
          <p:cNvSpPr/>
          <p:nvPr/>
        </p:nvSpPr>
        <p:spPr>
          <a:xfrm>
            <a:off x="4450131" y="174082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준혁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890E004C-8AEE-CAFE-60F3-E26D87A6A087}"/>
              </a:ext>
            </a:extLst>
          </p:cNvPr>
          <p:cNvCxnSpPr>
            <a:cxnSpLocks/>
          </p:cNvCxnSpPr>
          <p:nvPr/>
        </p:nvCxnSpPr>
        <p:spPr>
          <a:xfrm flipH="1">
            <a:off x="2938745" y="2251708"/>
            <a:ext cx="398577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8DB37D4-213D-EDBA-DF2C-5C8134AE0A6B}"/>
              </a:ext>
            </a:extLst>
          </p:cNvPr>
          <p:cNvCxnSpPr>
            <a:cxnSpLocks/>
          </p:cNvCxnSpPr>
          <p:nvPr/>
        </p:nvCxnSpPr>
        <p:spPr>
          <a:xfrm>
            <a:off x="6924519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6DA89548-4077-F7B7-F4FF-0F6EA692D728}"/>
              </a:ext>
            </a:extLst>
          </p:cNvPr>
          <p:cNvCxnSpPr>
            <a:cxnSpLocks/>
          </p:cNvCxnSpPr>
          <p:nvPr/>
        </p:nvCxnSpPr>
        <p:spPr>
          <a:xfrm>
            <a:off x="2938745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타원 23">
            <a:extLst>
              <a:ext uri="{FF2B5EF4-FFF2-40B4-BE49-F238E27FC236}">
                <a16:creationId xmlns:a16="http://schemas.microsoft.com/office/drawing/2014/main" id="{5CF756E9-084E-095F-A101-7C1CDA47D40F}"/>
              </a:ext>
            </a:extLst>
          </p:cNvPr>
          <p:cNvSpPr/>
          <p:nvPr/>
        </p:nvSpPr>
        <p:spPr>
          <a:xfrm>
            <a:off x="2652313" y="22776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4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타원 26">
            <a:extLst>
              <a:ext uri="{FF2B5EF4-FFF2-40B4-BE49-F238E27FC236}">
                <a16:creationId xmlns:a16="http://schemas.microsoft.com/office/drawing/2014/main" id="{270B63B1-3D18-E312-DD25-D54F16B0247A}"/>
              </a:ext>
            </a:extLst>
          </p:cNvPr>
          <p:cNvSpPr/>
          <p:nvPr/>
        </p:nvSpPr>
        <p:spPr>
          <a:xfrm>
            <a:off x="4641085" y="22776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.1%</a:t>
            </a:r>
            <a:endParaRPr lang="ko-KR" altLang="en-US" sz="8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" name="타원 30">
            <a:extLst>
              <a:ext uri="{FF2B5EF4-FFF2-40B4-BE49-F238E27FC236}">
                <a16:creationId xmlns:a16="http://schemas.microsoft.com/office/drawing/2014/main" id="{D2C920EF-54B3-1973-C1C3-0D19AF77FF3E}"/>
              </a:ext>
            </a:extLst>
          </p:cNvPr>
          <p:cNvSpPr/>
          <p:nvPr/>
        </p:nvSpPr>
        <p:spPr>
          <a:xfrm>
            <a:off x="6629857" y="227554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8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51EBC106-0948-23CE-CD6A-D16AAF07732F}"/>
              </a:ext>
            </a:extLst>
          </p:cNvPr>
          <p:cNvSpPr/>
          <p:nvPr/>
        </p:nvSpPr>
        <p:spPr>
          <a:xfrm>
            <a:off x="6420519" y="2483232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힐러비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D80FB0BA-6BBF-A1BE-FF9B-7617F044DD72}"/>
              </a:ext>
            </a:extLst>
          </p:cNvPr>
          <p:cNvSpPr/>
          <p:nvPr/>
        </p:nvSpPr>
        <p:spPr>
          <a:xfrm>
            <a:off x="2434745" y="2482962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디스에어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3" name="직선 화살표 연결선 92">
            <a:extLst>
              <a:ext uri="{FF2B5EF4-FFF2-40B4-BE49-F238E27FC236}">
                <a16:creationId xmlns:a16="http://schemas.microsoft.com/office/drawing/2014/main" id="{564F9EB6-CF24-26B0-CA56-380BB0A2CA13}"/>
              </a:ext>
            </a:extLst>
          </p:cNvPr>
          <p:cNvCxnSpPr>
            <a:cxnSpLocks/>
            <a:endCxn id="91" idx="1"/>
          </p:cNvCxnSpPr>
          <p:nvPr/>
        </p:nvCxnSpPr>
        <p:spPr>
          <a:xfrm>
            <a:off x="5451085" y="2662962"/>
            <a:ext cx="969434" cy="27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타원 95">
            <a:extLst>
              <a:ext uri="{FF2B5EF4-FFF2-40B4-BE49-F238E27FC236}">
                <a16:creationId xmlns:a16="http://schemas.microsoft.com/office/drawing/2014/main" id="{A772027E-1A1A-0570-6C83-186FB190C00D}"/>
              </a:ext>
            </a:extLst>
          </p:cNvPr>
          <p:cNvSpPr/>
          <p:nvPr/>
        </p:nvSpPr>
        <p:spPr>
          <a:xfrm>
            <a:off x="5625087" y="257737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1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8" name="직선 화살표 연결선 147">
            <a:extLst>
              <a:ext uri="{FF2B5EF4-FFF2-40B4-BE49-F238E27FC236}">
                <a16:creationId xmlns:a16="http://schemas.microsoft.com/office/drawing/2014/main" id="{E48CA006-ACE8-6490-E758-6D2F8F1B2D9E}"/>
              </a:ext>
            </a:extLst>
          </p:cNvPr>
          <p:cNvCxnSpPr>
            <a:cxnSpLocks/>
          </p:cNvCxnSpPr>
          <p:nvPr/>
        </p:nvCxnSpPr>
        <p:spPr>
          <a:xfrm>
            <a:off x="4953000" y="2662962"/>
            <a:ext cx="0" cy="2026744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모서리가 둥근 직사각형 167">
            <a:extLst>
              <a:ext uri="{FF2B5EF4-FFF2-40B4-BE49-F238E27FC236}">
                <a16:creationId xmlns:a16="http://schemas.microsoft.com/office/drawing/2014/main" id="{D2E4E80D-7BF2-63A7-FDA4-18A96DC334CE}"/>
              </a:ext>
            </a:extLst>
          </p:cNvPr>
          <p:cNvSpPr/>
          <p:nvPr/>
        </p:nvSpPr>
        <p:spPr>
          <a:xfrm>
            <a:off x="619520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네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52" name="모서리가 둥근 직사각형 167">
            <a:extLst>
              <a:ext uri="{FF2B5EF4-FFF2-40B4-BE49-F238E27FC236}">
                <a16:creationId xmlns:a16="http://schemas.microsoft.com/office/drawing/2014/main" id="{96467FF4-F4CA-4B23-1481-1069FF017CDB}"/>
              </a:ext>
            </a:extLst>
          </p:cNvPr>
          <p:cNvSpPr/>
          <p:nvPr/>
        </p:nvSpPr>
        <p:spPr>
          <a:xfrm>
            <a:off x="1664459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몬스터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53" name="모서리가 둥근 직사각형 167">
            <a:extLst>
              <a:ext uri="{FF2B5EF4-FFF2-40B4-BE49-F238E27FC236}">
                <a16:creationId xmlns:a16="http://schemas.microsoft.com/office/drawing/2014/main" id="{9809F704-E3E1-8B76-C9E4-F1B77A589323}"/>
              </a:ext>
            </a:extLst>
          </p:cNvPr>
          <p:cNvSpPr/>
          <p:nvPr/>
        </p:nvSpPr>
        <p:spPr>
          <a:xfrm>
            <a:off x="2709398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앤파크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54" name="모서리가 둥근 직사각형 167">
            <a:extLst>
              <a:ext uri="{FF2B5EF4-FFF2-40B4-BE49-F238E27FC236}">
                <a16:creationId xmlns:a16="http://schemas.microsoft.com/office/drawing/2014/main" id="{BF2B1722-038B-1AB9-5598-F54BA39E4670}"/>
              </a:ext>
            </a:extLst>
          </p:cNvPr>
          <p:cNvSpPr/>
          <p:nvPr/>
        </p:nvSpPr>
        <p:spPr>
          <a:xfrm>
            <a:off x="3754337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트리㈜</a:t>
            </a:r>
          </a:p>
        </p:txBody>
      </p:sp>
      <p:sp>
        <p:nvSpPr>
          <p:cNvPr id="155" name="모서리가 둥근 직사각형 167">
            <a:extLst>
              <a:ext uri="{FF2B5EF4-FFF2-40B4-BE49-F238E27FC236}">
                <a16:creationId xmlns:a16="http://schemas.microsoft.com/office/drawing/2014/main" id="{347A8741-62A5-3CD5-D516-36F80A0ACC1F}"/>
              </a:ext>
            </a:extLst>
          </p:cNvPr>
          <p:cNvSpPr/>
          <p:nvPr/>
        </p:nvSpPr>
        <p:spPr>
          <a:xfrm>
            <a:off x="5167360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탑자산관리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56" name="모서리가 둥근 직사각형 167">
            <a:extLst>
              <a:ext uri="{FF2B5EF4-FFF2-40B4-BE49-F238E27FC236}">
                <a16:creationId xmlns:a16="http://schemas.microsoft.com/office/drawing/2014/main" id="{1C3D22A1-B91C-421B-CBBD-1DECDC3DC341}"/>
              </a:ext>
            </a:extLst>
          </p:cNvPr>
          <p:cNvSpPr/>
          <p:nvPr/>
        </p:nvSpPr>
        <p:spPr>
          <a:xfrm>
            <a:off x="6205985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넥서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57" name="모서리가 둥근 직사각형 167">
            <a:extLst>
              <a:ext uri="{FF2B5EF4-FFF2-40B4-BE49-F238E27FC236}">
                <a16:creationId xmlns:a16="http://schemas.microsoft.com/office/drawing/2014/main" id="{13CA254F-0565-A149-23C4-2BE9FF48820F}"/>
              </a:ext>
            </a:extLst>
          </p:cNvPr>
          <p:cNvSpPr/>
          <p:nvPr/>
        </p:nvSpPr>
        <p:spPr>
          <a:xfrm>
            <a:off x="7247174" y="3402087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엔투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cxnSp>
        <p:nvCxnSpPr>
          <p:cNvPr id="162" name="직선 화살표 연결선 161">
            <a:extLst>
              <a:ext uri="{FF2B5EF4-FFF2-40B4-BE49-F238E27FC236}">
                <a16:creationId xmlns:a16="http://schemas.microsoft.com/office/drawing/2014/main" id="{8972E1F3-8E05-3891-242D-D9F0818B1D9E}"/>
              </a:ext>
            </a:extLst>
          </p:cNvPr>
          <p:cNvCxnSpPr>
            <a:cxnSpLocks/>
          </p:cNvCxnSpPr>
          <p:nvPr/>
        </p:nvCxnSpPr>
        <p:spPr>
          <a:xfrm flipH="1">
            <a:off x="1127392" y="3030644"/>
            <a:ext cx="6632605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직선 화살표 연결선 163">
            <a:extLst>
              <a:ext uri="{FF2B5EF4-FFF2-40B4-BE49-F238E27FC236}">
                <a16:creationId xmlns:a16="http://schemas.microsoft.com/office/drawing/2014/main" id="{7336F14C-45F9-4575-2A45-8E2563A9D419}"/>
              </a:ext>
            </a:extLst>
          </p:cNvPr>
          <p:cNvCxnSpPr>
            <a:cxnSpLocks/>
          </p:cNvCxnSpPr>
          <p:nvPr/>
        </p:nvCxnSpPr>
        <p:spPr>
          <a:xfrm>
            <a:off x="4271112" y="3030290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직선 화살표 연결선 164">
            <a:extLst>
              <a:ext uri="{FF2B5EF4-FFF2-40B4-BE49-F238E27FC236}">
                <a16:creationId xmlns:a16="http://schemas.microsoft.com/office/drawing/2014/main" id="{CB91EBE6-9324-EBC0-A741-1DDEC32588F3}"/>
              </a:ext>
            </a:extLst>
          </p:cNvPr>
          <p:cNvCxnSpPr>
            <a:cxnSpLocks/>
          </p:cNvCxnSpPr>
          <p:nvPr/>
        </p:nvCxnSpPr>
        <p:spPr>
          <a:xfrm>
            <a:off x="5660215" y="3030643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직선 화살표 연결선 165">
            <a:extLst>
              <a:ext uri="{FF2B5EF4-FFF2-40B4-BE49-F238E27FC236}">
                <a16:creationId xmlns:a16="http://schemas.microsoft.com/office/drawing/2014/main" id="{C1D64367-A690-C298-DE97-3E79663D11AF}"/>
              </a:ext>
            </a:extLst>
          </p:cNvPr>
          <p:cNvCxnSpPr>
            <a:cxnSpLocks/>
          </p:cNvCxnSpPr>
          <p:nvPr/>
        </p:nvCxnSpPr>
        <p:spPr>
          <a:xfrm>
            <a:off x="6684148" y="303028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직선 화살표 연결선 166">
            <a:extLst>
              <a:ext uri="{FF2B5EF4-FFF2-40B4-BE49-F238E27FC236}">
                <a16:creationId xmlns:a16="http://schemas.microsoft.com/office/drawing/2014/main" id="{EB783D05-64A3-04FA-4DD0-3A5A73250CBA}"/>
              </a:ext>
            </a:extLst>
          </p:cNvPr>
          <p:cNvCxnSpPr>
            <a:cxnSpLocks/>
          </p:cNvCxnSpPr>
          <p:nvPr/>
        </p:nvCxnSpPr>
        <p:spPr>
          <a:xfrm>
            <a:off x="3205320" y="3027114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타원 167">
            <a:extLst>
              <a:ext uri="{FF2B5EF4-FFF2-40B4-BE49-F238E27FC236}">
                <a16:creationId xmlns:a16="http://schemas.microsoft.com/office/drawing/2014/main" id="{1D612AE3-D731-B976-99A9-7675FBC5D43A}"/>
              </a:ext>
            </a:extLst>
          </p:cNvPr>
          <p:cNvSpPr/>
          <p:nvPr/>
        </p:nvSpPr>
        <p:spPr>
          <a:xfrm>
            <a:off x="2919777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5.8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1" name="타원 170">
            <a:extLst>
              <a:ext uri="{FF2B5EF4-FFF2-40B4-BE49-F238E27FC236}">
                <a16:creationId xmlns:a16="http://schemas.microsoft.com/office/drawing/2014/main" id="{DB20DFFA-E1E3-10D1-CEE1-5751BBCF0A5C}"/>
              </a:ext>
            </a:extLst>
          </p:cNvPr>
          <p:cNvSpPr/>
          <p:nvPr/>
        </p:nvSpPr>
        <p:spPr>
          <a:xfrm>
            <a:off x="3995625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2" name="타원 171">
            <a:extLst>
              <a:ext uri="{FF2B5EF4-FFF2-40B4-BE49-F238E27FC236}">
                <a16:creationId xmlns:a16="http://schemas.microsoft.com/office/drawing/2014/main" id="{9678DC10-77AF-DF18-482A-672C933E3F50}"/>
              </a:ext>
            </a:extLst>
          </p:cNvPr>
          <p:cNvSpPr/>
          <p:nvPr/>
        </p:nvSpPr>
        <p:spPr>
          <a:xfrm>
            <a:off x="5384807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3" name="타원 172">
            <a:extLst>
              <a:ext uri="{FF2B5EF4-FFF2-40B4-BE49-F238E27FC236}">
                <a16:creationId xmlns:a16="http://schemas.microsoft.com/office/drawing/2014/main" id="{CB8BFDBA-1FC5-7ADB-562C-82D46883E0A7}"/>
              </a:ext>
            </a:extLst>
          </p:cNvPr>
          <p:cNvSpPr/>
          <p:nvPr/>
        </p:nvSpPr>
        <p:spPr>
          <a:xfrm>
            <a:off x="6395262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9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74" name="직선 화살표 연결선 173">
            <a:extLst>
              <a:ext uri="{FF2B5EF4-FFF2-40B4-BE49-F238E27FC236}">
                <a16:creationId xmlns:a16="http://schemas.microsoft.com/office/drawing/2014/main" id="{7D411C52-C7A4-E858-ECDC-EE80C2EBB0C8}"/>
              </a:ext>
            </a:extLst>
          </p:cNvPr>
          <p:cNvCxnSpPr>
            <a:cxnSpLocks/>
          </p:cNvCxnSpPr>
          <p:nvPr/>
        </p:nvCxnSpPr>
        <p:spPr>
          <a:xfrm>
            <a:off x="7759997" y="303028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타원 174">
            <a:extLst>
              <a:ext uri="{FF2B5EF4-FFF2-40B4-BE49-F238E27FC236}">
                <a16:creationId xmlns:a16="http://schemas.microsoft.com/office/drawing/2014/main" id="{4DFBF6CF-A7C9-3A7E-E001-BF70E0DDD3FB}"/>
              </a:ext>
            </a:extLst>
          </p:cNvPr>
          <p:cNvSpPr/>
          <p:nvPr/>
        </p:nvSpPr>
        <p:spPr>
          <a:xfrm>
            <a:off x="7471111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8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76" name="직선 화살표 연결선 175">
            <a:extLst>
              <a:ext uri="{FF2B5EF4-FFF2-40B4-BE49-F238E27FC236}">
                <a16:creationId xmlns:a16="http://schemas.microsoft.com/office/drawing/2014/main" id="{D3C1CE4D-E902-69FE-665F-323A8F277590}"/>
              </a:ext>
            </a:extLst>
          </p:cNvPr>
          <p:cNvCxnSpPr>
            <a:cxnSpLocks/>
          </p:cNvCxnSpPr>
          <p:nvPr/>
        </p:nvCxnSpPr>
        <p:spPr>
          <a:xfrm>
            <a:off x="1127392" y="303028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타원 176">
            <a:extLst>
              <a:ext uri="{FF2B5EF4-FFF2-40B4-BE49-F238E27FC236}">
                <a16:creationId xmlns:a16="http://schemas.microsoft.com/office/drawing/2014/main" id="{37336757-587D-E473-96FC-8F0726412C3B}"/>
              </a:ext>
            </a:extLst>
          </p:cNvPr>
          <p:cNvSpPr/>
          <p:nvPr/>
        </p:nvSpPr>
        <p:spPr>
          <a:xfrm>
            <a:off x="838506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8.5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78" name="직선 화살표 연결선 177">
            <a:extLst>
              <a:ext uri="{FF2B5EF4-FFF2-40B4-BE49-F238E27FC236}">
                <a16:creationId xmlns:a16="http://schemas.microsoft.com/office/drawing/2014/main" id="{514BEA09-EB5F-1F3E-3141-73040FC29CA7}"/>
              </a:ext>
            </a:extLst>
          </p:cNvPr>
          <p:cNvCxnSpPr>
            <a:cxnSpLocks/>
          </p:cNvCxnSpPr>
          <p:nvPr/>
        </p:nvCxnSpPr>
        <p:spPr>
          <a:xfrm>
            <a:off x="2162844" y="3027114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타원 178">
            <a:extLst>
              <a:ext uri="{FF2B5EF4-FFF2-40B4-BE49-F238E27FC236}">
                <a16:creationId xmlns:a16="http://schemas.microsoft.com/office/drawing/2014/main" id="{5A21622D-9049-43D0-92A0-36E3931A8D47}"/>
              </a:ext>
            </a:extLst>
          </p:cNvPr>
          <p:cNvSpPr/>
          <p:nvPr/>
        </p:nvSpPr>
        <p:spPr>
          <a:xfrm>
            <a:off x="1877301" y="314038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5.7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83544130-3C77-4955-5E8C-4D3B584273C6}"/>
              </a:ext>
            </a:extLst>
          </p:cNvPr>
          <p:cNvSpPr/>
          <p:nvPr/>
        </p:nvSpPr>
        <p:spPr>
          <a:xfrm>
            <a:off x="4443085" y="2483232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5" name="모서리가 둥근 직사각형 167">
            <a:extLst>
              <a:ext uri="{FF2B5EF4-FFF2-40B4-BE49-F238E27FC236}">
                <a16:creationId xmlns:a16="http://schemas.microsoft.com/office/drawing/2014/main" id="{CE2D0E8B-B496-F803-9BA6-7FA74B87B736}"/>
              </a:ext>
            </a:extLst>
          </p:cNvPr>
          <p:cNvSpPr/>
          <p:nvPr/>
        </p:nvSpPr>
        <p:spPr>
          <a:xfrm>
            <a:off x="1692364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인핸즈네트워크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6" name="모서리가 둥근 직사각형 167">
            <a:extLst>
              <a:ext uri="{FF2B5EF4-FFF2-40B4-BE49-F238E27FC236}">
                <a16:creationId xmlns:a16="http://schemas.microsoft.com/office/drawing/2014/main" id="{BD4A7E73-D45F-9199-365B-F07A6BAC47D1}"/>
              </a:ext>
            </a:extLst>
          </p:cNvPr>
          <p:cNvSpPr/>
          <p:nvPr/>
        </p:nvSpPr>
        <p:spPr>
          <a:xfrm>
            <a:off x="2737303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엔비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87" name="모서리가 둥근 직사각형 167">
            <a:extLst>
              <a:ext uri="{FF2B5EF4-FFF2-40B4-BE49-F238E27FC236}">
                <a16:creationId xmlns:a16="http://schemas.microsoft.com/office/drawing/2014/main" id="{A5C96C3E-D5A0-6413-EF75-4CC265F89872}"/>
              </a:ext>
            </a:extLst>
          </p:cNvPr>
          <p:cNvSpPr/>
          <p:nvPr/>
        </p:nvSpPr>
        <p:spPr>
          <a:xfrm>
            <a:off x="3782242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스퀘어피에프브이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8" name="모서리가 둥근 직사각형 167">
            <a:extLst>
              <a:ext uri="{FF2B5EF4-FFF2-40B4-BE49-F238E27FC236}">
                <a16:creationId xmlns:a16="http://schemas.microsoft.com/office/drawing/2014/main" id="{009183AE-85D1-39E8-8892-D92AA149FE88}"/>
              </a:ext>
            </a:extLst>
          </p:cNvPr>
          <p:cNvSpPr/>
          <p:nvPr/>
        </p:nvSpPr>
        <p:spPr>
          <a:xfrm>
            <a:off x="5195265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잼팟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189" name="모서리가 둥근 직사각형 167">
            <a:extLst>
              <a:ext uri="{FF2B5EF4-FFF2-40B4-BE49-F238E27FC236}">
                <a16:creationId xmlns:a16="http://schemas.microsoft.com/office/drawing/2014/main" id="{5A21A369-3A10-14D6-019D-446DF7BF4946}"/>
              </a:ext>
            </a:extLst>
          </p:cNvPr>
          <p:cNvSpPr/>
          <p:nvPr/>
        </p:nvSpPr>
        <p:spPr>
          <a:xfrm>
            <a:off x="6233890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타운피에프브이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cxnSp>
        <p:nvCxnSpPr>
          <p:cNvPr id="191" name="직선 화살표 연결선 190">
            <a:extLst>
              <a:ext uri="{FF2B5EF4-FFF2-40B4-BE49-F238E27FC236}">
                <a16:creationId xmlns:a16="http://schemas.microsoft.com/office/drawing/2014/main" id="{9D3A260F-7BC3-6396-920F-8D6BB5E91893}"/>
              </a:ext>
            </a:extLst>
          </p:cNvPr>
          <p:cNvCxnSpPr>
            <a:cxnSpLocks/>
          </p:cNvCxnSpPr>
          <p:nvPr/>
        </p:nvCxnSpPr>
        <p:spPr>
          <a:xfrm flipH="1">
            <a:off x="1155297" y="3882930"/>
            <a:ext cx="5554688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직선 화살표 연결선 191">
            <a:extLst>
              <a:ext uri="{FF2B5EF4-FFF2-40B4-BE49-F238E27FC236}">
                <a16:creationId xmlns:a16="http://schemas.microsoft.com/office/drawing/2014/main" id="{94DA94F8-2F06-5A26-5C5A-F6820C965DA6}"/>
              </a:ext>
            </a:extLst>
          </p:cNvPr>
          <p:cNvCxnSpPr>
            <a:cxnSpLocks/>
          </p:cNvCxnSpPr>
          <p:nvPr/>
        </p:nvCxnSpPr>
        <p:spPr>
          <a:xfrm>
            <a:off x="4299017" y="388257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직선 화살표 연결선 192">
            <a:extLst>
              <a:ext uri="{FF2B5EF4-FFF2-40B4-BE49-F238E27FC236}">
                <a16:creationId xmlns:a16="http://schemas.microsoft.com/office/drawing/2014/main" id="{AB1F76CA-669D-1EDB-7D54-E5C2980C5380}"/>
              </a:ext>
            </a:extLst>
          </p:cNvPr>
          <p:cNvCxnSpPr>
            <a:cxnSpLocks/>
          </p:cNvCxnSpPr>
          <p:nvPr/>
        </p:nvCxnSpPr>
        <p:spPr>
          <a:xfrm>
            <a:off x="5688120" y="3882929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직선 화살표 연결선 193">
            <a:extLst>
              <a:ext uri="{FF2B5EF4-FFF2-40B4-BE49-F238E27FC236}">
                <a16:creationId xmlns:a16="http://schemas.microsoft.com/office/drawing/2014/main" id="{F89E00C1-6415-9029-CF39-E5CACF2EAF40}"/>
              </a:ext>
            </a:extLst>
          </p:cNvPr>
          <p:cNvCxnSpPr>
            <a:cxnSpLocks/>
          </p:cNvCxnSpPr>
          <p:nvPr/>
        </p:nvCxnSpPr>
        <p:spPr>
          <a:xfrm>
            <a:off x="6712053" y="3882575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직선 화살표 연결선 194">
            <a:extLst>
              <a:ext uri="{FF2B5EF4-FFF2-40B4-BE49-F238E27FC236}">
                <a16:creationId xmlns:a16="http://schemas.microsoft.com/office/drawing/2014/main" id="{83B17E46-2E28-8601-7B69-38B8C143742B}"/>
              </a:ext>
            </a:extLst>
          </p:cNvPr>
          <p:cNvCxnSpPr>
            <a:cxnSpLocks/>
          </p:cNvCxnSpPr>
          <p:nvPr/>
        </p:nvCxnSpPr>
        <p:spPr>
          <a:xfrm>
            <a:off x="3233225" y="3879400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타원 195">
            <a:extLst>
              <a:ext uri="{FF2B5EF4-FFF2-40B4-BE49-F238E27FC236}">
                <a16:creationId xmlns:a16="http://schemas.microsoft.com/office/drawing/2014/main" id="{713E1899-3231-23EB-3848-348BC2095C5A}"/>
              </a:ext>
            </a:extLst>
          </p:cNvPr>
          <p:cNvSpPr/>
          <p:nvPr/>
        </p:nvSpPr>
        <p:spPr>
          <a:xfrm>
            <a:off x="2947682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7" name="타원 196">
            <a:extLst>
              <a:ext uri="{FF2B5EF4-FFF2-40B4-BE49-F238E27FC236}">
                <a16:creationId xmlns:a16="http://schemas.microsoft.com/office/drawing/2014/main" id="{BBED8AA8-4A6F-A56A-C35C-2E7F727EB3CA}"/>
              </a:ext>
            </a:extLst>
          </p:cNvPr>
          <p:cNvSpPr/>
          <p:nvPr/>
        </p:nvSpPr>
        <p:spPr>
          <a:xfrm>
            <a:off x="4023530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8.4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8" name="타원 197">
            <a:extLst>
              <a:ext uri="{FF2B5EF4-FFF2-40B4-BE49-F238E27FC236}">
                <a16:creationId xmlns:a16="http://schemas.microsoft.com/office/drawing/2014/main" id="{11E39963-EF99-8978-438C-22429176A839}"/>
              </a:ext>
            </a:extLst>
          </p:cNvPr>
          <p:cNvSpPr/>
          <p:nvPr/>
        </p:nvSpPr>
        <p:spPr>
          <a:xfrm>
            <a:off x="5412712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7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9" name="타원 198">
            <a:extLst>
              <a:ext uri="{FF2B5EF4-FFF2-40B4-BE49-F238E27FC236}">
                <a16:creationId xmlns:a16="http://schemas.microsoft.com/office/drawing/2014/main" id="{F4C13C38-3A70-2AAB-85F0-10FD4E8C1A4A}"/>
              </a:ext>
            </a:extLst>
          </p:cNvPr>
          <p:cNvSpPr/>
          <p:nvPr/>
        </p:nvSpPr>
        <p:spPr>
          <a:xfrm>
            <a:off x="6423167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02" name="직선 화살표 연결선 201">
            <a:extLst>
              <a:ext uri="{FF2B5EF4-FFF2-40B4-BE49-F238E27FC236}">
                <a16:creationId xmlns:a16="http://schemas.microsoft.com/office/drawing/2014/main" id="{6DDF4643-A3F3-9570-5078-F17C6B933AF1}"/>
              </a:ext>
            </a:extLst>
          </p:cNvPr>
          <p:cNvCxnSpPr>
            <a:cxnSpLocks/>
          </p:cNvCxnSpPr>
          <p:nvPr/>
        </p:nvCxnSpPr>
        <p:spPr>
          <a:xfrm>
            <a:off x="1155297" y="3882575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타원 202">
            <a:extLst>
              <a:ext uri="{FF2B5EF4-FFF2-40B4-BE49-F238E27FC236}">
                <a16:creationId xmlns:a16="http://schemas.microsoft.com/office/drawing/2014/main" id="{EA90A022-B9E9-8601-41BB-2264DCE21192}"/>
              </a:ext>
            </a:extLst>
          </p:cNvPr>
          <p:cNvSpPr/>
          <p:nvPr/>
        </p:nvSpPr>
        <p:spPr>
          <a:xfrm>
            <a:off x="866411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8.8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04" name="직선 화살표 연결선 203">
            <a:extLst>
              <a:ext uri="{FF2B5EF4-FFF2-40B4-BE49-F238E27FC236}">
                <a16:creationId xmlns:a16="http://schemas.microsoft.com/office/drawing/2014/main" id="{8457348B-899F-1ACF-EADE-E477AABFD796}"/>
              </a:ext>
            </a:extLst>
          </p:cNvPr>
          <p:cNvCxnSpPr>
            <a:cxnSpLocks/>
          </p:cNvCxnSpPr>
          <p:nvPr/>
        </p:nvCxnSpPr>
        <p:spPr>
          <a:xfrm>
            <a:off x="2190749" y="3879400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타원 204">
            <a:extLst>
              <a:ext uri="{FF2B5EF4-FFF2-40B4-BE49-F238E27FC236}">
                <a16:creationId xmlns:a16="http://schemas.microsoft.com/office/drawing/2014/main" id="{93B18754-651F-C672-581C-4C791E9FD57F}"/>
              </a:ext>
            </a:extLst>
          </p:cNvPr>
          <p:cNvSpPr/>
          <p:nvPr/>
        </p:nvSpPr>
        <p:spPr>
          <a:xfrm>
            <a:off x="1905206" y="399267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.1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06" name="모서리가 둥근 직사각형 167">
            <a:extLst>
              <a:ext uri="{FF2B5EF4-FFF2-40B4-BE49-F238E27FC236}">
                <a16:creationId xmlns:a16="http://schemas.microsoft.com/office/drawing/2014/main" id="{09E64D88-2410-E71D-AFAE-524C03C6589B}"/>
              </a:ext>
            </a:extLst>
          </p:cNvPr>
          <p:cNvSpPr/>
          <p:nvPr/>
        </p:nvSpPr>
        <p:spPr>
          <a:xfrm>
            <a:off x="647425" y="506467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브리플레이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07" name="모서리가 둥근 직사각형 167">
            <a:extLst>
              <a:ext uri="{FF2B5EF4-FFF2-40B4-BE49-F238E27FC236}">
                <a16:creationId xmlns:a16="http://schemas.microsoft.com/office/drawing/2014/main" id="{64A2C054-0245-460B-5087-97C261B85032}"/>
              </a:ext>
            </a:extLst>
          </p:cNvPr>
          <p:cNvSpPr/>
          <p:nvPr/>
        </p:nvSpPr>
        <p:spPr>
          <a:xfrm>
            <a:off x="1692364" y="506467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에프앤씨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208" name="모서리가 둥근 직사각형 167">
            <a:extLst>
              <a:ext uri="{FF2B5EF4-FFF2-40B4-BE49-F238E27FC236}">
                <a16:creationId xmlns:a16="http://schemas.microsoft.com/office/drawing/2014/main" id="{7DCFB781-9876-355E-6BD0-2D9F418CE082}"/>
              </a:ext>
            </a:extLst>
          </p:cNvPr>
          <p:cNvSpPr/>
          <p:nvPr/>
        </p:nvSpPr>
        <p:spPr>
          <a:xfrm>
            <a:off x="2737303" y="506467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브렉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209" name="모서리가 둥근 직사각형 167">
            <a:extLst>
              <a:ext uri="{FF2B5EF4-FFF2-40B4-BE49-F238E27FC236}">
                <a16:creationId xmlns:a16="http://schemas.microsoft.com/office/drawing/2014/main" id="{921B6562-883B-9B54-1D82-7FDAE0ADC499}"/>
              </a:ext>
            </a:extLst>
          </p:cNvPr>
          <p:cNvSpPr/>
          <p:nvPr/>
        </p:nvSpPr>
        <p:spPr>
          <a:xfrm>
            <a:off x="3782242" y="506467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지에스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210" name="모서리가 둥근 직사각형 167">
            <a:extLst>
              <a:ext uri="{FF2B5EF4-FFF2-40B4-BE49-F238E27FC236}">
                <a16:creationId xmlns:a16="http://schemas.microsoft.com/office/drawing/2014/main" id="{AF4C87DC-3DE4-FDD7-AB02-88570E3E42E3}"/>
              </a:ext>
            </a:extLst>
          </p:cNvPr>
          <p:cNvSpPr/>
          <p:nvPr/>
        </p:nvSpPr>
        <p:spPr>
          <a:xfrm>
            <a:off x="4829693" y="506467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구로발게임즈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211" name="모서리가 둥근 직사각형 167">
            <a:extLst>
              <a:ext uri="{FF2B5EF4-FFF2-40B4-BE49-F238E27FC236}">
                <a16:creationId xmlns:a16="http://schemas.microsoft.com/office/drawing/2014/main" id="{EF80125B-5CBC-9977-1874-8F0FFE6A397B}"/>
              </a:ext>
            </a:extLst>
          </p:cNvPr>
          <p:cNvSpPr/>
          <p:nvPr/>
        </p:nvSpPr>
        <p:spPr>
          <a:xfrm>
            <a:off x="5868318" y="506467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cxnSp>
        <p:nvCxnSpPr>
          <p:cNvPr id="213" name="직선 화살표 연결선 212">
            <a:extLst>
              <a:ext uri="{FF2B5EF4-FFF2-40B4-BE49-F238E27FC236}">
                <a16:creationId xmlns:a16="http://schemas.microsoft.com/office/drawing/2014/main" id="{8E07E467-DB04-2286-3277-F1F250062DF1}"/>
              </a:ext>
            </a:extLst>
          </p:cNvPr>
          <p:cNvCxnSpPr>
            <a:cxnSpLocks/>
          </p:cNvCxnSpPr>
          <p:nvPr/>
        </p:nvCxnSpPr>
        <p:spPr>
          <a:xfrm flipH="1">
            <a:off x="1155297" y="4693236"/>
            <a:ext cx="5191184" cy="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직선 화살표 연결선 213">
            <a:extLst>
              <a:ext uri="{FF2B5EF4-FFF2-40B4-BE49-F238E27FC236}">
                <a16:creationId xmlns:a16="http://schemas.microsoft.com/office/drawing/2014/main" id="{91118EB7-070D-89F1-1F79-86587FDAE985}"/>
              </a:ext>
            </a:extLst>
          </p:cNvPr>
          <p:cNvCxnSpPr>
            <a:cxnSpLocks/>
          </p:cNvCxnSpPr>
          <p:nvPr/>
        </p:nvCxnSpPr>
        <p:spPr>
          <a:xfrm>
            <a:off x="4299017" y="4692882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직선 화살표 연결선 214">
            <a:extLst>
              <a:ext uri="{FF2B5EF4-FFF2-40B4-BE49-F238E27FC236}">
                <a16:creationId xmlns:a16="http://schemas.microsoft.com/office/drawing/2014/main" id="{FF05DA09-AF35-9B16-3FB8-91CAE1BF7E99}"/>
              </a:ext>
            </a:extLst>
          </p:cNvPr>
          <p:cNvCxnSpPr>
            <a:cxnSpLocks/>
          </p:cNvCxnSpPr>
          <p:nvPr/>
        </p:nvCxnSpPr>
        <p:spPr>
          <a:xfrm>
            <a:off x="5322548" y="4693235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직선 화살표 연결선 215">
            <a:extLst>
              <a:ext uri="{FF2B5EF4-FFF2-40B4-BE49-F238E27FC236}">
                <a16:creationId xmlns:a16="http://schemas.microsoft.com/office/drawing/2014/main" id="{A955821F-DEF9-265F-9B32-6B1EC2564B40}"/>
              </a:ext>
            </a:extLst>
          </p:cNvPr>
          <p:cNvCxnSpPr>
            <a:cxnSpLocks/>
          </p:cNvCxnSpPr>
          <p:nvPr/>
        </p:nvCxnSpPr>
        <p:spPr>
          <a:xfrm>
            <a:off x="6346481" y="4692881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직선 화살표 연결선 216">
            <a:extLst>
              <a:ext uri="{FF2B5EF4-FFF2-40B4-BE49-F238E27FC236}">
                <a16:creationId xmlns:a16="http://schemas.microsoft.com/office/drawing/2014/main" id="{5FBB2FEB-BCC0-D3B2-C938-17813BDBDDEC}"/>
              </a:ext>
            </a:extLst>
          </p:cNvPr>
          <p:cNvCxnSpPr>
            <a:cxnSpLocks/>
          </p:cNvCxnSpPr>
          <p:nvPr/>
        </p:nvCxnSpPr>
        <p:spPr>
          <a:xfrm>
            <a:off x="3233225" y="468970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타원 217">
            <a:extLst>
              <a:ext uri="{FF2B5EF4-FFF2-40B4-BE49-F238E27FC236}">
                <a16:creationId xmlns:a16="http://schemas.microsoft.com/office/drawing/2014/main" id="{A45D8045-58A0-2E2F-FBD6-263DA358F5CE}"/>
              </a:ext>
            </a:extLst>
          </p:cNvPr>
          <p:cNvSpPr/>
          <p:nvPr/>
        </p:nvSpPr>
        <p:spPr>
          <a:xfrm>
            <a:off x="2947682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19" name="타원 218">
            <a:extLst>
              <a:ext uri="{FF2B5EF4-FFF2-40B4-BE49-F238E27FC236}">
                <a16:creationId xmlns:a16="http://schemas.microsoft.com/office/drawing/2014/main" id="{C68454AB-741E-AE53-76CC-91D26551A31E}"/>
              </a:ext>
            </a:extLst>
          </p:cNvPr>
          <p:cNvSpPr/>
          <p:nvPr/>
        </p:nvSpPr>
        <p:spPr>
          <a:xfrm>
            <a:off x="4023530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20" name="타원 219">
            <a:extLst>
              <a:ext uri="{FF2B5EF4-FFF2-40B4-BE49-F238E27FC236}">
                <a16:creationId xmlns:a16="http://schemas.microsoft.com/office/drawing/2014/main" id="{ADA92670-931A-7A8F-0B38-860C57138056}"/>
              </a:ext>
            </a:extLst>
          </p:cNvPr>
          <p:cNvSpPr/>
          <p:nvPr/>
        </p:nvSpPr>
        <p:spPr>
          <a:xfrm>
            <a:off x="5047140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9.4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21" name="타원 220">
            <a:extLst>
              <a:ext uri="{FF2B5EF4-FFF2-40B4-BE49-F238E27FC236}">
                <a16:creationId xmlns:a16="http://schemas.microsoft.com/office/drawing/2014/main" id="{36698EA3-A484-57CE-2833-B8417B50990B}"/>
              </a:ext>
            </a:extLst>
          </p:cNvPr>
          <p:cNvSpPr/>
          <p:nvPr/>
        </p:nvSpPr>
        <p:spPr>
          <a:xfrm>
            <a:off x="6057595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5.1%</a:t>
            </a:r>
            <a:endParaRPr lang="ko-KR" altLang="en-US" sz="800" b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24" name="직선 화살표 연결선 223">
            <a:extLst>
              <a:ext uri="{FF2B5EF4-FFF2-40B4-BE49-F238E27FC236}">
                <a16:creationId xmlns:a16="http://schemas.microsoft.com/office/drawing/2014/main" id="{C7E168AF-F329-46C5-775E-36BB868224B2}"/>
              </a:ext>
            </a:extLst>
          </p:cNvPr>
          <p:cNvCxnSpPr>
            <a:cxnSpLocks/>
          </p:cNvCxnSpPr>
          <p:nvPr/>
        </p:nvCxnSpPr>
        <p:spPr>
          <a:xfrm>
            <a:off x="1155297" y="4692881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타원 224">
            <a:extLst>
              <a:ext uri="{FF2B5EF4-FFF2-40B4-BE49-F238E27FC236}">
                <a16:creationId xmlns:a16="http://schemas.microsoft.com/office/drawing/2014/main" id="{48558AA8-6D50-7896-D482-1E1C6D999992}"/>
              </a:ext>
            </a:extLst>
          </p:cNvPr>
          <p:cNvSpPr/>
          <p:nvPr/>
        </p:nvSpPr>
        <p:spPr>
          <a:xfrm>
            <a:off x="866411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0.7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26" name="직선 화살표 연결선 225">
            <a:extLst>
              <a:ext uri="{FF2B5EF4-FFF2-40B4-BE49-F238E27FC236}">
                <a16:creationId xmlns:a16="http://schemas.microsoft.com/office/drawing/2014/main" id="{478570C4-B22C-5E4C-DBCF-8218419B9E06}"/>
              </a:ext>
            </a:extLst>
          </p:cNvPr>
          <p:cNvCxnSpPr>
            <a:cxnSpLocks/>
          </p:cNvCxnSpPr>
          <p:nvPr/>
        </p:nvCxnSpPr>
        <p:spPr>
          <a:xfrm>
            <a:off x="2190749" y="4689706"/>
            <a:ext cx="0" cy="360000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타원 226">
            <a:extLst>
              <a:ext uri="{FF2B5EF4-FFF2-40B4-BE49-F238E27FC236}">
                <a16:creationId xmlns:a16="http://schemas.microsoft.com/office/drawing/2014/main" id="{06860E3E-6F10-E7F4-9250-A7169FA3B0E8}"/>
              </a:ext>
            </a:extLst>
          </p:cNvPr>
          <p:cNvSpPr/>
          <p:nvPr/>
        </p:nvSpPr>
        <p:spPr>
          <a:xfrm>
            <a:off x="1905206" y="480298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2.1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0" name="모서리가 둥근 직사각형 167">
            <a:extLst>
              <a:ext uri="{FF2B5EF4-FFF2-40B4-BE49-F238E27FC236}">
                <a16:creationId xmlns:a16="http://schemas.microsoft.com/office/drawing/2014/main" id="{8C652F34-1052-E905-3F13-4712B1F251BC}"/>
              </a:ext>
            </a:extLst>
          </p:cNvPr>
          <p:cNvSpPr/>
          <p:nvPr/>
        </p:nvSpPr>
        <p:spPr>
          <a:xfrm>
            <a:off x="7530497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키링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51" name="직선 화살표 연결선 250">
            <a:extLst>
              <a:ext uri="{FF2B5EF4-FFF2-40B4-BE49-F238E27FC236}">
                <a16:creationId xmlns:a16="http://schemas.microsoft.com/office/drawing/2014/main" id="{ED919B01-AF86-32EA-94C3-B77AB1E5DA07}"/>
              </a:ext>
            </a:extLst>
          </p:cNvPr>
          <p:cNvCxnSpPr>
            <a:cxnSpLocks/>
          </p:cNvCxnSpPr>
          <p:nvPr/>
        </p:nvCxnSpPr>
        <p:spPr>
          <a:xfrm>
            <a:off x="8034497" y="3755528"/>
            <a:ext cx="0" cy="48387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타원 247">
            <a:extLst>
              <a:ext uri="{FF2B5EF4-FFF2-40B4-BE49-F238E27FC236}">
                <a16:creationId xmlns:a16="http://schemas.microsoft.com/office/drawing/2014/main" id="{86B8CE38-0C70-46F0-CB03-63B3AAACA0CC}"/>
              </a:ext>
            </a:extLst>
          </p:cNvPr>
          <p:cNvSpPr/>
          <p:nvPr/>
        </p:nvSpPr>
        <p:spPr>
          <a:xfrm>
            <a:off x="7759997" y="3966509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5.5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53" name="직선 화살표 연결선 252">
            <a:extLst>
              <a:ext uri="{FF2B5EF4-FFF2-40B4-BE49-F238E27FC236}">
                <a16:creationId xmlns:a16="http://schemas.microsoft.com/office/drawing/2014/main" id="{3CEA3026-A1AF-A3F1-E5E6-0AEB8F6B0CCC}"/>
              </a:ext>
            </a:extLst>
          </p:cNvPr>
          <p:cNvCxnSpPr>
            <a:cxnSpLocks/>
          </p:cNvCxnSpPr>
          <p:nvPr/>
        </p:nvCxnSpPr>
        <p:spPr>
          <a:xfrm flipH="1">
            <a:off x="7186479" y="3755528"/>
            <a:ext cx="379009" cy="43447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타원 249">
            <a:extLst>
              <a:ext uri="{FF2B5EF4-FFF2-40B4-BE49-F238E27FC236}">
                <a16:creationId xmlns:a16="http://schemas.microsoft.com/office/drawing/2014/main" id="{9A89BA6D-D48E-A7B8-0787-93A6CC5A0EB5}"/>
              </a:ext>
            </a:extLst>
          </p:cNvPr>
          <p:cNvSpPr/>
          <p:nvPr/>
        </p:nvSpPr>
        <p:spPr>
          <a:xfrm>
            <a:off x="7321970" y="3788431"/>
            <a:ext cx="468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55" name="직선 화살표 연결선 254">
            <a:extLst>
              <a:ext uri="{FF2B5EF4-FFF2-40B4-BE49-F238E27FC236}">
                <a16:creationId xmlns:a16="http://schemas.microsoft.com/office/drawing/2014/main" id="{548F11B7-CECC-B68C-AC33-10617E52B75D}"/>
              </a:ext>
            </a:extLst>
          </p:cNvPr>
          <p:cNvCxnSpPr>
            <a:cxnSpLocks/>
          </p:cNvCxnSpPr>
          <p:nvPr/>
        </p:nvCxnSpPr>
        <p:spPr>
          <a:xfrm>
            <a:off x="7054850" y="3757218"/>
            <a:ext cx="0" cy="43278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타원 248">
            <a:extLst>
              <a:ext uri="{FF2B5EF4-FFF2-40B4-BE49-F238E27FC236}">
                <a16:creationId xmlns:a16="http://schemas.microsoft.com/office/drawing/2014/main" id="{9813AE1A-B368-075F-63A4-743FF00C59FF}"/>
              </a:ext>
            </a:extLst>
          </p:cNvPr>
          <p:cNvSpPr/>
          <p:nvPr/>
        </p:nvSpPr>
        <p:spPr>
          <a:xfrm>
            <a:off x="6829942" y="3784300"/>
            <a:ext cx="468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72" name="직선 화살표 연결선 271">
            <a:extLst>
              <a:ext uri="{FF2B5EF4-FFF2-40B4-BE49-F238E27FC236}">
                <a16:creationId xmlns:a16="http://schemas.microsoft.com/office/drawing/2014/main" id="{4E38C5B3-72C4-9FF1-16DB-8A368EA64457}"/>
              </a:ext>
            </a:extLst>
          </p:cNvPr>
          <p:cNvCxnSpPr>
            <a:cxnSpLocks/>
          </p:cNvCxnSpPr>
          <p:nvPr/>
        </p:nvCxnSpPr>
        <p:spPr>
          <a:xfrm>
            <a:off x="722893" y="4568886"/>
            <a:ext cx="0" cy="48387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타원 232">
            <a:extLst>
              <a:ext uri="{FF2B5EF4-FFF2-40B4-BE49-F238E27FC236}">
                <a16:creationId xmlns:a16="http://schemas.microsoft.com/office/drawing/2014/main" id="{82109AF7-BE1B-7DED-CA20-1FA8053F8244}"/>
              </a:ext>
            </a:extLst>
          </p:cNvPr>
          <p:cNvSpPr/>
          <p:nvPr/>
        </p:nvSpPr>
        <p:spPr>
          <a:xfrm>
            <a:off x="470893" y="465898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.5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73" name="직선 화살표 연결선 272">
            <a:extLst>
              <a:ext uri="{FF2B5EF4-FFF2-40B4-BE49-F238E27FC236}">
                <a16:creationId xmlns:a16="http://schemas.microsoft.com/office/drawing/2014/main" id="{FCCC3AAC-2E37-D946-AB3D-D82D04C9D2C3}"/>
              </a:ext>
            </a:extLst>
          </p:cNvPr>
          <p:cNvCxnSpPr>
            <a:cxnSpLocks/>
          </p:cNvCxnSpPr>
          <p:nvPr/>
        </p:nvCxnSpPr>
        <p:spPr>
          <a:xfrm>
            <a:off x="3195107" y="5512755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직선 화살표 연결선 273">
            <a:extLst>
              <a:ext uri="{FF2B5EF4-FFF2-40B4-BE49-F238E27FC236}">
                <a16:creationId xmlns:a16="http://schemas.microsoft.com/office/drawing/2014/main" id="{6D546895-8964-DB83-A4E7-7283680F926D}"/>
              </a:ext>
            </a:extLst>
          </p:cNvPr>
          <p:cNvCxnSpPr>
            <a:cxnSpLocks/>
          </p:cNvCxnSpPr>
          <p:nvPr/>
        </p:nvCxnSpPr>
        <p:spPr>
          <a:xfrm>
            <a:off x="2164297" y="5424679"/>
            <a:ext cx="0" cy="324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직선 화살표 연결선 276">
            <a:extLst>
              <a:ext uri="{FF2B5EF4-FFF2-40B4-BE49-F238E27FC236}">
                <a16:creationId xmlns:a16="http://schemas.microsoft.com/office/drawing/2014/main" id="{EBAE7D6F-CF7F-52C5-F48F-500EB8743537}"/>
              </a:ext>
            </a:extLst>
          </p:cNvPr>
          <p:cNvCxnSpPr>
            <a:cxnSpLocks/>
          </p:cNvCxnSpPr>
          <p:nvPr/>
        </p:nvCxnSpPr>
        <p:spPr>
          <a:xfrm>
            <a:off x="1133982" y="5515931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직선 화살표 연결선 280">
            <a:extLst>
              <a:ext uri="{FF2B5EF4-FFF2-40B4-BE49-F238E27FC236}">
                <a16:creationId xmlns:a16="http://schemas.microsoft.com/office/drawing/2014/main" id="{D8D087AA-CD47-B26B-5DD8-FC099AB0034D}"/>
              </a:ext>
            </a:extLst>
          </p:cNvPr>
          <p:cNvCxnSpPr>
            <a:cxnSpLocks/>
          </p:cNvCxnSpPr>
          <p:nvPr/>
        </p:nvCxnSpPr>
        <p:spPr>
          <a:xfrm>
            <a:off x="1133982" y="5512756"/>
            <a:ext cx="2061125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" name="모서리가 둥근 직사각형 167">
            <a:extLst>
              <a:ext uri="{FF2B5EF4-FFF2-40B4-BE49-F238E27FC236}">
                <a16:creationId xmlns:a16="http://schemas.microsoft.com/office/drawing/2014/main" id="{FCC95761-815F-1E36-D711-189C1DE0F3D6}"/>
              </a:ext>
            </a:extLst>
          </p:cNvPr>
          <p:cNvSpPr/>
          <p:nvPr/>
        </p:nvSpPr>
        <p:spPr>
          <a:xfrm>
            <a:off x="1712188" y="5716049"/>
            <a:ext cx="900000" cy="252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메타버스</a:t>
            </a:r>
            <a:br>
              <a:rPr kumimoji="0" lang="en-US" altLang="ko-KR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터테인먼트㈜</a:t>
            </a:r>
          </a:p>
        </p:txBody>
      </p:sp>
      <p:sp>
        <p:nvSpPr>
          <p:cNvPr id="288" name="모서리가 둥근 직사각형 167">
            <a:extLst>
              <a:ext uri="{FF2B5EF4-FFF2-40B4-BE49-F238E27FC236}">
                <a16:creationId xmlns:a16="http://schemas.microsoft.com/office/drawing/2014/main" id="{1692809F-29D2-AA83-FE72-9CB506B6CA9B}"/>
              </a:ext>
            </a:extLst>
          </p:cNvPr>
          <p:cNvSpPr/>
          <p:nvPr/>
        </p:nvSpPr>
        <p:spPr>
          <a:xfrm>
            <a:off x="2735193" y="5716049"/>
            <a:ext cx="900000" cy="252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메타버스월드㈜</a:t>
            </a:r>
          </a:p>
        </p:txBody>
      </p:sp>
      <p:sp>
        <p:nvSpPr>
          <p:cNvPr id="289" name="모서리가 둥근 직사각형 167">
            <a:extLst>
              <a:ext uri="{FF2B5EF4-FFF2-40B4-BE49-F238E27FC236}">
                <a16:creationId xmlns:a16="http://schemas.microsoft.com/office/drawing/2014/main" id="{06E8D24A-9E5C-33D0-413A-FE36ECF6B75B}"/>
              </a:ext>
            </a:extLst>
          </p:cNvPr>
          <p:cNvSpPr/>
          <p:nvPr/>
        </p:nvSpPr>
        <p:spPr>
          <a:xfrm>
            <a:off x="691292" y="5716049"/>
            <a:ext cx="900000" cy="252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튜디오그리고</a:t>
            </a:r>
            <a:r>
              <a:rPr lang="ko-KR" altLang="en-US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1" name="타원 300">
            <a:extLst>
              <a:ext uri="{FF2B5EF4-FFF2-40B4-BE49-F238E27FC236}">
                <a16:creationId xmlns:a16="http://schemas.microsoft.com/office/drawing/2014/main" id="{E22F614F-84C5-B39B-6210-EBC23096716A}"/>
              </a:ext>
            </a:extLst>
          </p:cNvPr>
          <p:cNvSpPr/>
          <p:nvPr/>
        </p:nvSpPr>
        <p:spPr>
          <a:xfrm>
            <a:off x="915806" y="553472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2" name="타원 301">
            <a:extLst>
              <a:ext uri="{FF2B5EF4-FFF2-40B4-BE49-F238E27FC236}">
                <a16:creationId xmlns:a16="http://schemas.microsoft.com/office/drawing/2014/main" id="{42881153-89F8-BA08-5E14-A39E2C7D3A27}"/>
              </a:ext>
            </a:extLst>
          </p:cNvPr>
          <p:cNvSpPr/>
          <p:nvPr/>
        </p:nvSpPr>
        <p:spPr>
          <a:xfrm>
            <a:off x="1923904" y="5534721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9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3" name="타원 302">
            <a:extLst>
              <a:ext uri="{FF2B5EF4-FFF2-40B4-BE49-F238E27FC236}">
                <a16:creationId xmlns:a16="http://schemas.microsoft.com/office/drawing/2014/main" id="{02CCBD88-71DA-CE49-A56F-A721EFE98184}"/>
              </a:ext>
            </a:extLst>
          </p:cNvPr>
          <p:cNvSpPr/>
          <p:nvPr/>
        </p:nvSpPr>
        <p:spPr>
          <a:xfrm>
            <a:off x="2942612" y="5538437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1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04" name="직선 화살표 연결선 303">
            <a:extLst>
              <a:ext uri="{FF2B5EF4-FFF2-40B4-BE49-F238E27FC236}">
                <a16:creationId xmlns:a16="http://schemas.microsoft.com/office/drawing/2014/main" id="{DA76FFD2-438C-AA89-0730-D74A6C47E87B}"/>
              </a:ext>
            </a:extLst>
          </p:cNvPr>
          <p:cNvCxnSpPr>
            <a:cxnSpLocks/>
          </p:cNvCxnSpPr>
          <p:nvPr/>
        </p:nvCxnSpPr>
        <p:spPr>
          <a:xfrm>
            <a:off x="6865508" y="5512755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직선 화살표 연결선 304">
            <a:extLst>
              <a:ext uri="{FF2B5EF4-FFF2-40B4-BE49-F238E27FC236}">
                <a16:creationId xmlns:a16="http://schemas.microsoft.com/office/drawing/2014/main" id="{5FF99512-49ED-FE70-CBCD-A73890E79A9B}"/>
              </a:ext>
            </a:extLst>
          </p:cNvPr>
          <p:cNvCxnSpPr>
            <a:cxnSpLocks/>
          </p:cNvCxnSpPr>
          <p:nvPr/>
        </p:nvCxnSpPr>
        <p:spPr>
          <a:xfrm>
            <a:off x="5837693" y="5515931"/>
            <a:ext cx="0" cy="25200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직선 화살표 연결선 305">
            <a:extLst>
              <a:ext uri="{FF2B5EF4-FFF2-40B4-BE49-F238E27FC236}">
                <a16:creationId xmlns:a16="http://schemas.microsoft.com/office/drawing/2014/main" id="{8861AA63-858E-CE53-80BE-2CB671CF91AD}"/>
              </a:ext>
            </a:extLst>
          </p:cNvPr>
          <p:cNvCxnSpPr>
            <a:cxnSpLocks/>
          </p:cNvCxnSpPr>
          <p:nvPr/>
        </p:nvCxnSpPr>
        <p:spPr>
          <a:xfrm>
            <a:off x="5837693" y="5512756"/>
            <a:ext cx="1027815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모서리가 둥근 직사각형 167">
            <a:extLst>
              <a:ext uri="{FF2B5EF4-FFF2-40B4-BE49-F238E27FC236}">
                <a16:creationId xmlns:a16="http://schemas.microsoft.com/office/drawing/2014/main" id="{305D4EF4-8F51-C36F-7476-7D4F81D32693}"/>
              </a:ext>
            </a:extLst>
          </p:cNvPr>
          <p:cNvSpPr/>
          <p:nvPr/>
        </p:nvSpPr>
        <p:spPr>
          <a:xfrm>
            <a:off x="5382589" y="5716049"/>
            <a:ext cx="900000" cy="252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오베드</a:t>
            </a:r>
            <a:endParaRPr kumimoji="0" lang="ko-KR" altLang="en-US" sz="8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08" name="모서리가 둥근 직사각형 167">
            <a:extLst>
              <a:ext uri="{FF2B5EF4-FFF2-40B4-BE49-F238E27FC236}">
                <a16:creationId xmlns:a16="http://schemas.microsoft.com/office/drawing/2014/main" id="{E9F449D8-7C51-9CBC-FAAB-3C8167CD9CB1}"/>
              </a:ext>
            </a:extLst>
          </p:cNvPr>
          <p:cNvSpPr/>
          <p:nvPr/>
        </p:nvSpPr>
        <p:spPr>
          <a:xfrm>
            <a:off x="6405594" y="5716049"/>
            <a:ext cx="900000" cy="252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엔텍</a:t>
            </a: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311" name="타원 310">
            <a:extLst>
              <a:ext uri="{FF2B5EF4-FFF2-40B4-BE49-F238E27FC236}">
                <a16:creationId xmlns:a16="http://schemas.microsoft.com/office/drawing/2014/main" id="{C51F57ED-566E-56F0-5ECD-81E7F31AA111}"/>
              </a:ext>
            </a:extLst>
          </p:cNvPr>
          <p:cNvSpPr/>
          <p:nvPr/>
        </p:nvSpPr>
        <p:spPr>
          <a:xfrm>
            <a:off x="5594305" y="555393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2" name="타원 311">
            <a:extLst>
              <a:ext uri="{FF2B5EF4-FFF2-40B4-BE49-F238E27FC236}">
                <a16:creationId xmlns:a16="http://schemas.microsoft.com/office/drawing/2014/main" id="{B58162F4-DD33-8FA6-745A-C9215FDFC0EC}"/>
              </a:ext>
            </a:extLst>
          </p:cNvPr>
          <p:cNvSpPr/>
          <p:nvPr/>
        </p:nvSpPr>
        <p:spPr>
          <a:xfrm>
            <a:off x="6613013" y="555393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14" name="직선 화살표 연결선 313">
            <a:extLst>
              <a:ext uri="{FF2B5EF4-FFF2-40B4-BE49-F238E27FC236}">
                <a16:creationId xmlns:a16="http://schemas.microsoft.com/office/drawing/2014/main" id="{495EF7FE-D6CA-C4C0-82B4-323C7DE92FA0}"/>
              </a:ext>
            </a:extLst>
          </p:cNvPr>
          <p:cNvCxnSpPr>
            <a:cxnSpLocks/>
          </p:cNvCxnSpPr>
          <p:nvPr/>
        </p:nvCxnSpPr>
        <p:spPr>
          <a:xfrm>
            <a:off x="6346481" y="5424679"/>
            <a:ext cx="0" cy="88076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직선 화살표 연결선 316">
            <a:extLst>
              <a:ext uri="{FF2B5EF4-FFF2-40B4-BE49-F238E27FC236}">
                <a16:creationId xmlns:a16="http://schemas.microsoft.com/office/drawing/2014/main" id="{068E650E-A8FF-58C5-1769-1D87BD1E6DC8}"/>
              </a:ext>
            </a:extLst>
          </p:cNvPr>
          <p:cNvCxnSpPr>
            <a:cxnSpLocks/>
          </p:cNvCxnSpPr>
          <p:nvPr/>
        </p:nvCxnSpPr>
        <p:spPr>
          <a:xfrm flipV="1">
            <a:off x="7295343" y="5744320"/>
            <a:ext cx="1072529" cy="9768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타원 317">
            <a:extLst>
              <a:ext uri="{FF2B5EF4-FFF2-40B4-BE49-F238E27FC236}">
                <a16:creationId xmlns:a16="http://schemas.microsoft.com/office/drawing/2014/main" id="{B88B0549-AA12-04DC-0B71-99BAEFE94B39}"/>
              </a:ext>
            </a:extLst>
          </p:cNvPr>
          <p:cNvSpPr/>
          <p:nvPr/>
        </p:nvSpPr>
        <p:spPr>
          <a:xfrm>
            <a:off x="7496797" y="5687772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20" name="직선 화살표 연결선 319">
            <a:extLst>
              <a:ext uri="{FF2B5EF4-FFF2-40B4-BE49-F238E27FC236}">
                <a16:creationId xmlns:a16="http://schemas.microsoft.com/office/drawing/2014/main" id="{F3E3A88E-E1BD-7B1D-953B-6E345D2665FB}"/>
              </a:ext>
            </a:extLst>
          </p:cNvPr>
          <p:cNvCxnSpPr>
            <a:cxnSpLocks/>
          </p:cNvCxnSpPr>
          <p:nvPr/>
        </p:nvCxnSpPr>
        <p:spPr>
          <a:xfrm flipV="1">
            <a:off x="7302015" y="5925088"/>
            <a:ext cx="1072529" cy="9768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타원 320">
            <a:extLst>
              <a:ext uri="{FF2B5EF4-FFF2-40B4-BE49-F238E27FC236}">
                <a16:creationId xmlns:a16="http://schemas.microsoft.com/office/drawing/2014/main" id="{04046CE8-082C-3346-D383-014BCAE93E5D}"/>
              </a:ext>
            </a:extLst>
          </p:cNvPr>
          <p:cNvSpPr/>
          <p:nvPr/>
        </p:nvSpPr>
        <p:spPr>
          <a:xfrm>
            <a:off x="7496797" y="5857039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2" name="모서리가 둥근 직사각형 167">
            <a:extLst>
              <a:ext uri="{FF2B5EF4-FFF2-40B4-BE49-F238E27FC236}">
                <a16:creationId xmlns:a16="http://schemas.microsoft.com/office/drawing/2014/main" id="{02C91A1A-4B4E-92DF-8FFF-DECF151FE38C}"/>
              </a:ext>
            </a:extLst>
          </p:cNvPr>
          <p:cNvSpPr/>
          <p:nvPr/>
        </p:nvSpPr>
        <p:spPr>
          <a:xfrm>
            <a:off x="8376500" y="5659878"/>
            <a:ext cx="900000" cy="1688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추홀맑은물</a:t>
            </a: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323" name="모서리가 둥근 직사각형 167">
            <a:extLst>
              <a:ext uri="{FF2B5EF4-FFF2-40B4-BE49-F238E27FC236}">
                <a16:creationId xmlns:a16="http://schemas.microsoft.com/office/drawing/2014/main" id="{E544DB12-B528-0FEC-97AE-1B59BA7A4D1B}"/>
              </a:ext>
            </a:extLst>
          </p:cNvPr>
          <p:cNvSpPr/>
          <p:nvPr/>
        </p:nvSpPr>
        <p:spPr>
          <a:xfrm>
            <a:off x="8376500" y="5848649"/>
            <a:ext cx="900000" cy="1688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천맑은물</a:t>
            </a:r>
            <a:r>
              <a:rPr kumimoji="0" lang="ko-KR" altLang="en-US" sz="8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4F697274-FBDA-5F8C-922E-1FDF88D73344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1698B8D3-7E96-82EB-A34F-25CA50F4CF14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F67C44AB-8667-37FC-0B88-B08EB0BCDF9F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" name="모서리가 둥근 직사각형 167">
            <a:extLst>
              <a:ext uri="{FF2B5EF4-FFF2-40B4-BE49-F238E27FC236}">
                <a16:creationId xmlns:a16="http://schemas.microsoft.com/office/drawing/2014/main" id="{C54BC3E9-931A-FD0F-6383-08137FFB2ADA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" name="모서리가 둥근 직사각형 167">
            <a:extLst>
              <a:ext uri="{FF2B5EF4-FFF2-40B4-BE49-F238E27FC236}">
                <a16:creationId xmlns:a16="http://schemas.microsoft.com/office/drawing/2014/main" id="{4C56F45F-368D-598B-ABB4-069ECBFE2DB0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20" name="모서리가 둥근 직사각형 167">
            <a:extLst>
              <a:ext uri="{FF2B5EF4-FFF2-40B4-BE49-F238E27FC236}">
                <a16:creationId xmlns:a16="http://schemas.microsoft.com/office/drawing/2014/main" id="{7E6066B7-034F-A9C6-EAB7-E3577A85581A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1" name="모서리가 둥근 직사각형 167">
            <a:extLst>
              <a:ext uri="{FF2B5EF4-FFF2-40B4-BE49-F238E27FC236}">
                <a16:creationId xmlns:a16="http://schemas.microsoft.com/office/drawing/2014/main" id="{42D86E22-6446-0566-01DC-356FA0776CD1}"/>
              </a:ext>
            </a:extLst>
          </p:cNvPr>
          <p:cNvSpPr/>
          <p:nvPr/>
        </p:nvSpPr>
        <p:spPr>
          <a:xfrm>
            <a:off x="8293213" y="193336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BE1457C8-B6F1-8726-5109-70F93369B326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3" name="모서리가 둥근 직사각형 167">
            <a:extLst>
              <a:ext uri="{FF2B5EF4-FFF2-40B4-BE49-F238E27FC236}">
                <a16:creationId xmlns:a16="http://schemas.microsoft.com/office/drawing/2014/main" id="{1BF44B83-3CE5-ABE9-D7B9-310B78A3DA03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5" name="모서리가 둥근 직사각형 167">
            <a:extLst>
              <a:ext uri="{FF2B5EF4-FFF2-40B4-BE49-F238E27FC236}">
                <a16:creationId xmlns:a16="http://schemas.microsoft.com/office/drawing/2014/main" id="{877AAC0C-EB3E-9987-DB2D-5AAB74641A0F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4" name="모서리가 둥근 직사각형 167">
            <a:extLst>
              <a:ext uri="{FF2B5EF4-FFF2-40B4-BE49-F238E27FC236}">
                <a16:creationId xmlns:a16="http://schemas.microsoft.com/office/drawing/2014/main" id="{A3D47457-4FFF-0BB4-7566-237F1414D8AF}"/>
              </a:ext>
            </a:extLst>
          </p:cNvPr>
          <p:cNvSpPr/>
          <p:nvPr/>
        </p:nvSpPr>
        <p:spPr>
          <a:xfrm>
            <a:off x="647425" y="4254373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㈜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디어웹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0301540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3663580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4759621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1C302E7-CEAA-D6D3-CD63-F148C2B630CC}"/>
              </a:ext>
            </a:extLst>
          </p:cNvPr>
          <p:cNvSpPr txBox="1"/>
          <p:nvPr/>
        </p:nvSpPr>
        <p:spPr>
          <a:xfrm>
            <a:off x="2596231" y="5074457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바일게임과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C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게임 공급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표적인 게임으로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두의마블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븐나이츠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니지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레볼루션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나라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마구마구 등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흥행작의 상당수가 다른 회사의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P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활용해 만든 게임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으로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비용 중 지급수수료 비중이 높음</a:t>
            </a: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로나 국면이 지나가면서 </a:t>
            </a:r>
            <a:r>
              <a:rPr lang="ko-KR" altLang="en-US" sz="900" b="1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대면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게임 수요가 높아지는 반사이익 끝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작 부재와 기존 게임의 매출 하향화로 인해 부진한 성적을 기록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난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부터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연속으로 영업 적자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이어지고 있으며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‘2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매출은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전년 동기 대비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.7%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소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1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ko-KR" altLang="en-US" sz="900" b="1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핀엑스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수로 외화부채 부담 가중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약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,000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난해 신용등급이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+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강등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익성 하락으로 등급 하락 압력 지속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둔화로 영업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금창출력이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약화된 가운데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기도래 차입부채 多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2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전체 매출 대비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2.1%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해당하는 금액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8,580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&amp;D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투자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에도 신작게임에 대한 투자와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I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술 관련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&amp;D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적극적으로 투자할 계획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8A38C010-FE00-0BDA-8D12-FA3311244974}"/>
              </a:ext>
            </a:extLst>
          </p:cNvPr>
          <p:cNvCxnSpPr>
            <a:cxnSpLocks/>
          </p:cNvCxnSpPr>
          <p:nvPr/>
        </p:nvCxnSpPr>
        <p:spPr>
          <a:xfrm>
            <a:off x="594360" y="5288511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39BF0244-74F3-9B9A-3ABF-C3FB42753F2A}"/>
              </a:ext>
            </a:extLst>
          </p:cNvPr>
          <p:cNvCxnSpPr/>
          <p:nvPr/>
        </p:nvCxnSpPr>
        <p:spPr>
          <a:xfrm>
            <a:off x="4811209" y="5288511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20950" y="1707465"/>
            <a:ext cx="68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6146" name="Picture 2" descr="게임뷰 모바일 사이트, 꼼꼼하게 비상을 준비한 넷마블, 2022년 상반기 글로벌 흥행 속도 더한다">
            <a:extLst>
              <a:ext uri="{FF2B5EF4-FFF2-40B4-BE49-F238E27FC236}">
                <a16:creationId xmlns:a16="http://schemas.microsoft.com/office/drawing/2014/main" id="{A761CE3D-3F07-88B4-6F3D-860EC4DB96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5" t="8346" r="22134" b="9816"/>
          <a:stretch/>
        </p:blipFill>
        <p:spPr bwMode="auto">
          <a:xfrm>
            <a:off x="594360" y="1939172"/>
            <a:ext cx="1505058" cy="1309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C46AD7-7780-8474-AE28-6909FF4372CC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170968DC-E8B0-B6F0-9F64-C2B9A40379CB}"/>
              </a:ext>
            </a:extLst>
          </p:cNvPr>
          <p:cNvSpPr/>
          <p:nvPr/>
        </p:nvSpPr>
        <p:spPr>
          <a:xfrm>
            <a:off x="9983979" y="0"/>
            <a:ext cx="2551413" cy="1188940"/>
          </a:xfrm>
          <a:prstGeom prst="rect">
            <a:avLst/>
          </a:prstGeom>
          <a:solidFill>
            <a:srgbClr val="76D2F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률 추이에 매출액도 추가 부탁드립니다</a:t>
            </a:r>
            <a:r>
              <a:rPr lang="en-US" altLang="ko-KR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</a:p>
          <a:p>
            <a:pPr algn="ctr"/>
            <a:r>
              <a:rPr lang="ko-KR" altLang="en-US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에 한해서 </a:t>
            </a:r>
            <a:r>
              <a:rPr lang="ko-KR" altLang="en-US" sz="1000" b="1" err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금및현금성자산</a:t>
            </a:r>
            <a:r>
              <a:rPr lang="ko-KR" altLang="en-US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뿐 아니라</a:t>
            </a:r>
            <a:r>
              <a:rPr lang="en-US" altLang="ko-KR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기금융상품</a:t>
            </a:r>
            <a:r>
              <a:rPr lang="en-US" altLang="ko-KR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FVPL</a:t>
            </a:r>
            <a:r>
              <a:rPr lang="ko-KR" altLang="en-US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자산 추가해서 분석하는 건 어떨까요</a:t>
            </a:r>
            <a:r>
              <a:rPr lang="en-US" altLang="ko-KR" sz="1000" b="1">
                <a:solidFill>
                  <a:schemeClr val="tx1"/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</a:t>
            </a:r>
            <a:br>
              <a:rPr lang="en-US" altLang="ko-KR" sz="1000" b="1">
                <a:solidFill>
                  <a:schemeClr val="tx1"/>
                </a:solidFill>
                <a:highlight>
                  <a:srgbClr val="FFCCCC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chemeClr val="tx1"/>
                </a:solidFill>
                <a:highlight>
                  <a:srgbClr val="FFCCCC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&gt;&gt; </a:t>
            </a:r>
            <a:r>
              <a:rPr lang="ko-KR" altLang="en-US" sz="1000" b="1">
                <a:solidFill>
                  <a:schemeClr val="tx1"/>
                </a:solidFill>
                <a:highlight>
                  <a:srgbClr val="FFCCCC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합쳐서 혹은 구분인지 여쭤보기</a:t>
            </a:r>
            <a:endParaRPr lang="en-US" altLang="ko-KR" sz="1000" b="1">
              <a:solidFill>
                <a:schemeClr val="tx1"/>
              </a:solidFill>
              <a:highlight>
                <a:srgbClr val="FFCCCC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0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참고 </a:t>
            </a:r>
            <a:r>
              <a:rPr lang="en-US" altLang="ko-KR" sz="10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sz="1000" err="1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더벨</a:t>
            </a:r>
            <a:r>
              <a:rPr lang="ko-KR" altLang="en-US" sz="10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altLang="ko-KR" sz="10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 </a:t>
            </a:r>
            <a:r>
              <a:rPr lang="ko-KR" altLang="en-US" sz="10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국내 최고 자본시장</a:t>
            </a:r>
            <a:r>
              <a:rPr lang="en-US" altLang="ko-KR" sz="10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Capital Markets) </a:t>
            </a:r>
            <a:r>
              <a:rPr lang="ko-KR" altLang="en-US" sz="10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미디어 </a:t>
            </a:r>
            <a:r>
              <a:rPr lang="en-US" altLang="ko-KR" sz="100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thebell.co.kr)</a:t>
            </a:r>
            <a:endParaRPr lang="ko-KR" altLang="en-US" sz="10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B7DFB6DE-C291-0FF1-D9A6-41A9158528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8243557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F830FFD-7844-E2DA-0E45-A7B3975E7908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009792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7320598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2805521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수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기청정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데 등 환경 가전을 생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매하는 전문 기업 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국내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털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계정수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8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보유한 기업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근 의류청정기</a:t>
            </a:r>
            <a:r>
              <a:rPr kumimoji="1"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기레인지 등으로 </a:t>
            </a:r>
            <a:r>
              <a:rPr kumimoji="1"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탈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제품군을 확대하는 중이며</a:t>
            </a:r>
            <a:r>
              <a:rPr kumimoji="1"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외매출비중도 높아지고 있음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해외법인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매출은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19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전년보다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.4%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b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외법인의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출이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최대 실적을 </a:t>
            </a:r>
            <a:r>
              <a:rPr lang="ko-KR" altLang="en-US" sz="900" b="1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견인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탈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가격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%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상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규 제품 라인업에 대한 고객의 긍정적 반응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외 법인의 고성장 등 최근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의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업황 긍정적</a:t>
            </a:r>
            <a:endParaRPr kumimoji="1" lang="ko-KR" altLang="en-US" sz="9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의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해외법인 총 출자 규모는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6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2021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81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202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5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등으로 매년 증가</a:t>
            </a:r>
            <a:b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성과가 나오는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~1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베트남과 말레이시아에 투자를 계속 이어갈 계획</a:t>
            </a:r>
            <a:b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과 일본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럽 등의 법인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렌탈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을 위해 준비하는 단계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합작사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힐러비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출범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만에 정부규제와 경영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악화 자금수혈을 받아야 하는 상황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자금유출 가능성 有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422879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20950" y="1707465"/>
            <a:ext cx="68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15315" y="343125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8194" name="Picture 2" descr="코웨이 - 나무위키">
            <a:extLst>
              <a:ext uri="{FF2B5EF4-FFF2-40B4-BE49-F238E27FC236}">
                <a16:creationId xmlns:a16="http://schemas.microsoft.com/office/drawing/2014/main" id="{A7809B95-EA6A-4538-CEF2-0B4DBC337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14" y="2427483"/>
            <a:ext cx="1485936" cy="34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24F69E-BB69-EB28-CE2D-01EC49921B86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27EAD5C1-3316-7D86-D39D-EB5648764F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5709833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15BE4D8-B032-EBF8-CC64-CA74CF0D59A1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381324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 err="1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엠디엠그룹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9161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kumimoji="0" lang="ko-K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자금조달 필요성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CEA1077C-39CF-01D5-BF60-FBBBD40ACDFB}"/>
              </a:ext>
            </a:extLst>
          </p:cNvPr>
          <p:cNvSpPr/>
          <p:nvPr/>
        </p:nvSpPr>
        <p:spPr>
          <a:xfrm>
            <a:off x="488950" y="1724907"/>
            <a:ext cx="826503" cy="2563851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551998E-0BF2-97B1-777E-3745978E4215}"/>
              </a:ext>
            </a:extLst>
          </p:cNvPr>
          <p:cNvSpPr/>
          <p:nvPr/>
        </p:nvSpPr>
        <p:spPr>
          <a:xfrm>
            <a:off x="1379622" y="1724907"/>
            <a:ext cx="5111572" cy="2563851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사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AK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식담보대출받아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자회사 자금 지원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4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종속회사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 S&amp;D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유상증자 출자금 마련을 위해 제주항공 보유지분을 담보로 활용</a:t>
            </a:r>
            <a:endParaRPr lang="en-US" altLang="ko-KR" sz="10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AK S&amp;D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는 애경그룹의 </a:t>
            </a:r>
            <a:r>
              <a:rPr kumimoji="0" lang="ko-KR" altLang="en-US" sz="10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유통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계열사로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AK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플라자 수원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·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분당</a:t>
            </a:r>
            <a: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등을 운영 중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수년째 실적 악화</a:t>
            </a:r>
            <a:endParaRPr lang="en-US" altLang="ko-KR" sz="10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 S&amp;D</a:t>
            </a:r>
            <a:r>
              <a:rPr lang="ko-KR" altLang="en-US" sz="10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는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4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월 유상증자를 단행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AK</a:t>
            </a:r>
            <a:r>
              <a:rPr kumimoji="0" lang="ko-KR" altLang="en-US" sz="1000" b="1" i="0" u="sng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홀딩스로부터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790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애경자산관리로부터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10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씩 총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1000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 규모의 자금 수혈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을 받았다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. 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라자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상증자로 나아질까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··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 전망 ‘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캄캄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4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유증 및 감자 통한 재무구조 개선 효과는 제한적일 것으로 예상</a:t>
            </a:r>
            <a:br>
              <a:rPr kumimoji="0" lang="en-US" altLang="ko-KR" sz="10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한국기업평가는 </a:t>
            </a: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"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미흡한 재무구조로 계열로부터의 유상증자에도 재무 개선 수준은 크지 않을 것</a:t>
            </a: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"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이라고 전망</a:t>
            </a:r>
            <a:b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전문가들은 앞으로도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AK S&amp;D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에 애경그룹 계열사 돈이 계속해서 들어가며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AK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플라자가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밑 빠진 독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이 될 가능성이 크다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고 본다</a:t>
            </a: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.</a:t>
            </a:r>
            <a:endParaRPr lang="en-US" altLang="ko-KR" sz="1000">
              <a:solidFill>
                <a:srgbClr val="7F7F7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데믹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맞아 뷰티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배터리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항공 사업 활기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..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도약 나서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6) </a:t>
            </a:r>
          </a:p>
          <a:p>
            <a:pPr>
              <a:buClr>
                <a:srgbClr val="00338D"/>
              </a:buClr>
            </a:pP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항공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형기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 도입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印尼 노선 개척할 것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5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제주항공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이 순차적으로 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보잉의 차세대 기종인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B737-8 40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대를 도입할 계획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총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6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조 </a:t>
            </a:r>
            <a:r>
              <a:rPr kumimoji="0" lang="en-US" altLang="ko-KR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</a:t>
            </a:r>
            <a:r>
              <a:rPr kumimoji="0" lang="ko-KR" altLang="en-US" sz="10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천억원 규모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1641B38-1285-8CB7-D8AE-AC4E2F574E72}"/>
              </a:ext>
            </a:extLst>
          </p:cNvPr>
          <p:cNvSpPr/>
          <p:nvPr/>
        </p:nvSpPr>
        <p:spPr>
          <a:xfrm>
            <a:off x="6555363" y="1724907"/>
            <a:ext cx="2861687" cy="2563851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애경케미칼은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관련 시장에서 미래 성장동력 확보 中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주항공은 항공기 기단 현대화를 위해 대규모 투자 집행 예정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백화점 사업부문을 영위하는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 S&amp;D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영업적자 지속으로 자금 수혈 필요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 S&amp;D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원을 위한 유동성 확보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존재 예상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물화 가능성 또한 모니터링 필요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조달 </a:t>
            </a:r>
            <a:r>
              <a:rPr lang="en-US" altLang="ko-KR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예상 계열사 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b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K</a:t>
            </a:r>
            <a:r>
              <a:rPr lang="ko-KR" altLang="en-US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AK S&amp;D</a:t>
            </a:r>
            <a:endParaRPr lang="ko-KR" altLang="en-US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4" name="Picture 2" descr="애경그룹 - 나무위키">
            <a:extLst>
              <a:ext uri="{FF2B5EF4-FFF2-40B4-BE49-F238E27FC236}">
                <a16:creationId xmlns:a16="http://schemas.microsoft.com/office/drawing/2014/main" id="{1B4BF910-4814-42D1-FA52-72ED36B8FF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58" y="2424116"/>
            <a:ext cx="660909" cy="66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8BC0CAF-3A94-1E11-ADDE-96196F47F97E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7528510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503453" y="3531705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4492421" y="245651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4492421" y="264171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4492421" y="282692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4492421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4492421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6907453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6907453" y="264171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6907453" y="282692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6907453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6907453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9322485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9322485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9322485" y="282692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9322485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9322485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2420276" y="241240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시장 침체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향으로 개발사업 수익성 악화 추세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일부 사업장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계약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물량 발생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올해 대규모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후분양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단지 매출 인식이 예정되어 있어 매출 및 수익성 반등 가능성 존재하나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용인 및 해운대 사업장 분양 초기 </a:t>
            </a:r>
            <a:r>
              <a:rPr lang="ko-KR" altLang="en-US" sz="900" b="1" u="sng" kern="0" err="1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계약률</a:t>
            </a:r>
            <a:r>
              <a:rPr lang="ko-KR" altLang="en-US" sz="900" b="1" u="sng" ker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b="1" u="sng" ker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0% </a:t>
            </a:r>
            <a:r>
              <a:rPr lang="ko-KR" altLang="en-US" sz="900" b="1" u="sng" ker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달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4789290" y="2406125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최근 계열사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한국자산캐피탈로부터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지속적인 차입을 통해 자금조달 中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금리 기조 下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PF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시장 위축 장기화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시장 침체 장기화 및 미분양 상황 지속 시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우발채무 현실화 가능성 有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7231622" y="241774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디벨로퍼의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특성상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사업 추진 및 확장을 위해서는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인 용지 매입이 필요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동산 시장 침체로 인한 모회사 재무실적 악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2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부동산 시장 침체 장기화 시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우발채무 현실화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Risk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가 존재하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업황 대비 양호한 실적을 기록한 자회사를 통해 유동성 공급이 이루어지고 있다는 점을 감안하여 향후 방향성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2" name="Picture 2" descr="개발사업 부문 | MDM">
            <a:extLst>
              <a:ext uri="{FF2B5EF4-FFF2-40B4-BE49-F238E27FC236}">
                <a16:creationId xmlns:a16="http://schemas.microsoft.com/office/drawing/2014/main" id="{A93D087A-E766-67E5-5F6E-7F6D51CC1F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16" t="25300" r="8384" b="19873"/>
          <a:stretch/>
        </p:blipFill>
        <p:spPr bwMode="auto">
          <a:xfrm>
            <a:off x="831697" y="2367714"/>
            <a:ext cx="1256343" cy="102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2" descr="금융부문 | MDM">
            <a:extLst>
              <a:ext uri="{FF2B5EF4-FFF2-40B4-BE49-F238E27FC236}">
                <a16:creationId xmlns:a16="http://schemas.microsoft.com/office/drawing/2014/main" id="{9D469AC3-276C-8EE4-C226-92973021F3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80" t="24130" r="23912" b="24600"/>
          <a:stretch/>
        </p:blipFill>
        <p:spPr bwMode="auto">
          <a:xfrm>
            <a:off x="741213" y="3753459"/>
            <a:ext cx="1431637" cy="85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금융부문 | MDM">
            <a:extLst>
              <a:ext uri="{FF2B5EF4-FFF2-40B4-BE49-F238E27FC236}">
                <a16:creationId xmlns:a16="http://schemas.microsoft.com/office/drawing/2014/main" id="{026CD0AA-AEB1-60AE-5742-A7A0F5975E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1" t="23790" r="20903" b="19064"/>
          <a:stretch/>
        </p:blipFill>
        <p:spPr bwMode="auto">
          <a:xfrm>
            <a:off x="741213" y="5073446"/>
            <a:ext cx="1534239" cy="952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9" name="직선 연결선 108">
            <a:extLst>
              <a:ext uri="{FF2B5EF4-FFF2-40B4-BE49-F238E27FC236}">
                <a16:creationId xmlns:a16="http://schemas.microsoft.com/office/drawing/2014/main" id="{708D094A-951C-9258-ECF3-86C33C8C50E5}"/>
              </a:ext>
            </a:extLst>
          </p:cNvPr>
          <p:cNvCxnSpPr>
            <a:cxnSpLocks/>
          </p:cNvCxnSpPr>
          <p:nvPr/>
        </p:nvCxnSpPr>
        <p:spPr>
          <a:xfrm>
            <a:off x="503453" y="4844837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C672DE30-A0AB-1947-8E0C-4D984742DDF9}"/>
              </a:ext>
            </a:extLst>
          </p:cNvPr>
          <p:cNvSpPr/>
          <p:nvPr/>
        </p:nvSpPr>
        <p:spPr>
          <a:xfrm>
            <a:off x="4492421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00702F74-092A-08E3-0907-48D57CD1BA8A}"/>
              </a:ext>
            </a:extLst>
          </p:cNvPr>
          <p:cNvSpPr/>
          <p:nvPr/>
        </p:nvSpPr>
        <p:spPr>
          <a:xfrm>
            <a:off x="4492421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D7AF1640-6535-0BE2-4E37-C6DD08BDB07E}"/>
              </a:ext>
            </a:extLst>
          </p:cNvPr>
          <p:cNvSpPr/>
          <p:nvPr/>
        </p:nvSpPr>
        <p:spPr>
          <a:xfrm>
            <a:off x="4492421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7304D17-9308-F20E-571E-97EF77CB0BDE}"/>
              </a:ext>
            </a:extLst>
          </p:cNvPr>
          <p:cNvSpPr/>
          <p:nvPr/>
        </p:nvSpPr>
        <p:spPr>
          <a:xfrm>
            <a:off x="4492421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DC62EF95-9E95-3FEA-478F-9065AAFD257B}"/>
              </a:ext>
            </a:extLst>
          </p:cNvPr>
          <p:cNvSpPr/>
          <p:nvPr/>
        </p:nvSpPr>
        <p:spPr>
          <a:xfrm>
            <a:off x="4492421" y="451046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1D48B26B-C8F6-25E1-6BF3-A0CDB1ECE610}"/>
              </a:ext>
            </a:extLst>
          </p:cNvPr>
          <p:cNvSpPr/>
          <p:nvPr/>
        </p:nvSpPr>
        <p:spPr>
          <a:xfrm>
            <a:off x="6907453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5DB23D9A-C5B5-3577-5506-A9BA6713EC32}"/>
              </a:ext>
            </a:extLst>
          </p:cNvPr>
          <p:cNvSpPr/>
          <p:nvPr/>
        </p:nvSpPr>
        <p:spPr>
          <a:xfrm>
            <a:off x="6907453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FBBFD92E-4EAB-68E9-3E5F-51251676C073}"/>
              </a:ext>
            </a:extLst>
          </p:cNvPr>
          <p:cNvSpPr/>
          <p:nvPr/>
        </p:nvSpPr>
        <p:spPr>
          <a:xfrm>
            <a:off x="6907453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B97ED173-2D55-A9C2-2C7D-41F7FE6DF7F4}"/>
              </a:ext>
            </a:extLst>
          </p:cNvPr>
          <p:cNvSpPr/>
          <p:nvPr/>
        </p:nvSpPr>
        <p:spPr>
          <a:xfrm>
            <a:off x="6907453" y="432525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8991B477-3D0E-3888-16E7-E92706A66CC3}"/>
              </a:ext>
            </a:extLst>
          </p:cNvPr>
          <p:cNvSpPr/>
          <p:nvPr/>
        </p:nvSpPr>
        <p:spPr>
          <a:xfrm>
            <a:off x="6907453" y="451046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79DE6538-A569-FF78-53C1-E6C1885FBA97}"/>
              </a:ext>
            </a:extLst>
          </p:cNvPr>
          <p:cNvSpPr/>
          <p:nvPr/>
        </p:nvSpPr>
        <p:spPr>
          <a:xfrm>
            <a:off x="9322485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386683BE-E378-ABA2-CBD0-DE22E242A6E1}"/>
              </a:ext>
            </a:extLst>
          </p:cNvPr>
          <p:cNvSpPr/>
          <p:nvPr/>
        </p:nvSpPr>
        <p:spPr>
          <a:xfrm>
            <a:off x="9322485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2" name="직사각형 121">
            <a:extLst>
              <a:ext uri="{FF2B5EF4-FFF2-40B4-BE49-F238E27FC236}">
                <a16:creationId xmlns:a16="http://schemas.microsoft.com/office/drawing/2014/main" id="{68D1A07B-2890-BDA5-D2CD-3E80C44DC40E}"/>
              </a:ext>
            </a:extLst>
          </p:cNvPr>
          <p:cNvSpPr/>
          <p:nvPr/>
        </p:nvSpPr>
        <p:spPr>
          <a:xfrm>
            <a:off x="9322485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3" name="직사각형 122">
            <a:extLst>
              <a:ext uri="{FF2B5EF4-FFF2-40B4-BE49-F238E27FC236}">
                <a16:creationId xmlns:a16="http://schemas.microsoft.com/office/drawing/2014/main" id="{6AD3BD91-575A-8E43-85FB-5A3CF5BACDB7}"/>
              </a:ext>
            </a:extLst>
          </p:cNvPr>
          <p:cNvSpPr/>
          <p:nvPr/>
        </p:nvSpPr>
        <p:spPr>
          <a:xfrm>
            <a:off x="9322485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4" name="직사각형 123">
            <a:extLst>
              <a:ext uri="{FF2B5EF4-FFF2-40B4-BE49-F238E27FC236}">
                <a16:creationId xmlns:a16="http://schemas.microsoft.com/office/drawing/2014/main" id="{C1F82188-BF94-F381-E7F1-698A68A4AD2D}"/>
              </a:ext>
            </a:extLst>
          </p:cNvPr>
          <p:cNvSpPr/>
          <p:nvPr/>
        </p:nvSpPr>
        <p:spPr>
          <a:xfrm>
            <a:off x="9322485" y="451046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4BE708F-9D0B-3AC8-F3C9-E8158DA5F97F}"/>
              </a:ext>
            </a:extLst>
          </p:cNvPr>
          <p:cNvSpPr txBox="1"/>
          <p:nvPr/>
        </p:nvSpPr>
        <p:spPr>
          <a:xfrm>
            <a:off x="2420276" y="37255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시장이 악화되자 신탁보수 외 다른 수익 창출에 집중하고 선제적 리스크 관리 돌입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8845EBB-A64D-5206-E0F0-BE798AB93091}"/>
              </a:ext>
            </a:extLst>
          </p:cNvPr>
          <p:cNvSpPr txBox="1"/>
          <p:nvPr/>
        </p:nvSpPr>
        <p:spPr>
          <a:xfrm>
            <a:off x="4789290" y="371925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기존 부실사업장을 정리해 신탁계정대를 회수하면서 차입부채를 크게 감축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경기 악화로 대손충당금 이슈로부터 자유로울 수는 없는 상황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198CD8CF-B0D0-60F8-FB7D-E10AA95476B4}"/>
              </a:ext>
            </a:extLst>
          </p:cNvPr>
          <p:cNvSpPr txBox="1"/>
          <p:nvPr/>
        </p:nvSpPr>
        <p:spPr>
          <a:xfrm>
            <a:off x="7231622" y="37308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29" name="직선 연결선 128">
            <a:extLst>
              <a:ext uri="{FF2B5EF4-FFF2-40B4-BE49-F238E27FC236}">
                <a16:creationId xmlns:a16="http://schemas.microsoft.com/office/drawing/2014/main" id="{2DBA8466-0516-FFE0-1188-A23C5584DE61}"/>
              </a:ext>
            </a:extLst>
          </p:cNvPr>
          <p:cNvCxnSpPr>
            <a:cxnSpLocks/>
          </p:cNvCxnSpPr>
          <p:nvPr/>
        </p:nvCxnSpPr>
        <p:spPr>
          <a:xfrm>
            <a:off x="503453" y="6142952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직사각형 129">
            <a:extLst>
              <a:ext uri="{FF2B5EF4-FFF2-40B4-BE49-F238E27FC236}">
                <a16:creationId xmlns:a16="http://schemas.microsoft.com/office/drawing/2014/main" id="{BA9688DB-0986-9A6C-1B1A-69280E3A7FC8}"/>
              </a:ext>
            </a:extLst>
          </p:cNvPr>
          <p:cNvSpPr/>
          <p:nvPr/>
        </p:nvSpPr>
        <p:spPr>
          <a:xfrm>
            <a:off x="4492421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1" name="직사각형 130">
            <a:extLst>
              <a:ext uri="{FF2B5EF4-FFF2-40B4-BE49-F238E27FC236}">
                <a16:creationId xmlns:a16="http://schemas.microsoft.com/office/drawing/2014/main" id="{124F7AD8-1C16-66C0-11DD-0B85C1762103}"/>
              </a:ext>
            </a:extLst>
          </p:cNvPr>
          <p:cNvSpPr/>
          <p:nvPr/>
        </p:nvSpPr>
        <p:spPr>
          <a:xfrm>
            <a:off x="4492421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2" name="직사각형 131">
            <a:extLst>
              <a:ext uri="{FF2B5EF4-FFF2-40B4-BE49-F238E27FC236}">
                <a16:creationId xmlns:a16="http://schemas.microsoft.com/office/drawing/2014/main" id="{0ACEBBBB-10F2-94A0-81FB-0D23F107E17E}"/>
              </a:ext>
            </a:extLst>
          </p:cNvPr>
          <p:cNvSpPr/>
          <p:nvPr/>
        </p:nvSpPr>
        <p:spPr>
          <a:xfrm>
            <a:off x="4492421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3" name="직사각형 132">
            <a:extLst>
              <a:ext uri="{FF2B5EF4-FFF2-40B4-BE49-F238E27FC236}">
                <a16:creationId xmlns:a16="http://schemas.microsoft.com/office/drawing/2014/main" id="{690EF0DA-6629-D6AB-2CA2-E8AFCE42B7B2}"/>
              </a:ext>
            </a:extLst>
          </p:cNvPr>
          <p:cNvSpPr/>
          <p:nvPr/>
        </p:nvSpPr>
        <p:spPr>
          <a:xfrm>
            <a:off x="4492421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4" name="직사각형 133">
            <a:extLst>
              <a:ext uri="{FF2B5EF4-FFF2-40B4-BE49-F238E27FC236}">
                <a16:creationId xmlns:a16="http://schemas.microsoft.com/office/drawing/2014/main" id="{213FF281-B579-CB82-C705-C1AC94601909}"/>
              </a:ext>
            </a:extLst>
          </p:cNvPr>
          <p:cNvSpPr/>
          <p:nvPr/>
        </p:nvSpPr>
        <p:spPr>
          <a:xfrm>
            <a:off x="4492421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5" name="직사각형 134">
            <a:extLst>
              <a:ext uri="{FF2B5EF4-FFF2-40B4-BE49-F238E27FC236}">
                <a16:creationId xmlns:a16="http://schemas.microsoft.com/office/drawing/2014/main" id="{2006DD37-56EE-B0CC-A368-0934BEE771EC}"/>
              </a:ext>
            </a:extLst>
          </p:cNvPr>
          <p:cNvSpPr/>
          <p:nvPr/>
        </p:nvSpPr>
        <p:spPr>
          <a:xfrm>
            <a:off x="6907453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6" name="직사각형 135">
            <a:extLst>
              <a:ext uri="{FF2B5EF4-FFF2-40B4-BE49-F238E27FC236}">
                <a16:creationId xmlns:a16="http://schemas.microsoft.com/office/drawing/2014/main" id="{5660B19C-C6C0-4082-0D45-B9EB241AE3BC}"/>
              </a:ext>
            </a:extLst>
          </p:cNvPr>
          <p:cNvSpPr/>
          <p:nvPr/>
        </p:nvSpPr>
        <p:spPr>
          <a:xfrm>
            <a:off x="6907453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7" name="직사각형 136">
            <a:extLst>
              <a:ext uri="{FF2B5EF4-FFF2-40B4-BE49-F238E27FC236}">
                <a16:creationId xmlns:a16="http://schemas.microsoft.com/office/drawing/2014/main" id="{54AC45FB-D27C-F838-1496-DC5E3C7E5046}"/>
              </a:ext>
            </a:extLst>
          </p:cNvPr>
          <p:cNvSpPr/>
          <p:nvPr/>
        </p:nvSpPr>
        <p:spPr>
          <a:xfrm>
            <a:off x="6907453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8" name="직사각형 137">
            <a:extLst>
              <a:ext uri="{FF2B5EF4-FFF2-40B4-BE49-F238E27FC236}">
                <a16:creationId xmlns:a16="http://schemas.microsoft.com/office/drawing/2014/main" id="{0FF480E2-C054-029E-45C8-E08376A8DE6C}"/>
              </a:ext>
            </a:extLst>
          </p:cNvPr>
          <p:cNvSpPr/>
          <p:nvPr/>
        </p:nvSpPr>
        <p:spPr>
          <a:xfrm>
            <a:off x="6907453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9" name="직사각형 138">
            <a:extLst>
              <a:ext uri="{FF2B5EF4-FFF2-40B4-BE49-F238E27FC236}">
                <a16:creationId xmlns:a16="http://schemas.microsoft.com/office/drawing/2014/main" id="{EB928EE5-724C-BDBE-8CB9-D34DDA096F58}"/>
              </a:ext>
            </a:extLst>
          </p:cNvPr>
          <p:cNvSpPr/>
          <p:nvPr/>
        </p:nvSpPr>
        <p:spPr>
          <a:xfrm>
            <a:off x="6907453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0" name="직사각형 139">
            <a:extLst>
              <a:ext uri="{FF2B5EF4-FFF2-40B4-BE49-F238E27FC236}">
                <a16:creationId xmlns:a16="http://schemas.microsoft.com/office/drawing/2014/main" id="{3E970890-174B-2858-9F4D-9A6F200FA8BF}"/>
              </a:ext>
            </a:extLst>
          </p:cNvPr>
          <p:cNvSpPr/>
          <p:nvPr/>
        </p:nvSpPr>
        <p:spPr>
          <a:xfrm>
            <a:off x="9322485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1" name="직사각형 140">
            <a:extLst>
              <a:ext uri="{FF2B5EF4-FFF2-40B4-BE49-F238E27FC236}">
                <a16:creationId xmlns:a16="http://schemas.microsoft.com/office/drawing/2014/main" id="{DBFFEC06-689F-D965-852F-56B77B3363C5}"/>
              </a:ext>
            </a:extLst>
          </p:cNvPr>
          <p:cNvSpPr/>
          <p:nvPr/>
        </p:nvSpPr>
        <p:spPr>
          <a:xfrm>
            <a:off x="9322485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2" name="직사각형 141">
            <a:extLst>
              <a:ext uri="{FF2B5EF4-FFF2-40B4-BE49-F238E27FC236}">
                <a16:creationId xmlns:a16="http://schemas.microsoft.com/office/drawing/2014/main" id="{1A765D38-5D4C-47D9-D354-CDF7BE79191F}"/>
              </a:ext>
            </a:extLst>
          </p:cNvPr>
          <p:cNvSpPr/>
          <p:nvPr/>
        </p:nvSpPr>
        <p:spPr>
          <a:xfrm>
            <a:off x="9322485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3" name="직사각형 142">
            <a:extLst>
              <a:ext uri="{FF2B5EF4-FFF2-40B4-BE49-F238E27FC236}">
                <a16:creationId xmlns:a16="http://schemas.microsoft.com/office/drawing/2014/main" id="{39BE2826-AF23-16DC-05D2-CD3958EADC64}"/>
              </a:ext>
            </a:extLst>
          </p:cNvPr>
          <p:cNvSpPr/>
          <p:nvPr/>
        </p:nvSpPr>
        <p:spPr>
          <a:xfrm>
            <a:off x="9322485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4" name="직사각형 143">
            <a:extLst>
              <a:ext uri="{FF2B5EF4-FFF2-40B4-BE49-F238E27FC236}">
                <a16:creationId xmlns:a16="http://schemas.microsoft.com/office/drawing/2014/main" id="{AA341A09-18A0-7EE2-9345-80753D6FA417}"/>
              </a:ext>
            </a:extLst>
          </p:cNvPr>
          <p:cNvSpPr/>
          <p:nvPr/>
        </p:nvSpPr>
        <p:spPr>
          <a:xfrm>
            <a:off x="9322485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34848858-D5B3-3902-A023-ECF7A1920027}"/>
              </a:ext>
            </a:extLst>
          </p:cNvPr>
          <p:cNvSpPr txBox="1"/>
          <p:nvPr/>
        </p:nvSpPr>
        <p:spPr>
          <a:xfrm>
            <a:off x="2420276" y="502364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금리 상황에서 이자수익 급증으로 매출 성장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94CC89C-B3CF-B82C-3D08-F43E9F62B278}"/>
              </a:ext>
            </a:extLst>
          </p:cNvPr>
          <p:cNvSpPr txBox="1"/>
          <p:nvPr/>
        </p:nvSpPr>
        <p:spPr>
          <a:xfrm>
            <a:off x="4789290" y="50173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한국자산신탁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모기업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의 지원으로 부채비율은 안정적으로 관리됨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월 말 기준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잔액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77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수준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0E604603-288E-A948-8E8B-C3F4706B64C0}"/>
              </a:ext>
            </a:extLst>
          </p:cNvPr>
          <p:cNvSpPr txBox="1"/>
          <p:nvPr/>
        </p:nvSpPr>
        <p:spPr>
          <a:xfrm>
            <a:off x="7231622" y="502898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49" name="직사각형 148">
            <a:extLst>
              <a:ext uri="{FF2B5EF4-FFF2-40B4-BE49-F238E27FC236}">
                <a16:creationId xmlns:a16="http://schemas.microsoft.com/office/drawing/2014/main" id="{BC83C3F6-6701-A25B-C463-F224F048DE4C}"/>
              </a:ext>
            </a:extLst>
          </p:cNvPr>
          <p:cNvSpPr/>
          <p:nvPr/>
        </p:nvSpPr>
        <p:spPr>
          <a:xfrm>
            <a:off x="9992357" y="-563899"/>
            <a:ext cx="2747279" cy="2751434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재무실적 추이로 변경하고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선되고 있는 계열사에 대해서는 있는 그대로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급해주는걸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려해보시죠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!</a:t>
            </a:r>
          </a:p>
          <a:p>
            <a:pPr marL="228600" indent="-228600">
              <a:buAutoNum type="arabicPeriod"/>
            </a:pP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워딩을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플러스로 이전 후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제외 고려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2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에 대한 상속을 위해 실질적인 사업은 이미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가 소유하고 있는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를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통해 영위하고 있는 것으로 판단됨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혹시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규모 급증했다는 부분은 어느 정도로 급증한 걸까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 (’22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기사 이후로 확인하신 부분이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있으실까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)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행사 특성 고려 시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개발을 진행하기 위해 필요한 용지에 대한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필수적으로 수반되어야 한다는 점을 언급하는 건 어떨까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9F686B83-6679-9178-EAFA-CF128A71236A}"/>
              </a:ext>
            </a:extLst>
          </p:cNvPr>
          <p:cNvSpPr txBox="1"/>
          <p:nvPr/>
        </p:nvSpPr>
        <p:spPr>
          <a:xfrm>
            <a:off x="488948" y="62025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51" name="사각형: 둥근 모서리 150">
            <a:extLst>
              <a:ext uri="{FF2B5EF4-FFF2-40B4-BE49-F238E27FC236}">
                <a16:creationId xmlns:a16="http://schemas.microsoft.com/office/drawing/2014/main" id="{92C364A5-1CFF-D705-857D-FA4065B95257}"/>
              </a:ext>
            </a:extLst>
          </p:cNvPr>
          <p:cNvSpPr/>
          <p:nvPr/>
        </p:nvSpPr>
        <p:spPr>
          <a:xfrm>
            <a:off x="-1833101" y="4909082"/>
            <a:ext cx="1505623" cy="47285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원자재가↑</a:t>
            </a:r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분양시장 냉각 </a:t>
            </a:r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개발사업 실적 악화</a:t>
            </a:r>
            <a:endParaRPr lang="ko-KR" altLang="en-US" sz="1000" b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2" name="Freeform 48">
            <a:extLst>
              <a:ext uri="{FF2B5EF4-FFF2-40B4-BE49-F238E27FC236}">
                <a16:creationId xmlns:a16="http://schemas.microsoft.com/office/drawing/2014/main" id="{0C94BA11-AC22-F284-5F8D-119B2AE63AAA}"/>
              </a:ext>
            </a:extLst>
          </p:cNvPr>
          <p:cNvSpPr>
            <a:spLocks/>
          </p:cNvSpPr>
          <p:nvPr/>
        </p:nvSpPr>
        <p:spPr bwMode="auto">
          <a:xfrm>
            <a:off x="-2010384" y="4989452"/>
            <a:ext cx="186615" cy="135892"/>
          </a:xfrm>
          <a:custGeom>
            <a:avLst/>
            <a:gdLst/>
            <a:ahLst/>
            <a:cxnLst>
              <a:cxn ang="0">
                <a:pos x="207" y="2051"/>
              </a:cxn>
              <a:cxn ang="0">
                <a:pos x="502" y="2433"/>
              </a:cxn>
              <a:cxn ang="0">
                <a:pos x="858" y="2991"/>
              </a:cxn>
              <a:cxn ang="0">
                <a:pos x="1017" y="3151"/>
              </a:cxn>
              <a:cxn ang="0">
                <a:pos x="1189" y="3228"/>
              </a:cxn>
              <a:cxn ang="0">
                <a:pos x="1367" y="3299"/>
              </a:cxn>
              <a:cxn ang="0">
                <a:pos x="1698" y="3417"/>
              </a:cxn>
              <a:cxn ang="0">
                <a:pos x="1841" y="3460"/>
              </a:cxn>
              <a:cxn ang="0">
                <a:pos x="1884" y="3348"/>
              </a:cxn>
              <a:cxn ang="0">
                <a:pos x="2042" y="3108"/>
              </a:cxn>
              <a:cxn ang="0">
                <a:pos x="2181" y="2716"/>
              </a:cxn>
              <a:cxn ang="0">
                <a:pos x="2374" y="2396"/>
              </a:cxn>
              <a:cxn ang="0">
                <a:pos x="2501" y="2216"/>
              </a:cxn>
              <a:cxn ang="0">
                <a:pos x="2634" y="2126"/>
              </a:cxn>
              <a:cxn ang="0">
                <a:pos x="2725" y="2021"/>
              </a:cxn>
              <a:cxn ang="0">
                <a:pos x="2985" y="1743"/>
              </a:cxn>
              <a:cxn ang="0">
                <a:pos x="3350" y="1385"/>
              </a:cxn>
              <a:cxn ang="0">
                <a:pos x="3764" y="1076"/>
              </a:cxn>
              <a:cxn ang="0">
                <a:pos x="3975" y="956"/>
              </a:cxn>
              <a:cxn ang="0">
                <a:pos x="4166" y="801"/>
              </a:cxn>
              <a:cxn ang="0">
                <a:pos x="4276" y="746"/>
              </a:cxn>
              <a:cxn ang="0">
                <a:pos x="4452" y="590"/>
              </a:cxn>
              <a:cxn ang="0">
                <a:pos x="4597" y="435"/>
              </a:cxn>
              <a:cxn ang="0">
                <a:pos x="4745" y="341"/>
              </a:cxn>
              <a:cxn ang="0">
                <a:pos x="4873" y="280"/>
              </a:cxn>
              <a:cxn ang="0">
                <a:pos x="4849" y="246"/>
              </a:cxn>
              <a:cxn ang="0">
                <a:pos x="4761" y="283"/>
              </a:cxn>
              <a:cxn ang="0">
                <a:pos x="4662" y="363"/>
              </a:cxn>
              <a:cxn ang="0">
                <a:pos x="4441" y="517"/>
              </a:cxn>
              <a:cxn ang="0">
                <a:pos x="4314" y="546"/>
              </a:cxn>
              <a:cxn ang="0">
                <a:pos x="3938" y="816"/>
              </a:cxn>
              <a:cxn ang="0">
                <a:pos x="4014" y="708"/>
              </a:cxn>
              <a:cxn ang="0">
                <a:pos x="4113" y="626"/>
              </a:cxn>
              <a:cxn ang="0">
                <a:pos x="4233" y="505"/>
              </a:cxn>
              <a:cxn ang="0">
                <a:pos x="4255" y="426"/>
              </a:cxn>
              <a:cxn ang="0">
                <a:pos x="4389" y="289"/>
              </a:cxn>
              <a:cxn ang="0">
                <a:pos x="4204" y="343"/>
              </a:cxn>
              <a:cxn ang="0">
                <a:pos x="4366" y="200"/>
              </a:cxn>
              <a:cxn ang="0">
                <a:pos x="4322" y="169"/>
              </a:cxn>
              <a:cxn ang="0">
                <a:pos x="4208" y="279"/>
              </a:cxn>
              <a:cxn ang="0">
                <a:pos x="4203" y="163"/>
              </a:cxn>
              <a:cxn ang="0">
                <a:pos x="4289" y="48"/>
              </a:cxn>
              <a:cxn ang="0">
                <a:pos x="4191" y="26"/>
              </a:cxn>
              <a:cxn ang="0">
                <a:pos x="4085" y="136"/>
              </a:cxn>
              <a:cxn ang="0">
                <a:pos x="3828" y="287"/>
              </a:cxn>
              <a:cxn ang="0">
                <a:pos x="3122" y="783"/>
              </a:cxn>
              <a:cxn ang="0">
                <a:pos x="3124" y="739"/>
              </a:cxn>
              <a:cxn ang="0">
                <a:pos x="3171" y="677"/>
              </a:cxn>
              <a:cxn ang="0">
                <a:pos x="3862" y="221"/>
              </a:cxn>
              <a:cxn ang="0">
                <a:pos x="3913" y="142"/>
              </a:cxn>
              <a:cxn ang="0">
                <a:pos x="3668" y="242"/>
              </a:cxn>
              <a:cxn ang="0">
                <a:pos x="3225" y="529"/>
              </a:cxn>
              <a:cxn ang="0">
                <a:pos x="2781" y="836"/>
              </a:cxn>
              <a:cxn ang="0">
                <a:pos x="2153" y="1280"/>
              </a:cxn>
              <a:cxn ang="0">
                <a:pos x="1865" y="1621"/>
              </a:cxn>
              <a:cxn ang="0">
                <a:pos x="1577" y="1928"/>
              </a:cxn>
              <a:cxn ang="0">
                <a:pos x="1301" y="2011"/>
              </a:cxn>
              <a:cxn ang="0">
                <a:pos x="1036" y="1486"/>
              </a:cxn>
              <a:cxn ang="0">
                <a:pos x="740" y="1512"/>
              </a:cxn>
              <a:cxn ang="0">
                <a:pos x="512" y="1607"/>
              </a:cxn>
              <a:cxn ang="0">
                <a:pos x="237" y="1696"/>
              </a:cxn>
            </a:cxnLst>
            <a:rect l="0" t="0" r="r" b="b"/>
            <a:pathLst>
              <a:path w="4933" h="3474">
                <a:moveTo>
                  <a:pt x="0" y="1838"/>
                </a:moveTo>
                <a:lnTo>
                  <a:pt x="12" y="1853"/>
                </a:lnTo>
                <a:lnTo>
                  <a:pt x="25" y="1869"/>
                </a:lnTo>
                <a:lnTo>
                  <a:pt x="38" y="1884"/>
                </a:lnTo>
                <a:lnTo>
                  <a:pt x="53" y="1900"/>
                </a:lnTo>
                <a:lnTo>
                  <a:pt x="68" y="1914"/>
                </a:lnTo>
                <a:lnTo>
                  <a:pt x="83" y="1931"/>
                </a:lnTo>
                <a:lnTo>
                  <a:pt x="100" y="1946"/>
                </a:lnTo>
                <a:lnTo>
                  <a:pt x="116" y="1960"/>
                </a:lnTo>
                <a:lnTo>
                  <a:pt x="132" y="1976"/>
                </a:lnTo>
                <a:lnTo>
                  <a:pt x="148" y="1990"/>
                </a:lnTo>
                <a:lnTo>
                  <a:pt x="162" y="2005"/>
                </a:lnTo>
                <a:lnTo>
                  <a:pt x="179" y="2021"/>
                </a:lnTo>
                <a:lnTo>
                  <a:pt x="193" y="2036"/>
                </a:lnTo>
                <a:lnTo>
                  <a:pt x="207" y="2051"/>
                </a:lnTo>
                <a:lnTo>
                  <a:pt x="220" y="2066"/>
                </a:lnTo>
                <a:lnTo>
                  <a:pt x="231" y="2082"/>
                </a:lnTo>
                <a:lnTo>
                  <a:pt x="245" y="2110"/>
                </a:lnTo>
                <a:lnTo>
                  <a:pt x="262" y="2133"/>
                </a:lnTo>
                <a:lnTo>
                  <a:pt x="282" y="2151"/>
                </a:lnTo>
                <a:lnTo>
                  <a:pt x="302" y="2168"/>
                </a:lnTo>
                <a:lnTo>
                  <a:pt x="323" y="2184"/>
                </a:lnTo>
                <a:lnTo>
                  <a:pt x="343" y="2202"/>
                </a:lnTo>
                <a:lnTo>
                  <a:pt x="361" y="2224"/>
                </a:lnTo>
                <a:lnTo>
                  <a:pt x="376" y="2251"/>
                </a:lnTo>
                <a:lnTo>
                  <a:pt x="392" y="2280"/>
                </a:lnTo>
                <a:lnTo>
                  <a:pt x="416" y="2314"/>
                </a:lnTo>
                <a:lnTo>
                  <a:pt x="443" y="2352"/>
                </a:lnTo>
                <a:lnTo>
                  <a:pt x="472" y="2393"/>
                </a:lnTo>
                <a:lnTo>
                  <a:pt x="502" y="2433"/>
                </a:lnTo>
                <a:lnTo>
                  <a:pt x="529" y="2470"/>
                </a:lnTo>
                <a:lnTo>
                  <a:pt x="552" y="2504"/>
                </a:lnTo>
                <a:lnTo>
                  <a:pt x="571" y="2532"/>
                </a:lnTo>
                <a:lnTo>
                  <a:pt x="582" y="2555"/>
                </a:lnTo>
                <a:lnTo>
                  <a:pt x="599" y="2583"/>
                </a:lnTo>
                <a:lnTo>
                  <a:pt x="618" y="2617"/>
                </a:lnTo>
                <a:lnTo>
                  <a:pt x="640" y="2652"/>
                </a:lnTo>
                <a:lnTo>
                  <a:pt x="665" y="2693"/>
                </a:lnTo>
                <a:lnTo>
                  <a:pt x="691" y="2734"/>
                </a:lnTo>
                <a:lnTo>
                  <a:pt x="720" y="2778"/>
                </a:lnTo>
                <a:lnTo>
                  <a:pt x="750" y="2822"/>
                </a:lnTo>
                <a:lnTo>
                  <a:pt x="777" y="2866"/>
                </a:lnTo>
                <a:lnTo>
                  <a:pt x="806" y="2910"/>
                </a:lnTo>
                <a:lnTo>
                  <a:pt x="833" y="2952"/>
                </a:lnTo>
                <a:lnTo>
                  <a:pt x="858" y="2991"/>
                </a:lnTo>
                <a:lnTo>
                  <a:pt x="881" y="3027"/>
                </a:lnTo>
                <a:lnTo>
                  <a:pt x="900" y="3059"/>
                </a:lnTo>
                <a:lnTo>
                  <a:pt x="917" y="3088"/>
                </a:lnTo>
                <a:lnTo>
                  <a:pt x="929" y="3110"/>
                </a:lnTo>
                <a:lnTo>
                  <a:pt x="940" y="3112"/>
                </a:lnTo>
                <a:lnTo>
                  <a:pt x="950" y="3113"/>
                </a:lnTo>
                <a:lnTo>
                  <a:pt x="960" y="3115"/>
                </a:lnTo>
                <a:lnTo>
                  <a:pt x="969" y="3117"/>
                </a:lnTo>
                <a:lnTo>
                  <a:pt x="980" y="3117"/>
                </a:lnTo>
                <a:lnTo>
                  <a:pt x="991" y="3120"/>
                </a:lnTo>
                <a:lnTo>
                  <a:pt x="1000" y="3121"/>
                </a:lnTo>
                <a:lnTo>
                  <a:pt x="1010" y="3123"/>
                </a:lnTo>
                <a:lnTo>
                  <a:pt x="1012" y="3133"/>
                </a:lnTo>
                <a:lnTo>
                  <a:pt x="1015" y="3142"/>
                </a:lnTo>
                <a:lnTo>
                  <a:pt x="1017" y="3151"/>
                </a:lnTo>
                <a:lnTo>
                  <a:pt x="1019" y="3162"/>
                </a:lnTo>
                <a:lnTo>
                  <a:pt x="1029" y="3162"/>
                </a:lnTo>
                <a:lnTo>
                  <a:pt x="1037" y="3164"/>
                </a:lnTo>
                <a:lnTo>
                  <a:pt x="1046" y="3165"/>
                </a:lnTo>
                <a:lnTo>
                  <a:pt x="1055" y="3166"/>
                </a:lnTo>
                <a:lnTo>
                  <a:pt x="1064" y="3169"/>
                </a:lnTo>
                <a:lnTo>
                  <a:pt x="1073" y="3170"/>
                </a:lnTo>
                <a:lnTo>
                  <a:pt x="1083" y="3171"/>
                </a:lnTo>
                <a:lnTo>
                  <a:pt x="1091" y="3172"/>
                </a:lnTo>
                <a:lnTo>
                  <a:pt x="1108" y="3182"/>
                </a:lnTo>
                <a:lnTo>
                  <a:pt x="1125" y="3193"/>
                </a:lnTo>
                <a:lnTo>
                  <a:pt x="1141" y="3201"/>
                </a:lnTo>
                <a:lnTo>
                  <a:pt x="1156" y="3210"/>
                </a:lnTo>
                <a:lnTo>
                  <a:pt x="1172" y="3220"/>
                </a:lnTo>
                <a:lnTo>
                  <a:pt x="1189" y="3228"/>
                </a:lnTo>
                <a:lnTo>
                  <a:pt x="1206" y="3237"/>
                </a:lnTo>
                <a:lnTo>
                  <a:pt x="1222" y="3245"/>
                </a:lnTo>
                <a:lnTo>
                  <a:pt x="1233" y="3246"/>
                </a:lnTo>
                <a:lnTo>
                  <a:pt x="1244" y="3248"/>
                </a:lnTo>
                <a:lnTo>
                  <a:pt x="1255" y="3250"/>
                </a:lnTo>
                <a:lnTo>
                  <a:pt x="1267" y="3251"/>
                </a:lnTo>
                <a:lnTo>
                  <a:pt x="1278" y="3251"/>
                </a:lnTo>
                <a:lnTo>
                  <a:pt x="1289" y="3252"/>
                </a:lnTo>
                <a:lnTo>
                  <a:pt x="1302" y="3253"/>
                </a:lnTo>
                <a:lnTo>
                  <a:pt x="1313" y="3253"/>
                </a:lnTo>
                <a:lnTo>
                  <a:pt x="1321" y="3264"/>
                </a:lnTo>
                <a:lnTo>
                  <a:pt x="1330" y="3276"/>
                </a:lnTo>
                <a:lnTo>
                  <a:pt x="1340" y="3288"/>
                </a:lnTo>
                <a:lnTo>
                  <a:pt x="1348" y="3297"/>
                </a:lnTo>
                <a:lnTo>
                  <a:pt x="1367" y="3299"/>
                </a:lnTo>
                <a:lnTo>
                  <a:pt x="1388" y="3301"/>
                </a:lnTo>
                <a:lnTo>
                  <a:pt x="1407" y="3303"/>
                </a:lnTo>
                <a:lnTo>
                  <a:pt x="1427" y="3303"/>
                </a:lnTo>
                <a:lnTo>
                  <a:pt x="1448" y="3305"/>
                </a:lnTo>
                <a:lnTo>
                  <a:pt x="1467" y="3305"/>
                </a:lnTo>
                <a:lnTo>
                  <a:pt x="1487" y="3307"/>
                </a:lnTo>
                <a:lnTo>
                  <a:pt x="1507" y="3308"/>
                </a:lnTo>
                <a:lnTo>
                  <a:pt x="1531" y="3321"/>
                </a:lnTo>
                <a:lnTo>
                  <a:pt x="1552" y="3334"/>
                </a:lnTo>
                <a:lnTo>
                  <a:pt x="1577" y="3348"/>
                </a:lnTo>
                <a:lnTo>
                  <a:pt x="1600" y="3361"/>
                </a:lnTo>
                <a:lnTo>
                  <a:pt x="1625" y="3377"/>
                </a:lnTo>
                <a:lnTo>
                  <a:pt x="1649" y="3390"/>
                </a:lnTo>
                <a:lnTo>
                  <a:pt x="1673" y="3404"/>
                </a:lnTo>
                <a:lnTo>
                  <a:pt x="1698" y="3417"/>
                </a:lnTo>
                <a:lnTo>
                  <a:pt x="1707" y="3417"/>
                </a:lnTo>
                <a:lnTo>
                  <a:pt x="1717" y="3417"/>
                </a:lnTo>
                <a:lnTo>
                  <a:pt x="1727" y="3417"/>
                </a:lnTo>
                <a:lnTo>
                  <a:pt x="1738" y="3417"/>
                </a:lnTo>
                <a:lnTo>
                  <a:pt x="1748" y="3417"/>
                </a:lnTo>
                <a:lnTo>
                  <a:pt x="1757" y="3417"/>
                </a:lnTo>
                <a:lnTo>
                  <a:pt x="1768" y="3417"/>
                </a:lnTo>
                <a:lnTo>
                  <a:pt x="1778" y="3417"/>
                </a:lnTo>
                <a:lnTo>
                  <a:pt x="1786" y="3426"/>
                </a:lnTo>
                <a:lnTo>
                  <a:pt x="1796" y="3432"/>
                </a:lnTo>
                <a:lnTo>
                  <a:pt x="1806" y="3438"/>
                </a:lnTo>
                <a:lnTo>
                  <a:pt x="1815" y="3444"/>
                </a:lnTo>
                <a:lnTo>
                  <a:pt x="1823" y="3450"/>
                </a:lnTo>
                <a:lnTo>
                  <a:pt x="1832" y="3454"/>
                </a:lnTo>
                <a:lnTo>
                  <a:pt x="1841" y="3460"/>
                </a:lnTo>
                <a:lnTo>
                  <a:pt x="1850" y="3465"/>
                </a:lnTo>
                <a:lnTo>
                  <a:pt x="1877" y="3472"/>
                </a:lnTo>
                <a:lnTo>
                  <a:pt x="1896" y="3474"/>
                </a:lnTo>
                <a:lnTo>
                  <a:pt x="1907" y="3471"/>
                </a:lnTo>
                <a:lnTo>
                  <a:pt x="1911" y="3464"/>
                </a:lnTo>
                <a:lnTo>
                  <a:pt x="1911" y="3454"/>
                </a:lnTo>
                <a:lnTo>
                  <a:pt x="1905" y="3441"/>
                </a:lnTo>
                <a:lnTo>
                  <a:pt x="1898" y="3427"/>
                </a:lnTo>
                <a:lnTo>
                  <a:pt x="1890" y="3412"/>
                </a:lnTo>
                <a:lnTo>
                  <a:pt x="1883" y="3397"/>
                </a:lnTo>
                <a:lnTo>
                  <a:pt x="1874" y="3382"/>
                </a:lnTo>
                <a:lnTo>
                  <a:pt x="1870" y="3370"/>
                </a:lnTo>
                <a:lnTo>
                  <a:pt x="1869" y="3358"/>
                </a:lnTo>
                <a:lnTo>
                  <a:pt x="1873" y="3352"/>
                </a:lnTo>
                <a:lnTo>
                  <a:pt x="1884" y="3348"/>
                </a:lnTo>
                <a:lnTo>
                  <a:pt x="1902" y="3350"/>
                </a:lnTo>
                <a:lnTo>
                  <a:pt x="1929" y="3357"/>
                </a:lnTo>
                <a:lnTo>
                  <a:pt x="1942" y="3334"/>
                </a:lnTo>
                <a:lnTo>
                  <a:pt x="1953" y="3314"/>
                </a:lnTo>
                <a:lnTo>
                  <a:pt x="1964" y="3295"/>
                </a:lnTo>
                <a:lnTo>
                  <a:pt x="1972" y="3275"/>
                </a:lnTo>
                <a:lnTo>
                  <a:pt x="1982" y="3257"/>
                </a:lnTo>
                <a:lnTo>
                  <a:pt x="1991" y="3235"/>
                </a:lnTo>
                <a:lnTo>
                  <a:pt x="2002" y="3214"/>
                </a:lnTo>
                <a:lnTo>
                  <a:pt x="2014" y="3191"/>
                </a:lnTo>
                <a:lnTo>
                  <a:pt x="2015" y="3177"/>
                </a:lnTo>
                <a:lnTo>
                  <a:pt x="2020" y="3162"/>
                </a:lnTo>
                <a:lnTo>
                  <a:pt x="2026" y="3145"/>
                </a:lnTo>
                <a:lnTo>
                  <a:pt x="2033" y="3126"/>
                </a:lnTo>
                <a:lnTo>
                  <a:pt x="2042" y="3108"/>
                </a:lnTo>
                <a:lnTo>
                  <a:pt x="2048" y="3090"/>
                </a:lnTo>
                <a:lnTo>
                  <a:pt x="2052" y="3075"/>
                </a:lnTo>
                <a:lnTo>
                  <a:pt x="2053" y="3061"/>
                </a:lnTo>
                <a:lnTo>
                  <a:pt x="2066" y="3042"/>
                </a:lnTo>
                <a:lnTo>
                  <a:pt x="2079" y="3021"/>
                </a:lnTo>
                <a:lnTo>
                  <a:pt x="2092" y="3002"/>
                </a:lnTo>
                <a:lnTo>
                  <a:pt x="2103" y="2983"/>
                </a:lnTo>
                <a:lnTo>
                  <a:pt x="2114" y="2964"/>
                </a:lnTo>
                <a:lnTo>
                  <a:pt x="2126" y="2945"/>
                </a:lnTo>
                <a:lnTo>
                  <a:pt x="2137" y="2927"/>
                </a:lnTo>
                <a:lnTo>
                  <a:pt x="2149" y="2907"/>
                </a:lnTo>
                <a:lnTo>
                  <a:pt x="2156" y="2853"/>
                </a:lnTo>
                <a:lnTo>
                  <a:pt x="2167" y="2811"/>
                </a:lnTo>
                <a:lnTo>
                  <a:pt x="2178" y="2769"/>
                </a:lnTo>
                <a:lnTo>
                  <a:pt x="2181" y="2716"/>
                </a:lnTo>
                <a:lnTo>
                  <a:pt x="2195" y="2707"/>
                </a:lnTo>
                <a:lnTo>
                  <a:pt x="2209" y="2695"/>
                </a:lnTo>
                <a:lnTo>
                  <a:pt x="2224" y="2682"/>
                </a:lnTo>
                <a:lnTo>
                  <a:pt x="2240" y="2669"/>
                </a:lnTo>
                <a:lnTo>
                  <a:pt x="2255" y="2656"/>
                </a:lnTo>
                <a:lnTo>
                  <a:pt x="2270" y="2642"/>
                </a:lnTo>
                <a:lnTo>
                  <a:pt x="2284" y="2631"/>
                </a:lnTo>
                <a:lnTo>
                  <a:pt x="2297" y="2621"/>
                </a:lnTo>
                <a:lnTo>
                  <a:pt x="2306" y="2569"/>
                </a:lnTo>
                <a:lnTo>
                  <a:pt x="2312" y="2527"/>
                </a:lnTo>
                <a:lnTo>
                  <a:pt x="2317" y="2486"/>
                </a:lnTo>
                <a:lnTo>
                  <a:pt x="2328" y="2431"/>
                </a:lnTo>
                <a:lnTo>
                  <a:pt x="2338" y="2421"/>
                </a:lnTo>
                <a:lnTo>
                  <a:pt x="2355" y="2409"/>
                </a:lnTo>
                <a:lnTo>
                  <a:pt x="2374" y="2396"/>
                </a:lnTo>
                <a:lnTo>
                  <a:pt x="2397" y="2381"/>
                </a:lnTo>
                <a:lnTo>
                  <a:pt x="2420" y="2366"/>
                </a:lnTo>
                <a:lnTo>
                  <a:pt x="2440" y="2352"/>
                </a:lnTo>
                <a:lnTo>
                  <a:pt x="2456" y="2342"/>
                </a:lnTo>
                <a:lnTo>
                  <a:pt x="2465" y="2332"/>
                </a:lnTo>
                <a:lnTo>
                  <a:pt x="2463" y="2317"/>
                </a:lnTo>
                <a:lnTo>
                  <a:pt x="2463" y="2304"/>
                </a:lnTo>
                <a:lnTo>
                  <a:pt x="2468" y="2291"/>
                </a:lnTo>
                <a:lnTo>
                  <a:pt x="2471" y="2278"/>
                </a:lnTo>
                <a:lnTo>
                  <a:pt x="2476" y="2264"/>
                </a:lnTo>
                <a:lnTo>
                  <a:pt x="2479" y="2251"/>
                </a:lnTo>
                <a:lnTo>
                  <a:pt x="2481" y="2235"/>
                </a:lnTo>
                <a:lnTo>
                  <a:pt x="2479" y="2222"/>
                </a:lnTo>
                <a:lnTo>
                  <a:pt x="2490" y="2220"/>
                </a:lnTo>
                <a:lnTo>
                  <a:pt x="2501" y="2216"/>
                </a:lnTo>
                <a:lnTo>
                  <a:pt x="2513" y="2213"/>
                </a:lnTo>
                <a:lnTo>
                  <a:pt x="2525" y="2208"/>
                </a:lnTo>
                <a:lnTo>
                  <a:pt x="2536" y="2204"/>
                </a:lnTo>
                <a:lnTo>
                  <a:pt x="2547" y="2201"/>
                </a:lnTo>
                <a:lnTo>
                  <a:pt x="2558" y="2196"/>
                </a:lnTo>
                <a:lnTo>
                  <a:pt x="2569" y="2193"/>
                </a:lnTo>
                <a:lnTo>
                  <a:pt x="2574" y="2172"/>
                </a:lnTo>
                <a:lnTo>
                  <a:pt x="2581" y="2153"/>
                </a:lnTo>
                <a:lnTo>
                  <a:pt x="2589" y="2133"/>
                </a:lnTo>
                <a:lnTo>
                  <a:pt x="2598" y="2111"/>
                </a:lnTo>
                <a:lnTo>
                  <a:pt x="2606" y="2115"/>
                </a:lnTo>
                <a:lnTo>
                  <a:pt x="2612" y="2117"/>
                </a:lnTo>
                <a:lnTo>
                  <a:pt x="2619" y="2120"/>
                </a:lnTo>
                <a:lnTo>
                  <a:pt x="2627" y="2123"/>
                </a:lnTo>
                <a:lnTo>
                  <a:pt x="2634" y="2126"/>
                </a:lnTo>
                <a:lnTo>
                  <a:pt x="2643" y="2128"/>
                </a:lnTo>
                <a:lnTo>
                  <a:pt x="2651" y="2131"/>
                </a:lnTo>
                <a:lnTo>
                  <a:pt x="2659" y="2133"/>
                </a:lnTo>
                <a:lnTo>
                  <a:pt x="2667" y="2115"/>
                </a:lnTo>
                <a:lnTo>
                  <a:pt x="2673" y="2098"/>
                </a:lnTo>
                <a:lnTo>
                  <a:pt x="2677" y="2080"/>
                </a:lnTo>
                <a:lnTo>
                  <a:pt x="2682" y="2064"/>
                </a:lnTo>
                <a:lnTo>
                  <a:pt x="2687" y="2058"/>
                </a:lnTo>
                <a:lnTo>
                  <a:pt x="2692" y="2053"/>
                </a:lnTo>
                <a:lnTo>
                  <a:pt x="2698" y="2049"/>
                </a:lnTo>
                <a:lnTo>
                  <a:pt x="2704" y="2042"/>
                </a:lnTo>
                <a:lnTo>
                  <a:pt x="2710" y="2038"/>
                </a:lnTo>
                <a:lnTo>
                  <a:pt x="2715" y="2032"/>
                </a:lnTo>
                <a:lnTo>
                  <a:pt x="2721" y="2026"/>
                </a:lnTo>
                <a:lnTo>
                  <a:pt x="2725" y="2021"/>
                </a:lnTo>
                <a:lnTo>
                  <a:pt x="2735" y="2005"/>
                </a:lnTo>
                <a:lnTo>
                  <a:pt x="2746" y="1989"/>
                </a:lnTo>
                <a:lnTo>
                  <a:pt x="2757" y="1972"/>
                </a:lnTo>
                <a:lnTo>
                  <a:pt x="2769" y="1957"/>
                </a:lnTo>
                <a:lnTo>
                  <a:pt x="2781" y="1940"/>
                </a:lnTo>
                <a:lnTo>
                  <a:pt x="2793" y="1925"/>
                </a:lnTo>
                <a:lnTo>
                  <a:pt x="2807" y="1907"/>
                </a:lnTo>
                <a:lnTo>
                  <a:pt x="2821" y="1891"/>
                </a:lnTo>
                <a:lnTo>
                  <a:pt x="2844" y="1871"/>
                </a:lnTo>
                <a:lnTo>
                  <a:pt x="2869" y="1850"/>
                </a:lnTo>
                <a:lnTo>
                  <a:pt x="2892" y="1829"/>
                </a:lnTo>
                <a:lnTo>
                  <a:pt x="2916" y="1809"/>
                </a:lnTo>
                <a:lnTo>
                  <a:pt x="2940" y="1787"/>
                </a:lnTo>
                <a:lnTo>
                  <a:pt x="2963" y="1765"/>
                </a:lnTo>
                <a:lnTo>
                  <a:pt x="2985" y="1743"/>
                </a:lnTo>
                <a:lnTo>
                  <a:pt x="3008" y="1721"/>
                </a:lnTo>
                <a:lnTo>
                  <a:pt x="3030" y="1698"/>
                </a:lnTo>
                <a:lnTo>
                  <a:pt x="3054" y="1676"/>
                </a:lnTo>
                <a:lnTo>
                  <a:pt x="3077" y="1653"/>
                </a:lnTo>
                <a:lnTo>
                  <a:pt x="3100" y="1629"/>
                </a:lnTo>
                <a:lnTo>
                  <a:pt x="3122" y="1605"/>
                </a:lnTo>
                <a:lnTo>
                  <a:pt x="3146" y="1581"/>
                </a:lnTo>
                <a:lnTo>
                  <a:pt x="3171" y="1558"/>
                </a:lnTo>
                <a:lnTo>
                  <a:pt x="3194" y="1534"/>
                </a:lnTo>
                <a:lnTo>
                  <a:pt x="3219" y="1508"/>
                </a:lnTo>
                <a:lnTo>
                  <a:pt x="3244" y="1485"/>
                </a:lnTo>
                <a:lnTo>
                  <a:pt x="3270" y="1460"/>
                </a:lnTo>
                <a:lnTo>
                  <a:pt x="3296" y="1435"/>
                </a:lnTo>
                <a:lnTo>
                  <a:pt x="3322" y="1409"/>
                </a:lnTo>
                <a:lnTo>
                  <a:pt x="3350" y="1385"/>
                </a:lnTo>
                <a:lnTo>
                  <a:pt x="3380" y="1360"/>
                </a:lnTo>
                <a:lnTo>
                  <a:pt x="3409" y="1335"/>
                </a:lnTo>
                <a:lnTo>
                  <a:pt x="3439" y="1309"/>
                </a:lnTo>
                <a:lnTo>
                  <a:pt x="3470" y="1283"/>
                </a:lnTo>
                <a:lnTo>
                  <a:pt x="3501" y="1258"/>
                </a:lnTo>
                <a:lnTo>
                  <a:pt x="3535" y="1231"/>
                </a:lnTo>
                <a:lnTo>
                  <a:pt x="3569" y="1208"/>
                </a:lnTo>
                <a:lnTo>
                  <a:pt x="3604" y="1181"/>
                </a:lnTo>
                <a:lnTo>
                  <a:pt x="3641" y="1156"/>
                </a:lnTo>
                <a:lnTo>
                  <a:pt x="3679" y="1130"/>
                </a:lnTo>
                <a:lnTo>
                  <a:pt x="3695" y="1119"/>
                </a:lnTo>
                <a:lnTo>
                  <a:pt x="3712" y="1107"/>
                </a:lnTo>
                <a:lnTo>
                  <a:pt x="3730" y="1097"/>
                </a:lnTo>
                <a:lnTo>
                  <a:pt x="3746" y="1085"/>
                </a:lnTo>
                <a:lnTo>
                  <a:pt x="3764" y="1076"/>
                </a:lnTo>
                <a:lnTo>
                  <a:pt x="3781" y="1065"/>
                </a:lnTo>
                <a:lnTo>
                  <a:pt x="3799" y="1054"/>
                </a:lnTo>
                <a:lnTo>
                  <a:pt x="3818" y="1045"/>
                </a:lnTo>
                <a:lnTo>
                  <a:pt x="3827" y="1039"/>
                </a:lnTo>
                <a:lnTo>
                  <a:pt x="3839" y="1035"/>
                </a:lnTo>
                <a:lnTo>
                  <a:pt x="3849" y="1030"/>
                </a:lnTo>
                <a:lnTo>
                  <a:pt x="3859" y="1025"/>
                </a:lnTo>
                <a:lnTo>
                  <a:pt x="3869" y="1019"/>
                </a:lnTo>
                <a:lnTo>
                  <a:pt x="3880" y="1015"/>
                </a:lnTo>
                <a:lnTo>
                  <a:pt x="3890" y="1008"/>
                </a:lnTo>
                <a:lnTo>
                  <a:pt x="3901" y="1003"/>
                </a:lnTo>
                <a:lnTo>
                  <a:pt x="3920" y="991"/>
                </a:lnTo>
                <a:lnTo>
                  <a:pt x="3938" y="980"/>
                </a:lnTo>
                <a:lnTo>
                  <a:pt x="3957" y="970"/>
                </a:lnTo>
                <a:lnTo>
                  <a:pt x="3975" y="956"/>
                </a:lnTo>
                <a:lnTo>
                  <a:pt x="3994" y="946"/>
                </a:lnTo>
                <a:lnTo>
                  <a:pt x="4012" y="932"/>
                </a:lnTo>
                <a:lnTo>
                  <a:pt x="4031" y="922"/>
                </a:lnTo>
                <a:lnTo>
                  <a:pt x="4049" y="910"/>
                </a:lnTo>
                <a:lnTo>
                  <a:pt x="4061" y="901"/>
                </a:lnTo>
                <a:lnTo>
                  <a:pt x="4074" y="891"/>
                </a:lnTo>
                <a:lnTo>
                  <a:pt x="4085" y="882"/>
                </a:lnTo>
                <a:lnTo>
                  <a:pt x="4099" y="872"/>
                </a:lnTo>
                <a:lnTo>
                  <a:pt x="4112" y="863"/>
                </a:lnTo>
                <a:lnTo>
                  <a:pt x="4125" y="854"/>
                </a:lnTo>
                <a:lnTo>
                  <a:pt x="4137" y="845"/>
                </a:lnTo>
                <a:lnTo>
                  <a:pt x="4151" y="835"/>
                </a:lnTo>
                <a:lnTo>
                  <a:pt x="4156" y="823"/>
                </a:lnTo>
                <a:lnTo>
                  <a:pt x="4161" y="811"/>
                </a:lnTo>
                <a:lnTo>
                  <a:pt x="4166" y="801"/>
                </a:lnTo>
                <a:lnTo>
                  <a:pt x="4170" y="792"/>
                </a:lnTo>
                <a:lnTo>
                  <a:pt x="4179" y="783"/>
                </a:lnTo>
                <a:lnTo>
                  <a:pt x="4187" y="778"/>
                </a:lnTo>
                <a:lnTo>
                  <a:pt x="4195" y="770"/>
                </a:lnTo>
                <a:lnTo>
                  <a:pt x="4204" y="764"/>
                </a:lnTo>
                <a:lnTo>
                  <a:pt x="4212" y="756"/>
                </a:lnTo>
                <a:lnTo>
                  <a:pt x="4221" y="750"/>
                </a:lnTo>
                <a:lnTo>
                  <a:pt x="4230" y="743"/>
                </a:lnTo>
                <a:lnTo>
                  <a:pt x="4239" y="737"/>
                </a:lnTo>
                <a:lnTo>
                  <a:pt x="4242" y="743"/>
                </a:lnTo>
                <a:lnTo>
                  <a:pt x="4245" y="749"/>
                </a:lnTo>
                <a:lnTo>
                  <a:pt x="4248" y="755"/>
                </a:lnTo>
                <a:lnTo>
                  <a:pt x="4250" y="762"/>
                </a:lnTo>
                <a:lnTo>
                  <a:pt x="4264" y="752"/>
                </a:lnTo>
                <a:lnTo>
                  <a:pt x="4276" y="746"/>
                </a:lnTo>
                <a:lnTo>
                  <a:pt x="4290" y="737"/>
                </a:lnTo>
                <a:lnTo>
                  <a:pt x="4304" y="728"/>
                </a:lnTo>
                <a:lnTo>
                  <a:pt x="4317" y="721"/>
                </a:lnTo>
                <a:lnTo>
                  <a:pt x="4331" y="712"/>
                </a:lnTo>
                <a:lnTo>
                  <a:pt x="4345" y="705"/>
                </a:lnTo>
                <a:lnTo>
                  <a:pt x="4356" y="697"/>
                </a:lnTo>
                <a:lnTo>
                  <a:pt x="4366" y="683"/>
                </a:lnTo>
                <a:lnTo>
                  <a:pt x="4375" y="665"/>
                </a:lnTo>
                <a:lnTo>
                  <a:pt x="4385" y="649"/>
                </a:lnTo>
                <a:lnTo>
                  <a:pt x="4393" y="634"/>
                </a:lnTo>
                <a:lnTo>
                  <a:pt x="4404" y="624"/>
                </a:lnTo>
                <a:lnTo>
                  <a:pt x="4416" y="615"/>
                </a:lnTo>
                <a:lnTo>
                  <a:pt x="4429" y="606"/>
                </a:lnTo>
                <a:lnTo>
                  <a:pt x="4441" y="598"/>
                </a:lnTo>
                <a:lnTo>
                  <a:pt x="4452" y="590"/>
                </a:lnTo>
                <a:lnTo>
                  <a:pt x="4465" y="580"/>
                </a:lnTo>
                <a:lnTo>
                  <a:pt x="4475" y="570"/>
                </a:lnTo>
                <a:lnTo>
                  <a:pt x="4485" y="562"/>
                </a:lnTo>
                <a:lnTo>
                  <a:pt x="4490" y="547"/>
                </a:lnTo>
                <a:lnTo>
                  <a:pt x="4494" y="532"/>
                </a:lnTo>
                <a:lnTo>
                  <a:pt x="4499" y="517"/>
                </a:lnTo>
                <a:lnTo>
                  <a:pt x="4506" y="501"/>
                </a:lnTo>
                <a:lnTo>
                  <a:pt x="4516" y="492"/>
                </a:lnTo>
                <a:lnTo>
                  <a:pt x="4529" y="484"/>
                </a:lnTo>
                <a:lnTo>
                  <a:pt x="4541" y="477"/>
                </a:lnTo>
                <a:lnTo>
                  <a:pt x="4553" y="468"/>
                </a:lnTo>
                <a:lnTo>
                  <a:pt x="4564" y="459"/>
                </a:lnTo>
                <a:lnTo>
                  <a:pt x="4577" y="450"/>
                </a:lnTo>
                <a:lnTo>
                  <a:pt x="4587" y="443"/>
                </a:lnTo>
                <a:lnTo>
                  <a:pt x="4597" y="435"/>
                </a:lnTo>
                <a:lnTo>
                  <a:pt x="4611" y="430"/>
                </a:lnTo>
                <a:lnTo>
                  <a:pt x="4625" y="426"/>
                </a:lnTo>
                <a:lnTo>
                  <a:pt x="4638" y="422"/>
                </a:lnTo>
                <a:lnTo>
                  <a:pt x="4650" y="418"/>
                </a:lnTo>
                <a:lnTo>
                  <a:pt x="4664" y="413"/>
                </a:lnTo>
                <a:lnTo>
                  <a:pt x="4676" y="410"/>
                </a:lnTo>
                <a:lnTo>
                  <a:pt x="4688" y="405"/>
                </a:lnTo>
                <a:lnTo>
                  <a:pt x="4702" y="401"/>
                </a:lnTo>
                <a:lnTo>
                  <a:pt x="4708" y="393"/>
                </a:lnTo>
                <a:lnTo>
                  <a:pt x="4714" y="384"/>
                </a:lnTo>
                <a:lnTo>
                  <a:pt x="4720" y="377"/>
                </a:lnTo>
                <a:lnTo>
                  <a:pt x="4726" y="367"/>
                </a:lnTo>
                <a:lnTo>
                  <a:pt x="4733" y="359"/>
                </a:lnTo>
                <a:lnTo>
                  <a:pt x="4739" y="350"/>
                </a:lnTo>
                <a:lnTo>
                  <a:pt x="4745" y="341"/>
                </a:lnTo>
                <a:lnTo>
                  <a:pt x="4751" y="332"/>
                </a:lnTo>
                <a:lnTo>
                  <a:pt x="4761" y="326"/>
                </a:lnTo>
                <a:lnTo>
                  <a:pt x="4772" y="319"/>
                </a:lnTo>
                <a:lnTo>
                  <a:pt x="4781" y="312"/>
                </a:lnTo>
                <a:lnTo>
                  <a:pt x="4790" y="305"/>
                </a:lnTo>
                <a:lnTo>
                  <a:pt x="4800" y="298"/>
                </a:lnTo>
                <a:lnTo>
                  <a:pt x="4810" y="291"/>
                </a:lnTo>
                <a:lnTo>
                  <a:pt x="4819" y="283"/>
                </a:lnTo>
                <a:lnTo>
                  <a:pt x="4827" y="275"/>
                </a:lnTo>
                <a:lnTo>
                  <a:pt x="4833" y="280"/>
                </a:lnTo>
                <a:lnTo>
                  <a:pt x="4840" y="285"/>
                </a:lnTo>
                <a:lnTo>
                  <a:pt x="4848" y="292"/>
                </a:lnTo>
                <a:lnTo>
                  <a:pt x="4852" y="297"/>
                </a:lnTo>
                <a:lnTo>
                  <a:pt x="4862" y="289"/>
                </a:lnTo>
                <a:lnTo>
                  <a:pt x="4873" y="280"/>
                </a:lnTo>
                <a:lnTo>
                  <a:pt x="4882" y="272"/>
                </a:lnTo>
                <a:lnTo>
                  <a:pt x="4893" y="264"/>
                </a:lnTo>
                <a:lnTo>
                  <a:pt x="4902" y="253"/>
                </a:lnTo>
                <a:lnTo>
                  <a:pt x="4912" y="244"/>
                </a:lnTo>
                <a:lnTo>
                  <a:pt x="4923" y="236"/>
                </a:lnTo>
                <a:lnTo>
                  <a:pt x="4933" y="228"/>
                </a:lnTo>
                <a:lnTo>
                  <a:pt x="4921" y="233"/>
                </a:lnTo>
                <a:lnTo>
                  <a:pt x="4910" y="239"/>
                </a:lnTo>
                <a:lnTo>
                  <a:pt x="4898" y="246"/>
                </a:lnTo>
                <a:lnTo>
                  <a:pt x="4884" y="250"/>
                </a:lnTo>
                <a:lnTo>
                  <a:pt x="4873" y="257"/>
                </a:lnTo>
                <a:lnTo>
                  <a:pt x="4862" y="262"/>
                </a:lnTo>
                <a:lnTo>
                  <a:pt x="4850" y="267"/>
                </a:lnTo>
                <a:lnTo>
                  <a:pt x="4838" y="272"/>
                </a:lnTo>
                <a:lnTo>
                  <a:pt x="4849" y="246"/>
                </a:lnTo>
                <a:lnTo>
                  <a:pt x="4858" y="223"/>
                </a:lnTo>
                <a:lnTo>
                  <a:pt x="4864" y="199"/>
                </a:lnTo>
                <a:lnTo>
                  <a:pt x="4869" y="175"/>
                </a:lnTo>
                <a:lnTo>
                  <a:pt x="4861" y="182"/>
                </a:lnTo>
                <a:lnTo>
                  <a:pt x="4852" y="191"/>
                </a:lnTo>
                <a:lnTo>
                  <a:pt x="4842" y="200"/>
                </a:lnTo>
                <a:lnTo>
                  <a:pt x="4832" y="208"/>
                </a:lnTo>
                <a:lnTo>
                  <a:pt x="4823" y="216"/>
                </a:lnTo>
                <a:lnTo>
                  <a:pt x="4813" y="224"/>
                </a:lnTo>
                <a:lnTo>
                  <a:pt x="4801" y="233"/>
                </a:lnTo>
                <a:lnTo>
                  <a:pt x="4792" y="242"/>
                </a:lnTo>
                <a:lnTo>
                  <a:pt x="4785" y="252"/>
                </a:lnTo>
                <a:lnTo>
                  <a:pt x="4776" y="262"/>
                </a:lnTo>
                <a:lnTo>
                  <a:pt x="4768" y="272"/>
                </a:lnTo>
                <a:lnTo>
                  <a:pt x="4761" y="283"/>
                </a:lnTo>
                <a:lnTo>
                  <a:pt x="4754" y="295"/>
                </a:lnTo>
                <a:lnTo>
                  <a:pt x="4746" y="305"/>
                </a:lnTo>
                <a:lnTo>
                  <a:pt x="4739" y="317"/>
                </a:lnTo>
                <a:lnTo>
                  <a:pt x="4732" y="328"/>
                </a:lnTo>
                <a:lnTo>
                  <a:pt x="4724" y="332"/>
                </a:lnTo>
                <a:lnTo>
                  <a:pt x="4717" y="337"/>
                </a:lnTo>
                <a:lnTo>
                  <a:pt x="4710" y="343"/>
                </a:lnTo>
                <a:lnTo>
                  <a:pt x="4704" y="349"/>
                </a:lnTo>
                <a:lnTo>
                  <a:pt x="4696" y="354"/>
                </a:lnTo>
                <a:lnTo>
                  <a:pt x="4689" y="359"/>
                </a:lnTo>
                <a:lnTo>
                  <a:pt x="4683" y="363"/>
                </a:lnTo>
                <a:lnTo>
                  <a:pt x="4676" y="368"/>
                </a:lnTo>
                <a:lnTo>
                  <a:pt x="4671" y="367"/>
                </a:lnTo>
                <a:lnTo>
                  <a:pt x="4666" y="366"/>
                </a:lnTo>
                <a:lnTo>
                  <a:pt x="4662" y="363"/>
                </a:lnTo>
                <a:lnTo>
                  <a:pt x="4658" y="362"/>
                </a:lnTo>
                <a:lnTo>
                  <a:pt x="4653" y="361"/>
                </a:lnTo>
                <a:lnTo>
                  <a:pt x="4648" y="359"/>
                </a:lnTo>
                <a:lnTo>
                  <a:pt x="4642" y="357"/>
                </a:lnTo>
                <a:lnTo>
                  <a:pt x="4638" y="357"/>
                </a:lnTo>
                <a:lnTo>
                  <a:pt x="4616" y="374"/>
                </a:lnTo>
                <a:lnTo>
                  <a:pt x="4595" y="393"/>
                </a:lnTo>
                <a:lnTo>
                  <a:pt x="4573" y="412"/>
                </a:lnTo>
                <a:lnTo>
                  <a:pt x="4552" y="430"/>
                </a:lnTo>
                <a:lnTo>
                  <a:pt x="4529" y="449"/>
                </a:lnTo>
                <a:lnTo>
                  <a:pt x="4506" y="468"/>
                </a:lnTo>
                <a:lnTo>
                  <a:pt x="4484" y="487"/>
                </a:lnTo>
                <a:lnTo>
                  <a:pt x="4461" y="506"/>
                </a:lnTo>
                <a:lnTo>
                  <a:pt x="4450" y="511"/>
                </a:lnTo>
                <a:lnTo>
                  <a:pt x="4441" y="517"/>
                </a:lnTo>
                <a:lnTo>
                  <a:pt x="4431" y="521"/>
                </a:lnTo>
                <a:lnTo>
                  <a:pt x="4422" y="528"/>
                </a:lnTo>
                <a:lnTo>
                  <a:pt x="4411" y="532"/>
                </a:lnTo>
                <a:lnTo>
                  <a:pt x="4403" y="537"/>
                </a:lnTo>
                <a:lnTo>
                  <a:pt x="4393" y="543"/>
                </a:lnTo>
                <a:lnTo>
                  <a:pt x="4385" y="548"/>
                </a:lnTo>
                <a:lnTo>
                  <a:pt x="4378" y="546"/>
                </a:lnTo>
                <a:lnTo>
                  <a:pt x="4372" y="543"/>
                </a:lnTo>
                <a:lnTo>
                  <a:pt x="4366" y="541"/>
                </a:lnTo>
                <a:lnTo>
                  <a:pt x="4362" y="537"/>
                </a:lnTo>
                <a:lnTo>
                  <a:pt x="4355" y="535"/>
                </a:lnTo>
                <a:lnTo>
                  <a:pt x="4351" y="532"/>
                </a:lnTo>
                <a:lnTo>
                  <a:pt x="4345" y="530"/>
                </a:lnTo>
                <a:lnTo>
                  <a:pt x="4339" y="528"/>
                </a:lnTo>
                <a:lnTo>
                  <a:pt x="4314" y="546"/>
                </a:lnTo>
                <a:lnTo>
                  <a:pt x="4289" y="563"/>
                </a:lnTo>
                <a:lnTo>
                  <a:pt x="4264" y="581"/>
                </a:lnTo>
                <a:lnTo>
                  <a:pt x="4239" y="599"/>
                </a:lnTo>
                <a:lnTo>
                  <a:pt x="4215" y="617"/>
                </a:lnTo>
                <a:lnTo>
                  <a:pt x="4189" y="635"/>
                </a:lnTo>
                <a:lnTo>
                  <a:pt x="4164" y="653"/>
                </a:lnTo>
                <a:lnTo>
                  <a:pt x="4139" y="670"/>
                </a:lnTo>
                <a:lnTo>
                  <a:pt x="4114" y="688"/>
                </a:lnTo>
                <a:lnTo>
                  <a:pt x="4089" y="708"/>
                </a:lnTo>
                <a:lnTo>
                  <a:pt x="4064" y="724"/>
                </a:lnTo>
                <a:lnTo>
                  <a:pt x="4039" y="743"/>
                </a:lnTo>
                <a:lnTo>
                  <a:pt x="4014" y="761"/>
                </a:lnTo>
                <a:lnTo>
                  <a:pt x="3988" y="779"/>
                </a:lnTo>
                <a:lnTo>
                  <a:pt x="3964" y="798"/>
                </a:lnTo>
                <a:lnTo>
                  <a:pt x="3938" y="816"/>
                </a:lnTo>
                <a:lnTo>
                  <a:pt x="3932" y="808"/>
                </a:lnTo>
                <a:lnTo>
                  <a:pt x="3926" y="801"/>
                </a:lnTo>
                <a:lnTo>
                  <a:pt x="3920" y="791"/>
                </a:lnTo>
                <a:lnTo>
                  <a:pt x="3916" y="780"/>
                </a:lnTo>
                <a:lnTo>
                  <a:pt x="3926" y="773"/>
                </a:lnTo>
                <a:lnTo>
                  <a:pt x="3934" y="766"/>
                </a:lnTo>
                <a:lnTo>
                  <a:pt x="3944" y="756"/>
                </a:lnTo>
                <a:lnTo>
                  <a:pt x="3953" y="748"/>
                </a:lnTo>
                <a:lnTo>
                  <a:pt x="3963" y="739"/>
                </a:lnTo>
                <a:lnTo>
                  <a:pt x="3972" y="731"/>
                </a:lnTo>
                <a:lnTo>
                  <a:pt x="3982" y="721"/>
                </a:lnTo>
                <a:lnTo>
                  <a:pt x="3993" y="713"/>
                </a:lnTo>
                <a:lnTo>
                  <a:pt x="4000" y="711"/>
                </a:lnTo>
                <a:lnTo>
                  <a:pt x="4007" y="708"/>
                </a:lnTo>
                <a:lnTo>
                  <a:pt x="4014" y="708"/>
                </a:lnTo>
                <a:lnTo>
                  <a:pt x="4023" y="705"/>
                </a:lnTo>
                <a:lnTo>
                  <a:pt x="4031" y="702"/>
                </a:lnTo>
                <a:lnTo>
                  <a:pt x="4038" y="699"/>
                </a:lnTo>
                <a:lnTo>
                  <a:pt x="4047" y="696"/>
                </a:lnTo>
                <a:lnTo>
                  <a:pt x="4054" y="694"/>
                </a:lnTo>
                <a:lnTo>
                  <a:pt x="4058" y="687"/>
                </a:lnTo>
                <a:lnTo>
                  <a:pt x="4063" y="680"/>
                </a:lnTo>
                <a:lnTo>
                  <a:pt x="4069" y="674"/>
                </a:lnTo>
                <a:lnTo>
                  <a:pt x="4074" y="666"/>
                </a:lnTo>
                <a:lnTo>
                  <a:pt x="4078" y="659"/>
                </a:lnTo>
                <a:lnTo>
                  <a:pt x="4083" y="652"/>
                </a:lnTo>
                <a:lnTo>
                  <a:pt x="4089" y="644"/>
                </a:lnTo>
                <a:lnTo>
                  <a:pt x="4094" y="636"/>
                </a:lnTo>
                <a:lnTo>
                  <a:pt x="4104" y="632"/>
                </a:lnTo>
                <a:lnTo>
                  <a:pt x="4113" y="626"/>
                </a:lnTo>
                <a:lnTo>
                  <a:pt x="4123" y="621"/>
                </a:lnTo>
                <a:lnTo>
                  <a:pt x="4133" y="615"/>
                </a:lnTo>
                <a:lnTo>
                  <a:pt x="4141" y="609"/>
                </a:lnTo>
                <a:lnTo>
                  <a:pt x="4151" y="604"/>
                </a:lnTo>
                <a:lnTo>
                  <a:pt x="4161" y="598"/>
                </a:lnTo>
                <a:lnTo>
                  <a:pt x="4170" y="593"/>
                </a:lnTo>
                <a:lnTo>
                  <a:pt x="4177" y="579"/>
                </a:lnTo>
                <a:lnTo>
                  <a:pt x="4185" y="566"/>
                </a:lnTo>
                <a:lnTo>
                  <a:pt x="4191" y="552"/>
                </a:lnTo>
                <a:lnTo>
                  <a:pt x="4199" y="537"/>
                </a:lnTo>
                <a:lnTo>
                  <a:pt x="4205" y="530"/>
                </a:lnTo>
                <a:lnTo>
                  <a:pt x="4212" y="524"/>
                </a:lnTo>
                <a:lnTo>
                  <a:pt x="4219" y="517"/>
                </a:lnTo>
                <a:lnTo>
                  <a:pt x="4226" y="511"/>
                </a:lnTo>
                <a:lnTo>
                  <a:pt x="4233" y="505"/>
                </a:lnTo>
                <a:lnTo>
                  <a:pt x="4241" y="499"/>
                </a:lnTo>
                <a:lnTo>
                  <a:pt x="4249" y="492"/>
                </a:lnTo>
                <a:lnTo>
                  <a:pt x="4256" y="486"/>
                </a:lnTo>
                <a:lnTo>
                  <a:pt x="4250" y="484"/>
                </a:lnTo>
                <a:lnTo>
                  <a:pt x="4245" y="481"/>
                </a:lnTo>
                <a:lnTo>
                  <a:pt x="4239" y="479"/>
                </a:lnTo>
                <a:lnTo>
                  <a:pt x="4233" y="475"/>
                </a:lnTo>
                <a:lnTo>
                  <a:pt x="4228" y="473"/>
                </a:lnTo>
                <a:lnTo>
                  <a:pt x="4221" y="469"/>
                </a:lnTo>
                <a:lnTo>
                  <a:pt x="4216" y="466"/>
                </a:lnTo>
                <a:lnTo>
                  <a:pt x="4210" y="461"/>
                </a:lnTo>
                <a:lnTo>
                  <a:pt x="4221" y="453"/>
                </a:lnTo>
                <a:lnTo>
                  <a:pt x="4232" y="444"/>
                </a:lnTo>
                <a:lnTo>
                  <a:pt x="4243" y="436"/>
                </a:lnTo>
                <a:lnTo>
                  <a:pt x="4255" y="426"/>
                </a:lnTo>
                <a:lnTo>
                  <a:pt x="4267" y="418"/>
                </a:lnTo>
                <a:lnTo>
                  <a:pt x="4278" y="410"/>
                </a:lnTo>
                <a:lnTo>
                  <a:pt x="4289" y="401"/>
                </a:lnTo>
                <a:lnTo>
                  <a:pt x="4300" y="392"/>
                </a:lnTo>
                <a:lnTo>
                  <a:pt x="4306" y="386"/>
                </a:lnTo>
                <a:lnTo>
                  <a:pt x="4314" y="381"/>
                </a:lnTo>
                <a:lnTo>
                  <a:pt x="4322" y="374"/>
                </a:lnTo>
                <a:lnTo>
                  <a:pt x="4327" y="367"/>
                </a:lnTo>
                <a:lnTo>
                  <a:pt x="4336" y="357"/>
                </a:lnTo>
                <a:lnTo>
                  <a:pt x="4347" y="346"/>
                </a:lnTo>
                <a:lnTo>
                  <a:pt x="4354" y="334"/>
                </a:lnTo>
                <a:lnTo>
                  <a:pt x="4362" y="323"/>
                </a:lnTo>
                <a:lnTo>
                  <a:pt x="4371" y="311"/>
                </a:lnTo>
                <a:lnTo>
                  <a:pt x="4380" y="300"/>
                </a:lnTo>
                <a:lnTo>
                  <a:pt x="4389" y="289"/>
                </a:lnTo>
                <a:lnTo>
                  <a:pt x="4397" y="277"/>
                </a:lnTo>
                <a:lnTo>
                  <a:pt x="4375" y="288"/>
                </a:lnTo>
                <a:lnTo>
                  <a:pt x="4356" y="297"/>
                </a:lnTo>
                <a:lnTo>
                  <a:pt x="4335" y="306"/>
                </a:lnTo>
                <a:lnTo>
                  <a:pt x="4316" y="315"/>
                </a:lnTo>
                <a:lnTo>
                  <a:pt x="4294" y="326"/>
                </a:lnTo>
                <a:lnTo>
                  <a:pt x="4274" y="335"/>
                </a:lnTo>
                <a:lnTo>
                  <a:pt x="4252" y="347"/>
                </a:lnTo>
                <a:lnTo>
                  <a:pt x="4232" y="357"/>
                </a:lnTo>
                <a:lnTo>
                  <a:pt x="4228" y="354"/>
                </a:lnTo>
                <a:lnTo>
                  <a:pt x="4224" y="351"/>
                </a:lnTo>
                <a:lnTo>
                  <a:pt x="4218" y="350"/>
                </a:lnTo>
                <a:lnTo>
                  <a:pt x="4214" y="348"/>
                </a:lnTo>
                <a:lnTo>
                  <a:pt x="4208" y="347"/>
                </a:lnTo>
                <a:lnTo>
                  <a:pt x="4204" y="343"/>
                </a:lnTo>
                <a:lnTo>
                  <a:pt x="4200" y="343"/>
                </a:lnTo>
                <a:lnTo>
                  <a:pt x="4195" y="342"/>
                </a:lnTo>
                <a:lnTo>
                  <a:pt x="4201" y="336"/>
                </a:lnTo>
                <a:lnTo>
                  <a:pt x="4208" y="330"/>
                </a:lnTo>
                <a:lnTo>
                  <a:pt x="4214" y="324"/>
                </a:lnTo>
                <a:lnTo>
                  <a:pt x="4219" y="317"/>
                </a:lnTo>
                <a:lnTo>
                  <a:pt x="4226" y="310"/>
                </a:lnTo>
                <a:lnTo>
                  <a:pt x="4232" y="304"/>
                </a:lnTo>
                <a:lnTo>
                  <a:pt x="4239" y="298"/>
                </a:lnTo>
                <a:lnTo>
                  <a:pt x="4247" y="292"/>
                </a:lnTo>
                <a:lnTo>
                  <a:pt x="4266" y="277"/>
                </a:lnTo>
                <a:lnTo>
                  <a:pt x="4287" y="259"/>
                </a:lnTo>
                <a:lnTo>
                  <a:pt x="4312" y="239"/>
                </a:lnTo>
                <a:lnTo>
                  <a:pt x="4339" y="219"/>
                </a:lnTo>
                <a:lnTo>
                  <a:pt x="4366" y="200"/>
                </a:lnTo>
                <a:lnTo>
                  <a:pt x="4391" y="181"/>
                </a:lnTo>
                <a:lnTo>
                  <a:pt x="4413" y="165"/>
                </a:lnTo>
                <a:lnTo>
                  <a:pt x="4430" y="150"/>
                </a:lnTo>
                <a:lnTo>
                  <a:pt x="4434" y="126"/>
                </a:lnTo>
                <a:lnTo>
                  <a:pt x="4431" y="115"/>
                </a:lnTo>
                <a:lnTo>
                  <a:pt x="4424" y="115"/>
                </a:lnTo>
                <a:lnTo>
                  <a:pt x="4414" y="121"/>
                </a:lnTo>
                <a:lnTo>
                  <a:pt x="4402" y="129"/>
                </a:lnTo>
                <a:lnTo>
                  <a:pt x="4391" y="137"/>
                </a:lnTo>
                <a:lnTo>
                  <a:pt x="4383" y="143"/>
                </a:lnTo>
                <a:lnTo>
                  <a:pt x="4375" y="142"/>
                </a:lnTo>
                <a:lnTo>
                  <a:pt x="4366" y="149"/>
                </a:lnTo>
                <a:lnTo>
                  <a:pt x="4353" y="155"/>
                </a:lnTo>
                <a:lnTo>
                  <a:pt x="4337" y="163"/>
                </a:lnTo>
                <a:lnTo>
                  <a:pt x="4322" y="169"/>
                </a:lnTo>
                <a:lnTo>
                  <a:pt x="4306" y="177"/>
                </a:lnTo>
                <a:lnTo>
                  <a:pt x="4290" y="182"/>
                </a:lnTo>
                <a:lnTo>
                  <a:pt x="4276" y="191"/>
                </a:lnTo>
                <a:lnTo>
                  <a:pt x="4266" y="199"/>
                </a:lnTo>
                <a:lnTo>
                  <a:pt x="4261" y="208"/>
                </a:lnTo>
                <a:lnTo>
                  <a:pt x="4258" y="218"/>
                </a:lnTo>
                <a:lnTo>
                  <a:pt x="4255" y="229"/>
                </a:lnTo>
                <a:lnTo>
                  <a:pt x="4252" y="239"/>
                </a:lnTo>
                <a:lnTo>
                  <a:pt x="4247" y="244"/>
                </a:lnTo>
                <a:lnTo>
                  <a:pt x="4242" y="250"/>
                </a:lnTo>
                <a:lnTo>
                  <a:pt x="4236" y="257"/>
                </a:lnTo>
                <a:lnTo>
                  <a:pt x="4230" y="262"/>
                </a:lnTo>
                <a:lnTo>
                  <a:pt x="4221" y="268"/>
                </a:lnTo>
                <a:lnTo>
                  <a:pt x="4216" y="273"/>
                </a:lnTo>
                <a:lnTo>
                  <a:pt x="4208" y="279"/>
                </a:lnTo>
                <a:lnTo>
                  <a:pt x="4201" y="284"/>
                </a:lnTo>
                <a:lnTo>
                  <a:pt x="4195" y="277"/>
                </a:lnTo>
                <a:lnTo>
                  <a:pt x="4191" y="270"/>
                </a:lnTo>
                <a:lnTo>
                  <a:pt x="4185" y="264"/>
                </a:lnTo>
                <a:lnTo>
                  <a:pt x="4177" y="257"/>
                </a:lnTo>
                <a:lnTo>
                  <a:pt x="4172" y="249"/>
                </a:lnTo>
                <a:lnTo>
                  <a:pt x="4164" y="243"/>
                </a:lnTo>
                <a:lnTo>
                  <a:pt x="4158" y="237"/>
                </a:lnTo>
                <a:lnTo>
                  <a:pt x="4153" y="231"/>
                </a:lnTo>
                <a:lnTo>
                  <a:pt x="4161" y="217"/>
                </a:lnTo>
                <a:lnTo>
                  <a:pt x="4168" y="205"/>
                </a:lnTo>
                <a:lnTo>
                  <a:pt x="4175" y="191"/>
                </a:lnTo>
                <a:lnTo>
                  <a:pt x="4185" y="177"/>
                </a:lnTo>
                <a:lnTo>
                  <a:pt x="4195" y="171"/>
                </a:lnTo>
                <a:lnTo>
                  <a:pt x="4203" y="163"/>
                </a:lnTo>
                <a:lnTo>
                  <a:pt x="4211" y="155"/>
                </a:lnTo>
                <a:lnTo>
                  <a:pt x="4219" y="148"/>
                </a:lnTo>
                <a:lnTo>
                  <a:pt x="4229" y="140"/>
                </a:lnTo>
                <a:lnTo>
                  <a:pt x="4237" y="132"/>
                </a:lnTo>
                <a:lnTo>
                  <a:pt x="4245" y="125"/>
                </a:lnTo>
                <a:lnTo>
                  <a:pt x="4252" y="118"/>
                </a:lnTo>
                <a:lnTo>
                  <a:pt x="4259" y="109"/>
                </a:lnTo>
                <a:lnTo>
                  <a:pt x="4264" y="101"/>
                </a:lnTo>
                <a:lnTo>
                  <a:pt x="4270" y="92"/>
                </a:lnTo>
                <a:lnTo>
                  <a:pt x="4275" y="84"/>
                </a:lnTo>
                <a:lnTo>
                  <a:pt x="4281" y="74"/>
                </a:lnTo>
                <a:lnTo>
                  <a:pt x="4286" y="66"/>
                </a:lnTo>
                <a:lnTo>
                  <a:pt x="4292" y="56"/>
                </a:lnTo>
                <a:lnTo>
                  <a:pt x="4298" y="47"/>
                </a:lnTo>
                <a:lnTo>
                  <a:pt x="4289" y="48"/>
                </a:lnTo>
                <a:lnTo>
                  <a:pt x="4279" y="51"/>
                </a:lnTo>
                <a:lnTo>
                  <a:pt x="4270" y="53"/>
                </a:lnTo>
                <a:lnTo>
                  <a:pt x="4259" y="53"/>
                </a:lnTo>
                <a:lnTo>
                  <a:pt x="4249" y="56"/>
                </a:lnTo>
                <a:lnTo>
                  <a:pt x="4239" y="57"/>
                </a:lnTo>
                <a:lnTo>
                  <a:pt x="4229" y="60"/>
                </a:lnTo>
                <a:lnTo>
                  <a:pt x="4218" y="61"/>
                </a:lnTo>
                <a:lnTo>
                  <a:pt x="4221" y="44"/>
                </a:lnTo>
                <a:lnTo>
                  <a:pt x="4226" y="30"/>
                </a:lnTo>
                <a:lnTo>
                  <a:pt x="4228" y="15"/>
                </a:lnTo>
                <a:lnTo>
                  <a:pt x="4230" y="0"/>
                </a:lnTo>
                <a:lnTo>
                  <a:pt x="4219" y="6"/>
                </a:lnTo>
                <a:lnTo>
                  <a:pt x="4210" y="12"/>
                </a:lnTo>
                <a:lnTo>
                  <a:pt x="4200" y="18"/>
                </a:lnTo>
                <a:lnTo>
                  <a:pt x="4191" y="26"/>
                </a:lnTo>
                <a:lnTo>
                  <a:pt x="4181" y="33"/>
                </a:lnTo>
                <a:lnTo>
                  <a:pt x="4172" y="41"/>
                </a:lnTo>
                <a:lnTo>
                  <a:pt x="4164" y="48"/>
                </a:lnTo>
                <a:lnTo>
                  <a:pt x="4154" y="56"/>
                </a:lnTo>
                <a:lnTo>
                  <a:pt x="4149" y="64"/>
                </a:lnTo>
                <a:lnTo>
                  <a:pt x="4143" y="74"/>
                </a:lnTo>
                <a:lnTo>
                  <a:pt x="4137" y="84"/>
                </a:lnTo>
                <a:lnTo>
                  <a:pt x="4133" y="94"/>
                </a:lnTo>
                <a:lnTo>
                  <a:pt x="4127" y="104"/>
                </a:lnTo>
                <a:lnTo>
                  <a:pt x="4122" y="115"/>
                </a:lnTo>
                <a:lnTo>
                  <a:pt x="4116" y="125"/>
                </a:lnTo>
                <a:lnTo>
                  <a:pt x="4112" y="136"/>
                </a:lnTo>
                <a:lnTo>
                  <a:pt x="4102" y="136"/>
                </a:lnTo>
                <a:lnTo>
                  <a:pt x="4094" y="136"/>
                </a:lnTo>
                <a:lnTo>
                  <a:pt x="4085" y="136"/>
                </a:lnTo>
                <a:lnTo>
                  <a:pt x="4078" y="136"/>
                </a:lnTo>
                <a:lnTo>
                  <a:pt x="4069" y="136"/>
                </a:lnTo>
                <a:lnTo>
                  <a:pt x="4061" y="136"/>
                </a:lnTo>
                <a:lnTo>
                  <a:pt x="4052" y="136"/>
                </a:lnTo>
                <a:lnTo>
                  <a:pt x="4044" y="135"/>
                </a:lnTo>
                <a:lnTo>
                  <a:pt x="4030" y="146"/>
                </a:lnTo>
                <a:lnTo>
                  <a:pt x="4014" y="157"/>
                </a:lnTo>
                <a:lnTo>
                  <a:pt x="4000" y="169"/>
                </a:lnTo>
                <a:lnTo>
                  <a:pt x="3985" y="179"/>
                </a:lnTo>
                <a:lnTo>
                  <a:pt x="3970" y="190"/>
                </a:lnTo>
                <a:lnTo>
                  <a:pt x="3955" y="202"/>
                </a:lnTo>
                <a:lnTo>
                  <a:pt x="3941" y="212"/>
                </a:lnTo>
                <a:lnTo>
                  <a:pt x="3924" y="223"/>
                </a:lnTo>
                <a:lnTo>
                  <a:pt x="3877" y="257"/>
                </a:lnTo>
                <a:lnTo>
                  <a:pt x="3828" y="287"/>
                </a:lnTo>
                <a:lnTo>
                  <a:pt x="3781" y="314"/>
                </a:lnTo>
                <a:lnTo>
                  <a:pt x="3733" y="339"/>
                </a:lnTo>
                <a:lnTo>
                  <a:pt x="3685" y="365"/>
                </a:lnTo>
                <a:lnTo>
                  <a:pt x="3638" y="390"/>
                </a:lnTo>
                <a:lnTo>
                  <a:pt x="3589" y="415"/>
                </a:lnTo>
                <a:lnTo>
                  <a:pt x="3542" y="439"/>
                </a:lnTo>
                <a:lnTo>
                  <a:pt x="3495" y="467"/>
                </a:lnTo>
                <a:lnTo>
                  <a:pt x="3448" y="497"/>
                </a:lnTo>
                <a:lnTo>
                  <a:pt x="3400" y="529"/>
                </a:lnTo>
                <a:lnTo>
                  <a:pt x="3353" y="563"/>
                </a:lnTo>
                <a:lnTo>
                  <a:pt x="3307" y="604"/>
                </a:lnTo>
                <a:lnTo>
                  <a:pt x="3261" y="649"/>
                </a:lnTo>
                <a:lnTo>
                  <a:pt x="3214" y="698"/>
                </a:lnTo>
                <a:lnTo>
                  <a:pt x="3166" y="754"/>
                </a:lnTo>
                <a:lnTo>
                  <a:pt x="3122" y="783"/>
                </a:lnTo>
                <a:lnTo>
                  <a:pt x="3088" y="806"/>
                </a:lnTo>
                <a:lnTo>
                  <a:pt x="3063" y="823"/>
                </a:lnTo>
                <a:lnTo>
                  <a:pt x="3046" y="832"/>
                </a:lnTo>
                <a:lnTo>
                  <a:pt x="3038" y="835"/>
                </a:lnTo>
                <a:lnTo>
                  <a:pt x="3036" y="834"/>
                </a:lnTo>
                <a:lnTo>
                  <a:pt x="3038" y="829"/>
                </a:lnTo>
                <a:lnTo>
                  <a:pt x="3045" y="820"/>
                </a:lnTo>
                <a:lnTo>
                  <a:pt x="3055" y="810"/>
                </a:lnTo>
                <a:lnTo>
                  <a:pt x="3066" y="798"/>
                </a:lnTo>
                <a:lnTo>
                  <a:pt x="3080" y="785"/>
                </a:lnTo>
                <a:lnTo>
                  <a:pt x="3094" y="773"/>
                </a:lnTo>
                <a:lnTo>
                  <a:pt x="3105" y="762"/>
                </a:lnTo>
                <a:lnTo>
                  <a:pt x="3115" y="750"/>
                </a:lnTo>
                <a:lnTo>
                  <a:pt x="3122" y="743"/>
                </a:lnTo>
                <a:lnTo>
                  <a:pt x="3124" y="739"/>
                </a:lnTo>
                <a:lnTo>
                  <a:pt x="3147" y="727"/>
                </a:lnTo>
                <a:lnTo>
                  <a:pt x="3165" y="717"/>
                </a:lnTo>
                <a:lnTo>
                  <a:pt x="3178" y="708"/>
                </a:lnTo>
                <a:lnTo>
                  <a:pt x="3186" y="702"/>
                </a:lnTo>
                <a:lnTo>
                  <a:pt x="3191" y="698"/>
                </a:lnTo>
                <a:lnTo>
                  <a:pt x="3194" y="694"/>
                </a:lnTo>
                <a:lnTo>
                  <a:pt x="3191" y="692"/>
                </a:lnTo>
                <a:lnTo>
                  <a:pt x="3188" y="691"/>
                </a:lnTo>
                <a:lnTo>
                  <a:pt x="3184" y="691"/>
                </a:lnTo>
                <a:lnTo>
                  <a:pt x="3180" y="691"/>
                </a:lnTo>
                <a:lnTo>
                  <a:pt x="3175" y="690"/>
                </a:lnTo>
                <a:lnTo>
                  <a:pt x="3171" y="688"/>
                </a:lnTo>
                <a:lnTo>
                  <a:pt x="3168" y="686"/>
                </a:lnTo>
                <a:lnTo>
                  <a:pt x="3168" y="683"/>
                </a:lnTo>
                <a:lnTo>
                  <a:pt x="3171" y="677"/>
                </a:lnTo>
                <a:lnTo>
                  <a:pt x="3176" y="670"/>
                </a:lnTo>
                <a:lnTo>
                  <a:pt x="3184" y="661"/>
                </a:lnTo>
                <a:lnTo>
                  <a:pt x="3196" y="649"/>
                </a:lnTo>
                <a:lnTo>
                  <a:pt x="3214" y="635"/>
                </a:lnTo>
                <a:lnTo>
                  <a:pt x="3236" y="618"/>
                </a:lnTo>
                <a:lnTo>
                  <a:pt x="3264" y="598"/>
                </a:lnTo>
                <a:lnTo>
                  <a:pt x="3299" y="574"/>
                </a:lnTo>
                <a:lnTo>
                  <a:pt x="3339" y="546"/>
                </a:lnTo>
                <a:lnTo>
                  <a:pt x="3387" y="515"/>
                </a:lnTo>
                <a:lnTo>
                  <a:pt x="3444" y="477"/>
                </a:lnTo>
                <a:lnTo>
                  <a:pt x="3507" y="437"/>
                </a:lnTo>
                <a:lnTo>
                  <a:pt x="3581" y="392"/>
                </a:lnTo>
                <a:lnTo>
                  <a:pt x="3664" y="339"/>
                </a:lnTo>
                <a:lnTo>
                  <a:pt x="3757" y="284"/>
                </a:lnTo>
                <a:lnTo>
                  <a:pt x="3862" y="221"/>
                </a:lnTo>
                <a:lnTo>
                  <a:pt x="3976" y="153"/>
                </a:lnTo>
                <a:lnTo>
                  <a:pt x="4003" y="135"/>
                </a:lnTo>
                <a:lnTo>
                  <a:pt x="4025" y="118"/>
                </a:lnTo>
                <a:lnTo>
                  <a:pt x="4043" y="101"/>
                </a:lnTo>
                <a:lnTo>
                  <a:pt x="4056" y="86"/>
                </a:lnTo>
                <a:lnTo>
                  <a:pt x="4064" y="72"/>
                </a:lnTo>
                <a:lnTo>
                  <a:pt x="4069" y="62"/>
                </a:lnTo>
                <a:lnTo>
                  <a:pt x="4069" y="55"/>
                </a:lnTo>
                <a:lnTo>
                  <a:pt x="4064" y="53"/>
                </a:lnTo>
                <a:lnTo>
                  <a:pt x="4039" y="57"/>
                </a:lnTo>
                <a:lnTo>
                  <a:pt x="4012" y="70"/>
                </a:lnTo>
                <a:lnTo>
                  <a:pt x="3985" y="90"/>
                </a:lnTo>
                <a:lnTo>
                  <a:pt x="3958" y="109"/>
                </a:lnTo>
                <a:lnTo>
                  <a:pt x="3934" y="128"/>
                </a:lnTo>
                <a:lnTo>
                  <a:pt x="3913" y="142"/>
                </a:lnTo>
                <a:lnTo>
                  <a:pt x="3896" y="146"/>
                </a:lnTo>
                <a:lnTo>
                  <a:pt x="3884" y="135"/>
                </a:lnTo>
                <a:lnTo>
                  <a:pt x="3870" y="157"/>
                </a:lnTo>
                <a:lnTo>
                  <a:pt x="3868" y="165"/>
                </a:lnTo>
                <a:lnTo>
                  <a:pt x="3870" y="163"/>
                </a:lnTo>
                <a:lnTo>
                  <a:pt x="3874" y="154"/>
                </a:lnTo>
                <a:lnTo>
                  <a:pt x="3871" y="146"/>
                </a:lnTo>
                <a:lnTo>
                  <a:pt x="3858" y="146"/>
                </a:lnTo>
                <a:lnTo>
                  <a:pt x="3826" y="155"/>
                </a:lnTo>
                <a:lnTo>
                  <a:pt x="3772" y="181"/>
                </a:lnTo>
                <a:lnTo>
                  <a:pt x="3755" y="191"/>
                </a:lnTo>
                <a:lnTo>
                  <a:pt x="3735" y="202"/>
                </a:lnTo>
                <a:lnTo>
                  <a:pt x="3714" y="213"/>
                </a:lnTo>
                <a:lnTo>
                  <a:pt x="3691" y="228"/>
                </a:lnTo>
                <a:lnTo>
                  <a:pt x="3668" y="242"/>
                </a:lnTo>
                <a:lnTo>
                  <a:pt x="3643" y="257"/>
                </a:lnTo>
                <a:lnTo>
                  <a:pt x="3616" y="273"/>
                </a:lnTo>
                <a:lnTo>
                  <a:pt x="3589" y="291"/>
                </a:lnTo>
                <a:lnTo>
                  <a:pt x="3561" y="308"/>
                </a:lnTo>
                <a:lnTo>
                  <a:pt x="3532" y="326"/>
                </a:lnTo>
                <a:lnTo>
                  <a:pt x="3503" y="346"/>
                </a:lnTo>
                <a:lnTo>
                  <a:pt x="3472" y="365"/>
                </a:lnTo>
                <a:lnTo>
                  <a:pt x="3443" y="384"/>
                </a:lnTo>
                <a:lnTo>
                  <a:pt x="3412" y="405"/>
                </a:lnTo>
                <a:lnTo>
                  <a:pt x="3380" y="425"/>
                </a:lnTo>
                <a:lnTo>
                  <a:pt x="3349" y="446"/>
                </a:lnTo>
                <a:lnTo>
                  <a:pt x="3318" y="467"/>
                </a:lnTo>
                <a:lnTo>
                  <a:pt x="3285" y="487"/>
                </a:lnTo>
                <a:lnTo>
                  <a:pt x="3256" y="508"/>
                </a:lnTo>
                <a:lnTo>
                  <a:pt x="3225" y="529"/>
                </a:lnTo>
                <a:lnTo>
                  <a:pt x="3195" y="548"/>
                </a:lnTo>
                <a:lnTo>
                  <a:pt x="3165" y="570"/>
                </a:lnTo>
                <a:lnTo>
                  <a:pt x="3138" y="588"/>
                </a:lnTo>
                <a:lnTo>
                  <a:pt x="3109" y="608"/>
                </a:lnTo>
                <a:lnTo>
                  <a:pt x="3082" y="626"/>
                </a:lnTo>
                <a:lnTo>
                  <a:pt x="3057" y="644"/>
                </a:lnTo>
                <a:lnTo>
                  <a:pt x="3032" y="661"/>
                </a:lnTo>
                <a:lnTo>
                  <a:pt x="3008" y="677"/>
                </a:lnTo>
                <a:lnTo>
                  <a:pt x="2985" y="694"/>
                </a:lnTo>
                <a:lnTo>
                  <a:pt x="2965" y="708"/>
                </a:lnTo>
                <a:lnTo>
                  <a:pt x="2946" y="721"/>
                </a:lnTo>
                <a:lnTo>
                  <a:pt x="2928" y="733"/>
                </a:lnTo>
                <a:lnTo>
                  <a:pt x="2879" y="768"/>
                </a:lnTo>
                <a:lnTo>
                  <a:pt x="2829" y="803"/>
                </a:lnTo>
                <a:lnTo>
                  <a:pt x="2781" y="836"/>
                </a:lnTo>
                <a:lnTo>
                  <a:pt x="2732" y="868"/>
                </a:lnTo>
                <a:lnTo>
                  <a:pt x="2684" y="901"/>
                </a:lnTo>
                <a:lnTo>
                  <a:pt x="2637" y="932"/>
                </a:lnTo>
                <a:lnTo>
                  <a:pt x="2590" y="963"/>
                </a:lnTo>
                <a:lnTo>
                  <a:pt x="2544" y="994"/>
                </a:lnTo>
                <a:lnTo>
                  <a:pt x="2499" y="1025"/>
                </a:lnTo>
                <a:lnTo>
                  <a:pt x="2455" y="1057"/>
                </a:lnTo>
                <a:lnTo>
                  <a:pt x="2410" y="1087"/>
                </a:lnTo>
                <a:lnTo>
                  <a:pt x="2367" y="1117"/>
                </a:lnTo>
                <a:lnTo>
                  <a:pt x="2324" y="1146"/>
                </a:lnTo>
                <a:lnTo>
                  <a:pt x="2281" y="1177"/>
                </a:lnTo>
                <a:lnTo>
                  <a:pt x="2240" y="1208"/>
                </a:lnTo>
                <a:lnTo>
                  <a:pt x="2199" y="1237"/>
                </a:lnTo>
                <a:lnTo>
                  <a:pt x="2175" y="1258"/>
                </a:lnTo>
                <a:lnTo>
                  <a:pt x="2153" y="1280"/>
                </a:lnTo>
                <a:lnTo>
                  <a:pt x="2132" y="1303"/>
                </a:lnTo>
                <a:lnTo>
                  <a:pt x="2111" y="1326"/>
                </a:lnTo>
                <a:lnTo>
                  <a:pt x="2092" y="1349"/>
                </a:lnTo>
                <a:lnTo>
                  <a:pt x="2072" y="1372"/>
                </a:lnTo>
                <a:lnTo>
                  <a:pt x="2055" y="1396"/>
                </a:lnTo>
                <a:lnTo>
                  <a:pt x="2036" y="1419"/>
                </a:lnTo>
                <a:lnTo>
                  <a:pt x="2017" y="1443"/>
                </a:lnTo>
                <a:lnTo>
                  <a:pt x="2001" y="1466"/>
                </a:lnTo>
                <a:lnTo>
                  <a:pt x="1982" y="1490"/>
                </a:lnTo>
                <a:lnTo>
                  <a:pt x="1964" y="1512"/>
                </a:lnTo>
                <a:lnTo>
                  <a:pt x="1945" y="1536"/>
                </a:lnTo>
                <a:lnTo>
                  <a:pt x="1927" y="1556"/>
                </a:lnTo>
                <a:lnTo>
                  <a:pt x="1907" y="1578"/>
                </a:lnTo>
                <a:lnTo>
                  <a:pt x="1888" y="1599"/>
                </a:lnTo>
                <a:lnTo>
                  <a:pt x="1865" y="1621"/>
                </a:lnTo>
                <a:lnTo>
                  <a:pt x="1841" y="1647"/>
                </a:lnTo>
                <a:lnTo>
                  <a:pt x="1817" y="1679"/>
                </a:lnTo>
                <a:lnTo>
                  <a:pt x="1792" y="1714"/>
                </a:lnTo>
                <a:lnTo>
                  <a:pt x="1768" y="1747"/>
                </a:lnTo>
                <a:lnTo>
                  <a:pt x="1744" y="1778"/>
                </a:lnTo>
                <a:lnTo>
                  <a:pt x="1722" y="1805"/>
                </a:lnTo>
                <a:lnTo>
                  <a:pt x="1703" y="1824"/>
                </a:lnTo>
                <a:lnTo>
                  <a:pt x="1675" y="1845"/>
                </a:lnTo>
                <a:lnTo>
                  <a:pt x="1657" y="1860"/>
                </a:lnTo>
                <a:lnTo>
                  <a:pt x="1643" y="1869"/>
                </a:lnTo>
                <a:lnTo>
                  <a:pt x="1634" y="1876"/>
                </a:lnTo>
                <a:lnTo>
                  <a:pt x="1624" y="1882"/>
                </a:lnTo>
                <a:lnTo>
                  <a:pt x="1613" y="1893"/>
                </a:lnTo>
                <a:lnTo>
                  <a:pt x="1598" y="1906"/>
                </a:lnTo>
                <a:lnTo>
                  <a:pt x="1577" y="1928"/>
                </a:lnTo>
                <a:lnTo>
                  <a:pt x="1555" y="1962"/>
                </a:lnTo>
                <a:lnTo>
                  <a:pt x="1537" y="1996"/>
                </a:lnTo>
                <a:lnTo>
                  <a:pt x="1519" y="2034"/>
                </a:lnTo>
                <a:lnTo>
                  <a:pt x="1504" y="2073"/>
                </a:lnTo>
                <a:lnTo>
                  <a:pt x="1487" y="2109"/>
                </a:lnTo>
                <a:lnTo>
                  <a:pt x="1471" y="2146"/>
                </a:lnTo>
                <a:lnTo>
                  <a:pt x="1457" y="2183"/>
                </a:lnTo>
                <a:lnTo>
                  <a:pt x="1440" y="2216"/>
                </a:lnTo>
                <a:lnTo>
                  <a:pt x="1425" y="2187"/>
                </a:lnTo>
                <a:lnTo>
                  <a:pt x="1406" y="2158"/>
                </a:lnTo>
                <a:lnTo>
                  <a:pt x="1388" y="2128"/>
                </a:lnTo>
                <a:lnTo>
                  <a:pt x="1367" y="2098"/>
                </a:lnTo>
                <a:lnTo>
                  <a:pt x="1345" y="2070"/>
                </a:lnTo>
                <a:lnTo>
                  <a:pt x="1323" y="2040"/>
                </a:lnTo>
                <a:lnTo>
                  <a:pt x="1301" y="2011"/>
                </a:lnTo>
                <a:lnTo>
                  <a:pt x="1278" y="1982"/>
                </a:lnTo>
                <a:lnTo>
                  <a:pt x="1255" y="1952"/>
                </a:lnTo>
                <a:lnTo>
                  <a:pt x="1234" y="1922"/>
                </a:lnTo>
                <a:lnTo>
                  <a:pt x="1214" y="1894"/>
                </a:lnTo>
                <a:lnTo>
                  <a:pt x="1196" y="1864"/>
                </a:lnTo>
                <a:lnTo>
                  <a:pt x="1178" y="1835"/>
                </a:lnTo>
                <a:lnTo>
                  <a:pt x="1163" y="1806"/>
                </a:lnTo>
                <a:lnTo>
                  <a:pt x="1150" y="1776"/>
                </a:lnTo>
                <a:lnTo>
                  <a:pt x="1141" y="1748"/>
                </a:lnTo>
                <a:lnTo>
                  <a:pt x="1125" y="1708"/>
                </a:lnTo>
                <a:lnTo>
                  <a:pt x="1109" y="1665"/>
                </a:lnTo>
                <a:lnTo>
                  <a:pt x="1090" y="1621"/>
                </a:lnTo>
                <a:lnTo>
                  <a:pt x="1072" y="1576"/>
                </a:lnTo>
                <a:lnTo>
                  <a:pt x="1053" y="1531"/>
                </a:lnTo>
                <a:lnTo>
                  <a:pt x="1036" y="1486"/>
                </a:lnTo>
                <a:lnTo>
                  <a:pt x="1019" y="1443"/>
                </a:lnTo>
                <a:lnTo>
                  <a:pt x="1006" y="1401"/>
                </a:lnTo>
                <a:lnTo>
                  <a:pt x="982" y="1410"/>
                </a:lnTo>
                <a:lnTo>
                  <a:pt x="961" y="1421"/>
                </a:lnTo>
                <a:lnTo>
                  <a:pt x="938" y="1429"/>
                </a:lnTo>
                <a:lnTo>
                  <a:pt x="917" y="1438"/>
                </a:lnTo>
                <a:lnTo>
                  <a:pt x="894" y="1447"/>
                </a:lnTo>
                <a:lnTo>
                  <a:pt x="873" y="1454"/>
                </a:lnTo>
                <a:lnTo>
                  <a:pt x="850" y="1462"/>
                </a:lnTo>
                <a:lnTo>
                  <a:pt x="828" y="1472"/>
                </a:lnTo>
                <a:lnTo>
                  <a:pt x="811" y="1480"/>
                </a:lnTo>
                <a:lnTo>
                  <a:pt x="793" y="1487"/>
                </a:lnTo>
                <a:lnTo>
                  <a:pt x="775" y="1496"/>
                </a:lnTo>
                <a:lnTo>
                  <a:pt x="758" y="1505"/>
                </a:lnTo>
                <a:lnTo>
                  <a:pt x="740" y="1512"/>
                </a:lnTo>
                <a:lnTo>
                  <a:pt x="724" y="1521"/>
                </a:lnTo>
                <a:lnTo>
                  <a:pt x="706" y="1528"/>
                </a:lnTo>
                <a:lnTo>
                  <a:pt x="689" y="1537"/>
                </a:lnTo>
                <a:lnTo>
                  <a:pt x="672" y="1545"/>
                </a:lnTo>
                <a:lnTo>
                  <a:pt x="654" y="1553"/>
                </a:lnTo>
                <a:lnTo>
                  <a:pt x="638" y="1561"/>
                </a:lnTo>
                <a:lnTo>
                  <a:pt x="621" y="1570"/>
                </a:lnTo>
                <a:lnTo>
                  <a:pt x="604" y="1576"/>
                </a:lnTo>
                <a:lnTo>
                  <a:pt x="588" y="1585"/>
                </a:lnTo>
                <a:lnTo>
                  <a:pt x="571" y="1593"/>
                </a:lnTo>
                <a:lnTo>
                  <a:pt x="555" y="1601"/>
                </a:lnTo>
                <a:lnTo>
                  <a:pt x="551" y="1601"/>
                </a:lnTo>
                <a:lnTo>
                  <a:pt x="543" y="1601"/>
                </a:lnTo>
                <a:lnTo>
                  <a:pt x="529" y="1603"/>
                </a:lnTo>
                <a:lnTo>
                  <a:pt x="512" y="1607"/>
                </a:lnTo>
                <a:lnTo>
                  <a:pt x="493" y="1611"/>
                </a:lnTo>
                <a:lnTo>
                  <a:pt x="470" y="1617"/>
                </a:lnTo>
                <a:lnTo>
                  <a:pt x="447" y="1625"/>
                </a:lnTo>
                <a:lnTo>
                  <a:pt x="422" y="1632"/>
                </a:lnTo>
                <a:lnTo>
                  <a:pt x="397" y="1638"/>
                </a:lnTo>
                <a:lnTo>
                  <a:pt x="374" y="1645"/>
                </a:lnTo>
                <a:lnTo>
                  <a:pt x="352" y="1653"/>
                </a:lnTo>
                <a:lnTo>
                  <a:pt x="334" y="1657"/>
                </a:lnTo>
                <a:lnTo>
                  <a:pt x="316" y="1661"/>
                </a:lnTo>
                <a:lnTo>
                  <a:pt x="305" y="1665"/>
                </a:lnTo>
                <a:lnTo>
                  <a:pt x="298" y="1665"/>
                </a:lnTo>
                <a:lnTo>
                  <a:pt x="295" y="1663"/>
                </a:lnTo>
                <a:lnTo>
                  <a:pt x="275" y="1674"/>
                </a:lnTo>
                <a:lnTo>
                  <a:pt x="257" y="1685"/>
                </a:lnTo>
                <a:lnTo>
                  <a:pt x="237" y="1696"/>
                </a:lnTo>
                <a:lnTo>
                  <a:pt x="220" y="1708"/>
                </a:lnTo>
                <a:lnTo>
                  <a:pt x="199" y="1718"/>
                </a:lnTo>
                <a:lnTo>
                  <a:pt x="181" y="1728"/>
                </a:lnTo>
                <a:lnTo>
                  <a:pt x="161" y="1739"/>
                </a:lnTo>
                <a:lnTo>
                  <a:pt x="143" y="1750"/>
                </a:lnTo>
                <a:lnTo>
                  <a:pt x="124" y="1761"/>
                </a:lnTo>
                <a:lnTo>
                  <a:pt x="106" y="1773"/>
                </a:lnTo>
                <a:lnTo>
                  <a:pt x="88" y="1783"/>
                </a:lnTo>
                <a:lnTo>
                  <a:pt x="70" y="1794"/>
                </a:lnTo>
                <a:lnTo>
                  <a:pt x="53" y="1805"/>
                </a:lnTo>
                <a:lnTo>
                  <a:pt x="35" y="1816"/>
                </a:lnTo>
                <a:lnTo>
                  <a:pt x="18" y="1827"/>
                </a:lnTo>
                <a:lnTo>
                  <a:pt x="0" y="1838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srgbClr val="C00000"/>
              </a:solidFill>
            </a:endParaRPr>
          </a:p>
        </p:txBody>
      </p:sp>
      <p:sp>
        <p:nvSpPr>
          <p:cNvPr id="153" name="Freeform 48">
            <a:extLst>
              <a:ext uri="{FF2B5EF4-FFF2-40B4-BE49-F238E27FC236}">
                <a16:creationId xmlns:a16="http://schemas.microsoft.com/office/drawing/2014/main" id="{A6024F29-2D22-5BF8-432F-07FD26B53578}"/>
              </a:ext>
            </a:extLst>
          </p:cNvPr>
          <p:cNvSpPr>
            <a:spLocks/>
          </p:cNvSpPr>
          <p:nvPr/>
        </p:nvSpPr>
        <p:spPr bwMode="auto">
          <a:xfrm>
            <a:off x="-2010385" y="5862022"/>
            <a:ext cx="186615" cy="135892"/>
          </a:xfrm>
          <a:custGeom>
            <a:avLst/>
            <a:gdLst/>
            <a:ahLst/>
            <a:cxnLst>
              <a:cxn ang="0">
                <a:pos x="207" y="2051"/>
              </a:cxn>
              <a:cxn ang="0">
                <a:pos x="502" y="2433"/>
              </a:cxn>
              <a:cxn ang="0">
                <a:pos x="858" y="2991"/>
              </a:cxn>
              <a:cxn ang="0">
                <a:pos x="1017" y="3151"/>
              </a:cxn>
              <a:cxn ang="0">
                <a:pos x="1189" y="3228"/>
              </a:cxn>
              <a:cxn ang="0">
                <a:pos x="1367" y="3299"/>
              </a:cxn>
              <a:cxn ang="0">
                <a:pos x="1698" y="3417"/>
              </a:cxn>
              <a:cxn ang="0">
                <a:pos x="1841" y="3460"/>
              </a:cxn>
              <a:cxn ang="0">
                <a:pos x="1884" y="3348"/>
              </a:cxn>
              <a:cxn ang="0">
                <a:pos x="2042" y="3108"/>
              </a:cxn>
              <a:cxn ang="0">
                <a:pos x="2181" y="2716"/>
              </a:cxn>
              <a:cxn ang="0">
                <a:pos x="2374" y="2396"/>
              </a:cxn>
              <a:cxn ang="0">
                <a:pos x="2501" y="2216"/>
              </a:cxn>
              <a:cxn ang="0">
                <a:pos x="2634" y="2126"/>
              </a:cxn>
              <a:cxn ang="0">
                <a:pos x="2725" y="2021"/>
              </a:cxn>
              <a:cxn ang="0">
                <a:pos x="2985" y="1743"/>
              </a:cxn>
              <a:cxn ang="0">
                <a:pos x="3350" y="1385"/>
              </a:cxn>
              <a:cxn ang="0">
                <a:pos x="3764" y="1076"/>
              </a:cxn>
              <a:cxn ang="0">
                <a:pos x="3975" y="956"/>
              </a:cxn>
              <a:cxn ang="0">
                <a:pos x="4166" y="801"/>
              </a:cxn>
              <a:cxn ang="0">
                <a:pos x="4276" y="746"/>
              </a:cxn>
              <a:cxn ang="0">
                <a:pos x="4452" y="590"/>
              </a:cxn>
              <a:cxn ang="0">
                <a:pos x="4597" y="435"/>
              </a:cxn>
              <a:cxn ang="0">
                <a:pos x="4745" y="341"/>
              </a:cxn>
              <a:cxn ang="0">
                <a:pos x="4873" y="280"/>
              </a:cxn>
              <a:cxn ang="0">
                <a:pos x="4849" y="246"/>
              </a:cxn>
              <a:cxn ang="0">
                <a:pos x="4761" y="283"/>
              </a:cxn>
              <a:cxn ang="0">
                <a:pos x="4662" y="363"/>
              </a:cxn>
              <a:cxn ang="0">
                <a:pos x="4441" y="517"/>
              </a:cxn>
              <a:cxn ang="0">
                <a:pos x="4314" y="546"/>
              </a:cxn>
              <a:cxn ang="0">
                <a:pos x="3938" y="816"/>
              </a:cxn>
              <a:cxn ang="0">
                <a:pos x="4014" y="708"/>
              </a:cxn>
              <a:cxn ang="0">
                <a:pos x="4113" y="626"/>
              </a:cxn>
              <a:cxn ang="0">
                <a:pos x="4233" y="505"/>
              </a:cxn>
              <a:cxn ang="0">
                <a:pos x="4255" y="426"/>
              </a:cxn>
              <a:cxn ang="0">
                <a:pos x="4389" y="289"/>
              </a:cxn>
              <a:cxn ang="0">
                <a:pos x="4204" y="343"/>
              </a:cxn>
              <a:cxn ang="0">
                <a:pos x="4366" y="200"/>
              </a:cxn>
              <a:cxn ang="0">
                <a:pos x="4322" y="169"/>
              </a:cxn>
              <a:cxn ang="0">
                <a:pos x="4208" y="279"/>
              </a:cxn>
              <a:cxn ang="0">
                <a:pos x="4203" y="163"/>
              </a:cxn>
              <a:cxn ang="0">
                <a:pos x="4289" y="48"/>
              </a:cxn>
              <a:cxn ang="0">
                <a:pos x="4191" y="26"/>
              </a:cxn>
              <a:cxn ang="0">
                <a:pos x="4085" y="136"/>
              </a:cxn>
              <a:cxn ang="0">
                <a:pos x="3828" y="287"/>
              </a:cxn>
              <a:cxn ang="0">
                <a:pos x="3122" y="783"/>
              </a:cxn>
              <a:cxn ang="0">
                <a:pos x="3124" y="739"/>
              </a:cxn>
              <a:cxn ang="0">
                <a:pos x="3171" y="677"/>
              </a:cxn>
              <a:cxn ang="0">
                <a:pos x="3862" y="221"/>
              </a:cxn>
              <a:cxn ang="0">
                <a:pos x="3913" y="142"/>
              </a:cxn>
              <a:cxn ang="0">
                <a:pos x="3668" y="242"/>
              </a:cxn>
              <a:cxn ang="0">
                <a:pos x="3225" y="529"/>
              </a:cxn>
              <a:cxn ang="0">
                <a:pos x="2781" y="836"/>
              </a:cxn>
              <a:cxn ang="0">
                <a:pos x="2153" y="1280"/>
              </a:cxn>
              <a:cxn ang="0">
                <a:pos x="1865" y="1621"/>
              </a:cxn>
              <a:cxn ang="0">
                <a:pos x="1577" y="1928"/>
              </a:cxn>
              <a:cxn ang="0">
                <a:pos x="1301" y="2011"/>
              </a:cxn>
              <a:cxn ang="0">
                <a:pos x="1036" y="1486"/>
              </a:cxn>
              <a:cxn ang="0">
                <a:pos x="740" y="1512"/>
              </a:cxn>
              <a:cxn ang="0">
                <a:pos x="512" y="1607"/>
              </a:cxn>
              <a:cxn ang="0">
                <a:pos x="237" y="1696"/>
              </a:cxn>
            </a:cxnLst>
            <a:rect l="0" t="0" r="r" b="b"/>
            <a:pathLst>
              <a:path w="4933" h="3474">
                <a:moveTo>
                  <a:pt x="0" y="1838"/>
                </a:moveTo>
                <a:lnTo>
                  <a:pt x="12" y="1853"/>
                </a:lnTo>
                <a:lnTo>
                  <a:pt x="25" y="1869"/>
                </a:lnTo>
                <a:lnTo>
                  <a:pt x="38" y="1884"/>
                </a:lnTo>
                <a:lnTo>
                  <a:pt x="53" y="1900"/>
                </a:lnTo>
                <a:lnTo>
                  <a:pt x="68" y="1914"/>
                </a:lnTo>
                <a:lnTo>
                  <a:pt x="83" y="1931"/>
                </a:lnTo>
                <a:lnTo>
                  <a:pt x="100" y="1946"/>
                </a:lnTo>
                <a:lnTo>
                  <a:pt x="116" y="1960"/>
                </a:lnTo>
                <a:lnTo>
                  <a:pt x="132" y="1976"/>
                </a:lnTo>
                <a:lnTo>
                  <a:pt x="148" y="1990"/>
                </a:lnTo>
                <a:lnTo>
                  <a:pt x="162" y="2005"/>
                </a:lnTo>
                <a:lnTo>
                  <a:pt x="179" y="2021"/>
                </a:lnTo>
                <a:lnTo>
                  <a:pt x="193" y="2036"/>
                </a:lnTo>
                <a:lnTo>
                  <a:pt x="207" y="2051"/>
                </a:lnTo>
                <a:lnTo>
                  <a:pt x="220" y="2066"/>
                </a:lnTo>
                <a:lnTo>
                  <a:pt x="231" y="2082"/>
                </a:lnTo>
                <a:lnTo>
                  <a:pt x="245" y="2110"/>
                </a:lnTo>
                <a:lnTo>
                  <a:pt x="262" y="2133"/>
                </a:lnTo>
                <a:lnTo>
                  <a:pt x="282" y="2151"/>
                </a:lnTo>
                <a:lnTo>
                  <a:pt x="302" y="2168"/>
                </a:lnTo>
                <a:lnTo>
                  <a:pt x="323" y="2184"/>
                </a:lnTo>
                <a:lnTo>
                  <a:pt x="343" y="2202"/>
                </a:lnTo>
                <a:lnTo>
                  <a:pt x="361" y="2224"/>
                </a:lnTo>
                <a:lnTo>
                  <a:pt x="376" y="2251"/>
                </a:lnTo>
                <a:lnTo>
                  <a:pt x="392" y="2280"/>
                </a:lnTo>
                <a:lnTo>
                  <a:pt x="416" y="2314"/>
                </a:lnTo>
                <a:lnTo>
                  <a:pt x="443" y="2352"/>
                </a:lnTo>
                <a:lnTo>
                  <a:pt x="472" y="2393"/>
                </a:lnTo>
                <a:lnTo>
                  <a:pt x="502" y="2433"/>
                </a:lnTo>
                <a:lnTo>
                  <a:pt x="529" y="2470"/>
                </a:lnTo>
                <a:lnTo>
                  <a:pt x="552" y="2504"/>
                </a:lnTo>
                <a:lnTo>
                  <a:pt x="571" y="2532"/>
                </a:lnTo>
                <a:lnTo>
                  <a:pt x="582" y="2555"/>
                </a:lnTo>
                <a:lnTo>
                  <a:pt x="599" y="2583"/>
                </a:lnTo>
                <a:lnTo>
                  <a:pt x="618" y="2617"/>
                </a:lnTo>
                <a:lnTo>
                  <a:pt x="640" y="2652"/>
                </a:lnTo>
                <a:lnTo>
                  <a:pt x="665" y="2693"/>
                </a:lnTo>
                <a:lnTo>
                  <a:pt x="691" y="2734"/>
                </a:lnTo>
                <a:lnTo>
                  <a:pt x="720" y="2778"/>
                </a:lnTo>
                <a:lnTo>
                  <a:pt x="750" y="2822"/>
                </a:lnTo>
                <a:lnTo>
                  <a:pt x="777" y="2866"/>
                </a:lnTo>
                <a:lnTo>
                  <a:pt x="806" y="2910"/>
                </a:lnTo>
                <a:lnTo>
                  <a:pt x="833" y="2952"/>
                </a:lnTo>
                <a:lnTo>
                  <a:pt x="858" y="2991"/>
                </a:lnTo>
                <a:lnTo>
                  <a:pt x="881" y="3027"/>
                </a:lnTo>
                <a:lnTo>
                  <a:pt x="900" y="3059"/>
                </a:lnTo>
                <a:lnTo>
                  <a:pt x="917" y="3088"/>
                </a:lnTo>
                <a:lnTo>
                  <a:pt x="929" y="3110"/>
                </a:lnTo>
                <a:lnTo>
                  <a:pt x="940" y="3112"/>
                </a:lnTo>
                <a:lnTo>
                  <a:pt x="950" y="3113"/>
                </a:lnTo>
                <a:lnTo>
                  <a:pt x="960" y="3115"/>
                </a:lnTo>
                <a:lnTo>
                  <a:pt x="969" y="3117"/>
                </a:lnTo>
                <a:lnTo>
                  <a:pt x="980" y="3117"/>
                </a:lnTo>
                <a:lnTo>
                  <a:pt x="991" y="3120"/>
                </a:lnTo>
                <a:lnTo>
                  <a:pt x="1000" y="3121"/>
                </a:lnTo>
                <a:lnTo>
                  <a:pt x="1010" y="3123"/>
                </a:lnTo>
                <a:lnTo>
                  <a:pt x="1012" y="3133"/>
                </a:lnTo>
                <a:lnTo>
                  <a:pt x="1015" y="3142"/>
                </a:lnTo>
                <a:lnTo>
                  <a:pt x="1017" y="3151"/>
                </a:lnTo>
                <a:lnTo>
                  <a:pt x="1019" y="3162"/>
                </a:lnTo>
                <a:lnTo>
                  <a:pt x="1029" y="3162"/>
                </a:lnTo>
                <a:lnTo>
                  <a:pt x="1037" y="3164"/>
                </a:lnTo>
                <a:lnTo>
                  <a:pt x="1046" y="3165"/>
                </a:lnTo>
                <a:lnTo>
                  <a:pt x="1055" y="3166"/>
                </a:lnTo>
                <a:lnTo>
                  <a:pt x="1064" y="3169"/>
                </a:lnTo>
                <a:lnTo>
                  <a:pt x="1073" y="3170"/>
                </a:lnTo>
                <a:lnTo>
                  <a:pt x="1083" y="3171"/>
                </a:lnTo>
                <a:lnTo>
                  <a:pt x="1091" y="3172"/>
                </a:lnTo>
                <a:lnTo>
                  <a:pt x="1108" y="3182"/>
                </a:lnTo>
                <a:lnTo>
                  <a:pt x="1125" y="3193"/>
                </a:lnTo>
                <a:lnTo>
                  <a:pt x="1141" y="3201"/>
                </a:lnTo>
                <a:lnTo>
                  <a:pt x="1156" y="3210"/>
                </a:lnTo>
                <a:lnTo>
                  <a:pt x="1172" y="3220"/>
                </a:lnTo>
                <a:lnTo>
                  <a:pt x="1189" y="3228"/>
                </a:lnTo>
                <a:lnTo>
                  <a:pt x="1206" y="3237"/>
                </a:lnTo>
                <a:lnTo>
                  <a:pt x="1222" y="3245"/>
                </a:lnTo>
                <a:lnTo>
                  <a:pt x="1233" y="3246"/>
                </a:lnTo>
                <a:lnTo>
                  <a:pt x="1244" y="3248"/>
                </a:lnTo>
                <a:lnTo>
                  <a:pt x="1255" y="3250"/>
                </a:lnTo>
                <a:lnTo>
                  <a:pt x="1267" y="3251"/>
                </a:lnTo>
                <a:lnTo>
                  <a:pt x="1278" y="3251"/>
                </a:lnTo>
                <a:lnTo>
                  <a:pt x="1289" y="3252"/>
                </a:lnTo>
                <a:lnTo>
                  <a:pt x="1302" y="3253"/>
                </a:lnTo>
                <a:lnTo>
                  <a:pt x="1313" y="3253"/>
                </a:lnTo>
                <a:lnTo>
                  <a:pt x="1321" y="3264"/>
                </a:lnTo>
                <a:lnTo>
                  <a:pt x="1330" y="3276"/>
                </a:lnTo>
                <a:lnTo>
                  <a:pt x="1340" y="3288"/>
                </a:lnTo>
                <a:lnTo>
                  <a:pt x="1348" y="3297"/>
                </a:lnTo>
                <a:lnTo>
                  <a:pt x="1367" y="3299"/>
                </a:lnTo>
                <a:lnTo>
                  <a:pt x="1388" y="3301"/>
                </a:lnTo>
                <a:lnTo>
                  <a:pt x="1407" y="3303"/>
                </a:lnTo>
                <a:lnTo>
                  <a:pt x="1427" y="3303"/>
                </a:lnTo>
                <a:lnTo>
                  <a:pt x="1448" y="3305"/>
                </a:lnTo>
                <a:lnTo>
                  <a:pt x="1467" y="3305"/>
                </a:lnTo>
                <a:lnTo>
                  <a:pt x="1487" y="3307"/>
                </a:lnTo>
                <a:lnTo>
                  <a:pt x="1507" y="3308"/>
                </a:lnTo>
                <a:lnTo>
                  <a:pt x="1531" y="3321"/>
                </a:lnTo>
                <a:lnTo>
                  <a:pt x="1552" y="3334"/>
                </a:lnTo>
                <a:lnTo>
                  <a:pt x="1577" y="3348"/>
                </a:lnTo>
                <a:lnTo>
                  <a:pt x="1600" y="3361"/>
                </a:lnTo>
                <a:lnTo>
                  <a:pt x="1625" y="3377"/>
                </a:lnTo>
                <a:lnTo>
                  <a:pt x="1649" y="3390"/>
                </a:lnTo>
                <a:lnTo>
                  <a:pt x="1673" y="3404"/>
                </a:lnTo>
                <a:lnTo>
                  <a:pt x="1698" y="3417"/>
                </a:lnTo>
                <a:lnTo>
                  <a:pt x="1707" y="3417"/>
                </a:lnTo>
                <a:lnTo>
                  <a:pt x="1717" y="3417"/>
                </a:lnTo>
                <a:lnTo>
                  <a:pt x="1727" y="3417"/>
                </a:lnTo>
                <a:lnTo>
                  <a:pt x="1738" y="3417"/>
                </a:lnTo>
                <a:lnTo>
                  <a:pt x="1748" y="3417"/>
                </a:lnTo>
                <a:lnTo>
                  <a:pt x="1757" y="3417"/>
                </a:lnTo>
                <a:lnTo>
                  <a:pt x="1768" y="3417"/>
                </a:lnTo>
                <a:lnTo>
                  <a:pt x="1778" y="3417"/>
                </a:lnTo>
                <a:lnTo>
                  <a:pt x="1786" y="3426"/>
                </a:lnTo>
                <a:lnTo>
                  <a:pt x="1796" y="3432"/>
                </a:lnTo>
                <a:lnTo>
                  <a:pt x="1806" y="3438"/>
                </a:lnTo>
                <a:lnTo>
                  <a:pt x="1815" y="3444"/>
                </a:lnTo>
                <a:lnTo>
                  <a:pt x="1823" y="3450"/>
                </a:lnTo>
                <a:lnTo>
                  <a:pt x="1832" y="3454"/>
                </a:lnTo>
                <a:lnTo>
                  <a:pt x="1841" y="3460"/>
                </a:lnTo>
                <a:lnTo>
                  <a:pt x="1850" y="3465"/>
                </a:lnTo>
                <a:lnTo>
                  <a:pt x="1877" y="3472"/>
                </a:lnTo>
                <a:lnTo>
                  <a:pt x="1896" y="3474"/>
                </a:lnTo>
                <a:lnTo>
                  <a:pt x="1907" y="3471"/>
                </a:lnTo>
                <a:lnTo>
                  <a:pt x="1911" y="3464"/>
                </a:lnTo>
                <a:lnTo>
                  <a:pt x="1911" y="3454"/>
                </a:lnTo>
                <a:lnTo>
                  <a:pt x="1905" y="3441"/>
                </a:lnTo>
                <a:lnTo>
                  <a:pt x="1898" y="3427"/>
                </a:lnTo>
                <a:lnTo>
                  <a:pt x="1890" y="3412"/>
                </a:lnTo>
                <a:lnTo>
                  <a:pt x="1883" y="3397"/>
                </a:lnTo>
                <a:lnTo>
                  <a:pt x="1874" y="3382"/>
                </a:lnTo>
                <a:lnTo>
                  <a:pt x="1870" y="3370"/>
                </a:lnTo>
                <a:lnTo>
                  <a:pt x="1869" y="3358"/>
                </a:lnTo>
                <a:lnTo>
                  <a:pt x="1873" y="3352"/>
                </a:lnTo>
                <a:lnTo>
                  <a:pt x="1884" y="3348"/>
                </a:lnTo>
                <a:lnTo>
                  <a:pt x="1902" y="3350"/>
                </a:lnTo>
                <a:lnTo>
                  <a:pt x="1929" y="3357"/>
                </a:lnTo>
                <a:lnTo>
                  <a:pt x="1942" y="3334"/>
                </a:lnTo>
                <a:lnTo>
                  <a:pt x="1953" y="3314"/>
                </a:lnTo>
                <a:lnTo>
                  <a:pt x="1964" y="3295"/>
                </a:lnTo>
                <a:lnTo>
                  <a:pt x="1972" y="3275"/>
                </a:lnTo>
                <a:lnTo>
                  <a:pt x="1982" y="3257"/>
                </a:lnTo>
                <a:lnTo>
                  <a:pt x="1991" y="3235"/>
                </a:lnTo>
                <a:lnTo>
                  <a:pt x="2002" y="3214"/>
                </a:lnTo>
                <a:lnTo>
                  <a:pt x="2014" y="3191"/>
                </a:lnTo>
                <a:lnTo>
                  <a:pt x="2015" y="3177"/>
                </a:lnTo>
                <a:lnTo>
                  <a:pt x="2020" y="3162"/>
                </a:lnTo>
                <a:lnTo>
                  <a:pt x="2026" y="3145"/>
                </a:lnTo>
                <a:lnTo>
                  <a:pt x="2033" y="3126"/>
                </a:lnTo>
                <a:lnTo>
                  <a:pt x="2042" y="3108"/>
                </a:lnTo>
                <a:lnTo>
                  <a:pt x="2048" y="3090"/>
                </a:lnTo>
                <a:lnTo>
                  <a:pt x="2052" y="3075"/>
                </a:lnTo>
                <a:lnTo>
                  <a:pt x="2053" y="3061"/>
                </a:lnTo>
                <a:lnTo>
                  <a:pt x="2066" y="3042"/>
                </a:lnTo>
                <a:lnTo>
                  <a:pt x="2079" y="3021"/>
                </a:lnTo>
                <a:lnTo>
                  <a:pt x="2092" y="3002"/>
                </a:lnTo>
                <a:lnTo>
                  <a:pt x="2103" y="2983"/>
                </a:lnTo>
                <a:lnTo>
                  <a:pt x="2114" y="2964"/>
                </a:lnTo>
                <a:lnTo>
                  <a:pt x="2126" y="2945"/>
                </a:lnTo>
                <a:lnTo>
                  <a:pt x="2137" y="2927"/>
                </a:lnTo>
                <a:lnTo>
                  <a:pt x="2149" y="2907"/>
                </a:lnTo>
                <a:lnTo>
                  <a:pt x="2156" y="2853"/>
                </a:lnTo>
                <a:lnTo>
                  <a:pt x="2167" y="2811"/>
                </a:lnTo>
                <a:lnTo>
                  <a:pt x="2178" y="2769"/>
                </a:lnTo>
                <a:lnTo>
                  <a:pt x="2181" y="2716"/>
                </a:lnTo>
                <a:lnTo>
                  <a:pt x="2195" y="2707"/>
                </a:lnTo>
                <a:lnTo>
                  <a:pt x="2209" y="2695"/>
                </a:lnTo>
                <a:lnTo>
                  <a:pt x="2224" y="2682"/>
                </a:lnTo>
                <a:lnTo>
                  <a:pt x="2240" y="2669"/>
                </a:lnTo>
                <a:lnTo>
                  <a:pt x="2255" y="2656"/>
                </a:lnTo>
                <a:lnTo>
                  <a:pt x="2270" y="2642"/>
                </a:lnTo>
                <a:lnTo>
                  <a:pt x="2284" y="2631"/>
                </a:lnTo>
                <a:lnTo>
                  <a:pt x="2297" y="2621"/>
                </a:lnTo>
                <a:lnTo>
                  <a:pt x="2306" y="2569"/>
                </a:lnTo>
                <a:lnTo>
                  <a:pt x="2312" y="2527"/>
                </a:lnTo>
                <a:lnTo>
                  <a:pt x="2317" y="2486"/>
                </a:lnTo>
                <a:lnTo>
                  <a:pt x="2328" y="2431"/>
                </a:lnTo>
                <a:lnTo>
                  <a:pt x="2338" y="2421"/>
                </a:lnTo>
                <a:lnTo>
                  <a:pt x="2355" y="2409"/>
                </a:lnTo>
                <a:lnTo>
                  <a:pt x="2374" y="2396"/>
                </a:lnTo>
                <a:lnTo>
                  <a:pt x="2397" y="2381"/>
                </a:lnTo>
                <a:lnTo>
                  <a:pt x="2420" y="2366"/>
                </a:lnTo>
                <a:lnTo>
                  <a:pt x="2440" y="2352"/>
                </a:lnTo>
                <a:lnTo>
                  <a:pt x="2456" y="2342"/>
                </a:lnTo>
                <a:lnTo>
                  <a:pt x="2465" y="2332"/>
                </a:lnTo>
                <a:lnTo>
                  <a:pt x="2463" y="2317"/>
                </a:lnTo>
                <a:lnTo>
                  <a:pt x="2463" y="2304"/>
                </a:lnTo>
                <a:lnTo>
                  <a:pt x="2468" y="2291"/>
                </a:lnTo>
                <a:lnTo>
                  <a:pt x="2471" y="2278"/>
                </a:lnTo>
                <a:lnTo>
                  <a:pt x="2476" y="2264"/>
                </a:lnTo>
                <a:lnTo>
                  <a:pt x="2479" y="2251"/>
                </a:lnTo>
                <a:lnTo>
                  <a:pt x="2481" y="2235"/>
                </a:lnTo>
                <a:lnTo>
                  <a:pt x="2479" y="2222"/>
                </a:lnTo>
                <a:lnTo>
                  <a:pt x="2490" y="2220"/>
                </a:lnTo>
                <a:lnTo>
                  <a:pt x="2501" y="2216"/>
                </a:lnTo>
                <a:lnTo>
                  <a:pt x="2513" y="2213"/>
                </a:lnTo>
                <a:lnTo>
                  <a:pt x="2525" y="2208"/>
                </a:lnTo>
                <a:lnTo>
                  <a:pt x="2536" y="2204"/>
                </a:lnTo>
                <a:lnTo>
                  <a:pt x="2547" y="2201"/>
                </a:lnTo>
                <a:lnTo>
                  <a:pt x="2558" y="2196"/>
                </a:lnTo>
                <a:lnTo>
                  <a:pt x="2569" y="2193"/>
                </a:lnTo>
                <a:lnTo>
                  <a:pt x="2574" y="2172"/>
                </a:lnTo>
                <a:lnTo>
                  <a:pt x="2581" y="2153"/>
                </a:lnTo>
                <a:lnTo>
                  <a:pt x="2589" y="2133"/>
                </a:lnTo>
                <a:lnTo>
                  <a:pt x="2598" y="2111"/>
                </a:lnTo>
                <a:lnTo>
                  <a:pt x="2606" y="2115"/>
                </a:lnTo>
                <a:lnTo>
                  <a:pt x="2612" y="2117"/>
                </a:lnTo>
                <a:lnTo>
                  <a:pt x="2619" y="2120"/>
                </a:lnTo>
                <a:lnTo>
                  <a:pt x="2627" y="2123"/>
                </a:lnTo>
                <a:lnTo>
                  <a:pt x="2634" y="2126"/>
                </a:lnTo>
                <a:lnTo>
                  <a:pt x="2643" y="2128"/>
                </a:lnTo>
                <a:lnTo>
                  <a:pt x="2651" y="2131"/>
                </a:lnTo>
                <a:lnTo>
                  <a:pt x="2659" y="2133"/>
                </a:lnTo>
                <a:lnTo>
                  <a:pt x="2667" y="2115"/>
                </a:lnTo>
                <a:lnTo>
                  <a:pt x="2673" y="2098"/>
                </a:lnTo>
                <a:lnTo>
                  <a:pt x="2677" y="2080"/>
                </a:lnTo>
                <a:lnTo>
                  <a:pt x="2682" y="2064"/>
                </a:lnTo>
                <a:lnTo>
                  <a:pt x="2687" y="2058"/>
                </a:lnTo>
                <a:lnTo>
                  <a:pt x="2692" y="2053"/>
                </a:lnTo>
                <a:lnTo>
                  <a:pt x="2698" y="2049"/>
                </a:lnTo>
                <a:lnTo>
                  <a:pt x="2704" y="2042"/>
                </a:lnTo>
                <a:lnTo>
                  <a:pt x="2710" y="2038"/>
                </a:lnTo>
                <a:lnTo>
                  <a:pt x="2715" y="2032"/>
                </a:lnTo>
                <a:lnTo>
                  <a:pt x="2721" y="2026"/>
                </a:lnTo>
                <a:lnTo>
                  <a:pt x="2725" y="2021"/>
                </a:lnTo>
                <a:lnTo>
                  <a:pt x="2735" y="2005"/>
                </a:lnTo>
                <a:lnTo>
                  <a:pt x="2746" y="1989"/>
                </a:lnTo>
                <a:lnTo>
                  <a:pt x="2757" y="1972"/>
                </a:lnTo>
                <a:lnTo>
                  <a:pt x="2769" y="1957"/>
                </a:lnTo>
                <a:lnTo>
                  <a:pt x="2781" y="1940"/>
                </a:lnTo>
                <a:lnTo>
                  <a:pt x="2793" y="1925"/>
                </a:lnTo>
                <a:lnTo>
                  <a:pt x="2807" y="1907"/>
                </a:lnTo>
                <a:lnTo>
                  <a:pt x="2821" y="1891"/>
                </a:lnTo>
                <a:lnTo>
                  <a:pt x="2844" y="1871"/>
                </a:lnTo>
                <a:lnTo>
                  <a:pt x="2869" y="1850"/>
                </a:lnTo>
                <a:lnTo>
                  <a:pt x="2892" y="1829"/>
                </a:lnTo>
                <a:lnTo>
                  <a:pt x="2916" y="1809"/>
                </a:lnTo>
                <a:lnTo>
                  <a:pt x="2940" y="1787"/>
                </a:lnTo>
                <a:lnTo>
                  <a:pt x="2963" y="1765"/>
                </a:lnTo>
                <a:lnTo>
                  <a:pt x="2985" y="1743"/>
                </a:lnTo>
                <a:lnTo>
                  <a:pt x="3008" y="1721"/>
                </a:lnTo>
                <a:lnTo>
                  <a:pt x="3030" y="1698"/>
                </a:lnTo>
                <a:lnTo>
                  <a:pt x="3054" y="1676"/>
                </a:lnTo>
                <a:lnTo>
                  <a:pt x="3077" y="1653"/>
                </a:lnTo>
                <a:lnTo>
                  <a:pt x="3100" y="1629"/>
                </a:lnTo>
                <a:lnTo>
                  <a:pt x="3122" y="1605"/>
                </a:lnTo>
                <a:lnTo>
                  <a:pt x="3146" y="1581"/>
                </a:lnTo>
                <a:lnTo>
                  <a:pt x="3171" y="1558"/>
                </a:lnTo>
                <a:lnTo>
                  <a:pt x="3194" y="1534"/>
                </a:lnTo>
                <a:lnTo>
                  <a:pt x="3219" y="1508"/>
                </a:lnTo>
                <a:lnTo>
                  <a:pt x="3244" y="1485"/>
                </a:lnTo>
                <a:lnTo>
                  <a:pt x="3270" y="1460"/>
                </a:lnTo>
                <a:lnTo>
                  <a:pt x="3296" y="1435"/>
                </a:lnTo>
                <a:lnTo>
                  <a:pt x="3322" y="1409"/>
                </a:lnTo>
                <a:lnTo>
                  <a:pt x="3350" y="1385"/>
                </a:lnTo>
                <a:lnTo>
                  <a:pt x="3380" y="1360"/>
                </a:lnTo>
                <a:lnTo>
                  <a:pt x="3409" y="1335"/>
                </a:lnTo>
                <a:lnTo>
                  <a:pt x="3439" y="1309"/>
                </a:lnTo>
                <a:lnTo>
                  <a:pt x="3470" y="1283"/>
                </a:lnTo>
                <a:lnTo>
                  <a:pt x="3501" y="1258"/>
                </a:lnTo>
                <a:lnTo>
                  <a:pt x="3535" y="1231"/>
                </a:lnTo>
                <a:lnTo>
                  <a:pt x="3569" y="1208"/>
                </a:lnTo>
                <a:lnTo>
                  <a:pt x="3604" y="1181"/>
                </a:lnTo>
                <a:lnTo>
                  <a:pt x="3641" y="1156"/>
                </a:lnTo>
                <a:lnTo>
                  <a:pt x="3679" y="1130"/>
                </a:lnTo>
                <a:lnTo>
                  <a:pt x="3695" y="1119"/>
                </a:lnTo>
                <a:lnTo>
                  <a:pt x="3712" y="1107"/>
                </a:lnTo>
                <a:lnTo>
                  <a:pt x="3730" y="1097"/>
                </a:lnTo>
                <a:lnTo>
                  <a:pt x="3746" y="1085"/>
                </a:lnTo>
                <a:lnTo>
                  <a:pt x="3764" y="1076"/>
                </a:lnTo>
                <a:lnTo>
                  <a:pt x="3781" y="1065"/>
                </a:lnTo>
                <a:lnTo>
                  <a:pt x="3799" y="1054"/>
                </a:lnTo>
                <a:lnTo>
                  <a:pt x="3818" y="1045"/>
                </a:lnTo>
                <a:lnTo>
                  <a:pt x="3827" y="1039"/>
                </a:lnTo>
                <a:lnTo>
                  <a:pt x="3839" y="1035"/>
                </a:lnTo>
                <a:lnTo>
                  <a:pt x="3849" y="1030"/>
                </a:lnTo>
                <a:lnTo>
                  <a:pt x="3859" y="1025"/>
                </a:lnTo>
                <a:lnTo>
                  <a:pt x="3869" y="1019"/>
                </a:lnTo>
                <a:lnTo>
                  <a:pt x="3880" y="1015"/>
                </a:lnTo>
                <a:lnTo>
                  <a:pt x="3890" y="1008"/>
                </a:lnTo>
                <a:lnTo>
                  <a:pt x="3901" y="1003"/>
                </a:lnTo>
                <a:lnTo>
                  <a:pt x="3920" y="991"/>
                </a:lnTo>
                <a:lnTo>
                  <a:pt x="3938" y="980"/>
                </a:lnTo>
                <a:lnTo>
                  <a:pt x="3957" y="970"/>
                </a:lnTo>
                <a:lnTo>
                  <a:pt x="3975" y="956"/>
                </a:lnTo>
                <a:lnTo>
                  <a:pt x="3994" y="946"/>
                </a:lnTo>
                <a:lnTo>
                  <a:pt x="4012" y="932"/>
                </a:lnTo>
                <a:lnTo>
                  <a:pt x="4031" y="922"/>
                </a:lnTo>
                <a:lnTo>
                  <a:pt x="4049" y="910"/>
                </a:lnTo>
                <a:lnTo>
                  <a:pt x="4061" y="901"/>
                </a:lnTo>
                <a:lnTo>
                  <a:pt x="4074" y="891"/>
                </a:lnTo>
                <a:lnTo>
                  <a:pt x="4085" y="882"/>
                </a:lnTo>
                <a:lnTo>
                  <a:pt x="4099" y="872"/>
                </a:lnTo>
                <a:lnTo>
                  <a:pt x="4112" y="863"/>
                </a:lnTo>
                <a:lnTo>
                  <a:pt x="4125" y="854"/>
                </a:lnTo>
                <a:lnTo>
                  <a:pt x="4137" y="845"/>
                </a:lnTo>
                <a:lnTo>
                  <a:pt x="4151" y="835"/>
                </a:lnTo>
                <a:lnTo>
                  <a:pt x="4156" y="823"/>
                </a:lnTo>
                <a:lnTo>
                  <a:pt x="4161" y="811"/>
                </a:lnTo>
                <a:lnTo>
                  <a:pt x="4166" y="801"/>
                </a:lnTo>
                <a:lnTo>
                  <a:pt x="4170" y="792"/>
                </a:lnTo>
                <a:lnTo>
                  <a:pt x="4179" y="783"/>
                </a:lnTo>
                <a:lnTo>
                  <a:pt x="4187" y="778"/>
                </a:lnTo>
                <a:lnTo>
                  <a:pt x="4195" y="770"/>
                </a:lnTo>
                <a:lnTo>
                  <a:pt x="4204" y="764"/>
                </a:lnTo>
                <a:lnTo>
                  <a:pt x="4212" y="756"/>
                </a:lnTo>
                <a:lnTo>
                  <a:pt x="4221" y="750"/>
                </a:lnTo>
                <a:lnTo>
                  <a:pt x="4230" y="743"/>
                </a:lnTo>
                <a:lnTo>
                  <a:pt x="4239" y="737"/>
                </a:lnTo>
                <a:lnTo>
                  <a:pt x="4242" y="743"/>
                </a:lnTo>
                <a:lnTo>
                  <a:pt x="4245" y="749"/>
                </a:lnTo>
                <a:lnTo>
                  <a:pt x="4248" y="755"/>
                </a:lnTo>
                <a:lnTo>
                  <a:pt x="4250" y="762"/>
                </a:lnTo>
                <a:lnTo>
                  <a:pt x="4264" y="752"/>
                </a:lnTo>
                <a:lnTo>
                  <a:pt x="4276" y="746"/>
                </a:lnTo>
                <a:lnTo>
                  <a:pt x="4290" y="737"/>
                </a:lnTo>
                <a:lnTo>
                  <a:pt x="4304" y="728"/>
                </a:lnTo>
                <a:lnTo>
                  <a:pt x="4317" y="721"/>
                </a:lnTo>
                <a:lnTo>
                  <a:pt x="4331" y="712"/>
                </a:lnTo>
                <a:lnTo>
                  <a:pt x="4345" y="705"/>
                </a:lnTo>
                <a:lnTo>
                  <a:pt x="4356" y="697"/>
                </a:lnTo>
                <a:lnTo>
                  <a:pt x="4366" y="683"/>
                </a:lnTo>
                <a:lnTo>
                  <a:pt x="4375" y="665"/>
                </a:lnTo>
                <a:lnTo>
                  <a:pt x="4385" y="649"/>
                </a:lnTo>
                <a:lnTo>
                  <a:pt x="4393" y="634"/>
                </a:lnTo>
                <a:lnTo>
                  <a:pt x="4404" y="624"/>
                </a:lnTo>
                <a:lnTo>
                  <a:pt x="4416" y="615"/>
                </a:lnTo>
                <a:lnTo>
                  <a:pt x="4429" y="606"/>
                </a:lnTo>
                <a:lnTo>
                  <a:pt x="4441" y="598"/>
                </a:lnTo>
                <a:lnTo>
                  <a:pt x="4452" y="590"/>
                </a:lnTo>
                <a:lnTo>
                  <a:pt x="4465" y="580"/>
                </a:lnTo>
                <a:lnTo>
                  <a:pt x="4475" y="570"/>
                </a:lnTo>
                <a:lnTo>
                  <a:pt x="4485" y="562"/>
                </a:lnTo>
                <a:lnTo>
                  <a:pt x="4490" y="547"/>
                </a:lnTo>
                <a:lnTo>
                  <a:pt x="4494" y="532"/>
                </a:lnTo>
                <a:lnTo>
                  <a:pt x="4499" y="517"/>
                </a:lnTo>
                <a:lnTo>
                  <a:pt x="4506" y="501"/>
                </a:lnTo>
                <a:lnTo>
                  <a:pt x="4516" y="492"/>
                </a:lnTo>
                <a:lnTo>
                  <a:pt x="4529" y="484"/>
                </a:lnTo>
                <a:lnTo>
                  <a:pt x="4541" y="477"/>
                </a:lnTo>
                <a:lnTo>
                  <a:pt x="4553" y="468"/>
                </a:lnTo>
                <a:lnTo>
                  <a:pt x="4564" y="459"/>
                </a:lnTo>
                <a:lnTo>
                  <a:pt x="4577" y="450"/>
                </a:lnTo>
                <a:lnTo>
                  <a:pt x="4587" y="443"/>
                </a:lnTo>
                <a:lnTo>
                  <a:pt x="4597" y="435"/>
                </a:lnTo>
                <a:lnTo>
                  <a:pt x="4611" y="430"/>
                </a:lnTo>
                <a:lnTo>
                  <a:pt x="4625" y="426"/>
                </a:lnTo>
                <a:lnTo>
                  <a:pt x="4638" y="422"/>
                </a:lnTo>
                <a:lnTo>
                  <a:pt x="4650" y="418"/>
                </a:lnTo>
                <a:lnTo>
                  <a:pt x="4664" y="413"/>
                </a:lnTo>
                <a:lnTo>
                  <a:pt x="4676" y="410"/>
                </a:lnTo>
                <a:lnTo>
                  <a:pt x="4688" y="405"/>
                </a:lnTo>
                <a:lnTo>
                  <a:pt x="4702" y="401"/>
                </a:lnTo>
                <a:lnTo>
                  <a:pt x="4708" y="393"/>
                </a:lnTo>
                <a:lnTo>
                  <a:pt x="4714" y="384"/>
                </a:lnTo>
                <a:lnTo>
                  <a:pt x="4720" y="377"/>
                </a:lnTo>
                <a:lnTo>
                  <a:pt x="4726" y="367"/>
                </a:lnTo>
                <a:lnTo>
                  <a:pt x="4733" y="359"/>
                </a:lnTo>
                <a:lnTo>
                  <a:pt x="4739" y="350"/>
                </a:lnTo>
                <a:lnTo>
                  <a:pt x="4745" y="341"/>
                </a:lnTo>
                <a:lnTo>
                  <a:pt x="4751" y="332"/>
                </a:lnTo>
                <a:lnTo>
                  <a:pt x="4761" y="326"/>
                </a:lnTo>
                <a:lnTo>
                  <a:pt x="4772" y="319"/>
                </a:lnTo>
                <a:lnTo>
                  <a:pt x="4781" y="312"/>
                </a:lnTo>
                <a:lnTo>
                  <a:pt x="4790" y="305"/>
                </a:lnTo>
                <a:lnTo>
                  <a:pt x="4800" y="298"/>
                </a:lnTo>
                <a:lnTo>
                  <a:pt x="4810" y="291"/>
                </a:lnTo>
                <a:lnTo>
                  <a:pt x="4819" y="283"/>
                </a:lnTo>
                <a:lnTo>
                  <a:pt x="4827" y="275"/>
                </a:lnTo>
                <a:lnTo>
                  <a:pt x="4833" y="280"/>
                </a:lnTo>
                <a:lnTo>
                  <a:pt x="4840" y="285"/>
                </a:lnTo>
                <a:lnTo>
                  <a:pt x="4848" y="292"/>
                </a:lnTo>
                <a:lnTo>
                  <a:pt x="4852" y="297"/>
                </a:lnTo>
                <a:lnTo>
                  <a:pt x="4862" y="289"/>
                </a:lnTo>
                <a:lnTo>
                  <a:pt x="4873" y="280"/>
                </a:lnTo>
                <a:lnTo>
                  <a:pt x="4882" y="272"/>
                </a:lnTo>
                <a:lnTo>
                  <a:pt x="4893" y="264"/>
                </a:lnTo>
                <a:lnTo>
                  <a:pt x="4902" y="253"/>
                </a:lnTo>
                <a:lnTo>
                  <a:pt x="4912" y="244"/>
                </a:lnTo>
                <a:lnTo>
                  <a:pt x="4923" y="236"/>
                </a:lnTo>
                <a:lnTo>
                  <a:pt x="4933" y="228"/>
                </a:lnTo>
                <a:lnTo>
                  <a:pt x="4921" y="233"/>
                </a:lnTo>
                <a:lnTo>
                  <a:pt x="4910" y="239"/>
                </a:lnTo>
                <a:lnTo>
                  <a:pt x="4898" y="246"/>
                </a:lnTo>
                <a:lnTo>
                  <a:pt x="4884" y="250"/>
                </a:lnTo>
                <a:lnTo>
                  <a:pt x="4873" y="257"/>
                </a:lnTo>
                <a:lnTo>
                  <a:pt x="4862" y="262"/>
                </a:lnTo>
                <a:lnTo>
                  <a:pt x="4850" y="267"/>
                </a:lnTo>
                <a:lnTo>
                  <a:pt x="4838" y="272"/>
                </a:lnTo>
                <a:lnTo>
                  <a:pt x="4849" y="246"/>
                </a:lnTo>
                <a:lnTo>
                  <a:pt x="4858" y="223"/>
                </a:lnTo>
                <a:lnTo>
                  <a:pt x="4864" y="199"/>
                </a:lnTo>
                <a:lnTo>
                  <a:pt x="4869" y="175"/>
                </a:lnTo>
                <a:lnTo>
                  <a:pt x="4861" y="182"/>
                </a:lnTo>
                <a:lnTo>
                  <a:pt x="4852" y="191"/>
                </a:lnTo>
                <a:lnTo>
                  <a:pt x="4842" y="200"/>
                </a:lnTo>
                <a:lnTo>
                  <a:pt x="4832" y="208"/>
                </a:lnTo>
                <a:lnTo>
                  <a:pt x="4823" y="216"/>
                </a:lnTo>
                <a:lnTo>
                  <a:pt x="4813" y="224"/>
                </a:lnTo>
                <a:lnTo>
                  <a:pt x="4801" y="233"/>
                </a:lnTo>
                <a:lnTo>
                  <a:pt x="4792" y="242"/>
                </a:lnTo>
                <a:lnTo>
                  <a:pt x="4785" y="252"/>
                </a:lnTo>
                <a:lnTo>
                  <a:pt x="4776" y="262"/>
                </a:lnTo>
                <a:lnTo>
                  <a:pt x="4768" y="272"/>
                </a:lnTo>
                <a:lnTo>
                  <a:pt x="4761" y="283"/>
                </a:lnTo>
                <a:lnTo>
                  <a:pt x="4754" y="295"/>
                </a:lnTo>
                <a:lnTo>
                  <a:pt x="4746" y="305"/>
                </a:lnTo>
                <a:lnTo>
                  <a:pt x="4739" y="317"/>
                </a:lnTo>
                <a:lnTo>
                  <a:pt x="4732" y="328"/>
                </a:lnTo>
                <a:lnTo>
                  <a:pt x="4724" y="332"/>
                </a:lnTo>
                <a:lnTo>
                  <a:pt x="4717" y="337"/>
                </a:lnTo>
                <a:lnTo>
                  <a:pt x="4710" y="343"/>
                </a:lnTo>
                <a:lnTo>
                  <a:pt x="4704" y="349"/>
                </a:lnTo>
                <a:lnTo>
                  <a:pt x="4696" y="354"/>
                </a:lnTo>
                <a:lnTo>
                  <a:pt x="4689" y="359"/>
                </a:lnTo>
                <a:lnTo>
                  <a:pt x="4683" y="363"/>
                </a:lnTo>
                <a:lnTo>
                  <a:pt x="4676" y="368"/>
                </a:lnTo>
                <a:lnTo>
                  <a:pt x="4671" y="367"/>
                </a:lnTo>
                <a:lnTo>
                  <a:pt x="4666" y="366"/>
                </a:lnTo>
                <a:lnTo>
                  <a:pt x="4662" y="363"/>
                </a:lnTo>
                <a:lnTo>
                  <a:pt x="4658" y="362"/>
                </a:lnTo>
                <a:lnTo>
                  <a:pt x="4653" y="361"/>
                </a:lnTo>
                <a:lnTo>
                  <a:pt x="4648" y="359"/>
                </a:lnTo>
                <a:lnTo>
                  <a:pt x="4642" y="357"/>
                </a:lnTo>
                <a:lnTo>
                  <a:pt x="4638" y="357"/>
                </a:lnTo>
                <a:lnTo>
                  <a:pt x="4616" y="374"/>
                </a:lnTo>
                <a:lnTo>
                  <a:pt x="4595" y="393"/>
                </a:lnTo>
                <a:lnTo>
                  <a:pt x="4573" y="412"/>
                </a:lnTo>
                <a:lnTo>
                  <a:pt x="4552" y="430"/>
                </a:lnTo>
                <a:lnTo>
                  <a:pt x="4529" y="449"/>
                </a:lnTo>
                <a:lnTo>
                  <a:pt x="4506" y="468"/>
                </a:lnTo>
                <a:lnTo>
                  <a:pt x="4484" y="487"/>
                </a:lnTo>
                <a:lnTo>
                  <a:pt x="4461" y="506"/>
                </a:lnTo>
                <a:lnTo>
                  <a:pt x="4450" y="511"/>
                </a:lnTo>
                <a:lnTo>
                  <a:pt x="4441" y="517"/>
                </a:lnTo>
                <a:lnTo>
                  <a:pt x="4431" y="521"/>
                </a:lnTo>
                <a:lnTo>
                  <a:pt x="4422" y="528"/>
                </a:lnTo>
                <a:lnTo>
                  <a:pt x="4411" y="532"/>
                </a:lnTo>
                <a:lnTo>
                  <a:pt x="4403" y="537"/>
                </a:lnTo>
                <a:lnTo>
                  <a:pt x="4393" y="543"/>
                </a:lnTo>
                <a:lnTo>
                  <a:pt x="4385" y="548"/>
                </a:lnTo>
                <a:lnTo>
                  <a:pt x="4378" y="546"/>
                </a:lnTo>
                <a:lnTo>
                  <a:pt x="4372" y="543"/>
                </a:lnTo>
                <a:lnTo>
                  <a:pt x="4366" y="541"/>
                </a:lnTo>
                <a:lnTo>
                  <a:pt x="4362" y="537"/>
                </a:lnTo>
                <a:lnTo>
                  <a:pt x="4355" y="535"/>
                </a:lnTo>
                <a:lnTo>
                  <a:pt x="4351" y="532"/>
                </a:lnTo>
                <a:lnTo>
                  <a:pt x="4345" y="530"/>
                </a:lnTo>
                <a:lnTo>
                  <a:pt x="4339" y="528"/>
                </a:lnTo>
                <a:lnTo>
                  <a:pt x="4314" y="546"/>
                </a:lnTo>
                <a:lnTo>
                  <a:pt x="4289" y="563"/>
                </a:lnTo>
                <a:lnTo>
                  <a:pt x="4264" y="581"/>
                </a:lnTo>
                <a:lnTo>
                  <a:pt x="4239" y="599"/>
                </a:lnTo>
                <a:lnTo>
                  <a:pt x="4215" y="617"/>
                </a:lnTo>
                <a:lnTo>
                  <a:pt x="4189" y="635"/>
                </a:lnTo>
                <a:lnTo>
                  <a:pt x="4164" y="653"/>
                </a:lnTo>
                <a:lnTo>
                  <a:pt x="4139" y="670"/>
                </a:lnTo>
                <a:lnTo>
                  <a:pt x="4114" y="688"/>
                </a:lnTo>
                <a:lnTo>
                  <a:pt x="4089" y="708"/>
                </a:lnTo>
                <a:lnTo>
                  <a:pt x="4064" y="724"/>
                </a:lnTo>
                <a:lnTo>
                  <a:pt x="4039" y="743"/>
                </a:lnTo>
                <a:lnTo>
                  <a:pt x="4014" y="761"/>
                </a:lnTo>
                <a:lnTo>
                  <a:pt x="3988" y="779"/>
                </a:lnTo>
                <a:lnTo>
                  <a:pt x="3964" y="798"/>
                </a:lnTo>
                <a:lnTo>
                  <a:pt x="3938" y="816"/>
                </a:lnTo>
                <a:lnTo>
                  <a:pt x="3932" y="808"/>
                </a:lnTo>
                <a:lnTo>
                  <a:pt x="3926" y="801"/>
                </a:lnTo>
                <a:lnTo>
                  <a:pt x="3920" y="791"/>
                </a:lnTo>
                <a:lnTo>
                  <a:pt x="3916" y="780"/>
                </a:lnTo>
                <a:lnTo>
                  <a:pt x="3926" y="773"/>
                </a:lnTo>
                <a:lnTo>
                  <a:pt x="3934" y="766"/>
                </a:lnTo>
                <a:lnTo>
                  <a:pt x="3944" y="756"/>
                </a:lnTo>
                <a:lnTo>
                  <a:pt x="3953" y="748"/>
                </a:lnTo>
                <a:lnTo>
                  <a:pt x="3963" y="739"/>
                </a:lnTo>
                <a:lnTo>
                  <a:pt x="3972" y="731"/>
                </a:lnTo>
                <a:lnTo>
                  <a:pt x="3982" y="721"/>
                </a:lnTo>
                <a:lnTo>
                  <a:pt x="3993" y="713"/>
                </a:lnTo>
                <a:lnTo>
                  <a:pt x="4000" y="711"/>
                </a:lnTo>
                <a:lnTo>
                  <a:pt x="4007" y="708"/>
                </a:lnTo>
                <a:lnTo>
                  <a:pt x="4014" y="708"/>
                </a:lnTo>
                <a:lnTo>
                  <a:pt x="4023" y="705"/>
                </a:lnTo>
                <a:lnTo>
                  <a:pt x="4031" y="702"/>
                </a:lnTo>
                <a:lnTo>
                  <a:pt x="4038" y="699"/>
                </a:lnTo>
                <a:lnTo>
                  <a:pt x="4047" y="696"/>
                </a:lnTo>
                <a:lnTo>
                  <a:pt x="4054" y="694"/>
                </a:lnTo>
                <a:lnTo>
                  <a:pt x="4058" y="687"/>
                </a:lnTo>
                <a:lnTo>
                  <a:pt x="4063" y="680"/>
                </a:lnTo>
                <a:lnTo>
                  <a:pt x="4069" y="674"/>
                </a:lnTo>
                <a:lnTo>
                  <a:pt x="4074" y="666"/>
                </a:lnTo>
                <a:lnTo>
                  <a:pt x="4078" y="659"/>
                </a:lnTo>
                <a:lnTo>
                  <a:pt x="4083" y="652"/>
                </a:lnTo>
                <a:lnTo>
                  <a:pt x="4089" y="644"/>
                </a:lnTo>
                <a:lnTo>
                  <a:pt x="4094" y="636"/>
                </a:lnTo>
                <a:lnTo>
                  <a:pt x="4104" y="632"/>
                </a:lnTo>
                <a:lnTo>
                  <a:pt x="4113" y="626"/>
                </a:lnTo>
                <a:lnTo>
                  <a:pt x="4123" y="621"/>
                </a:lnTo>
                <a:lnTo>
                  <a:pt x="4133" y="615"/>
                </a:lnTo>
                <a:lnTo>
                  <a:pt x="4141" y="609"/>
                </a:lnTo>
                <a:lnTo>
                  <a:pt x="4151" y="604"/>
                </a:lnTo>
                <a:lnTo>
                  <a:pt x="4161" y="598"/>
                </a:lnTo>
                <a:lnTo>
                  <a:pt x="4170" y="593"/>
                </a:lnTo>
                <a:lnTo>
                  <a:pt x="4177" y="579"/>
                </a:lnTo>
                <a:lnTo>
                  <a:pt x="4185" y="566"/>
                </a:lnTo>
                <a:lnTo>
                  <a:pt x="4191" y="552"/>
                </a:lnTo>
                <a:lnTo>
                  <a:pt x="4199" y="537"/>
                </a:lnTo>
                <a:lnTo>
                  <a:pt x="4205" y="530"/>
                </a:lnTo>
                <a:lnTo>
                  <a:pt x="4212" y="524"/>
                </a:lnTo>
                <a:lnTo>
                  <a:pt x="4219" y="517"/>
                </a:lnTo>
                <a:lnTo>
                  <a:pt x="4226" y="511"/>
                </a:lnTo>
                <a:lnTo>
                  <a:pt x="4233" y="505"/>
                </a:lnTo>
                <a:lnTo>
                  <a:pt x="4241" y="499"/>
                </a:lnTo>
                <a:lnTo>
                  <a:pt x="4249" y="492"/>
                </a:lnTo>
                <a:lnTo>
                  <a:pt x="4256" y="486"/>
                </a:lnTo>
                <a:lnTo>
                  <a:pt x="4250" y="484"/>
                </a:lnTo>
                <a:lnTo>
                  <a:pt x="4245" y="481"/>
                </a:lnTo>
                <a:lnTo>
                  <a:pt x="4239" y="479"/>
                </a:lnTo>
                <a:lnTo>
                  <a:pt x="4233" y="475"/>
                </a:lnTo>
                <a:lnTo>
                  <a:pt x="4228" y="473"/>
                </a:lnTo>
                <a:lnTo>
                  <a:pt x="4221" y="469"/>
                </a:lnTo>
                <a:lnTo>
                  <a:pt x="4216" y="466"/>
                </a:lnTo>
                <a:lnTo>
                  <a:pt x="4210" y="461"/>
                </a:lnTo>
                <a:lnTo>
                  <a:pt x="4221" y="453"/>
                </a:lnTo>
                <a:lnTo>
                  <a:pt x="4232" y="444"/>
                </a:lnTo>
                <a:lnTo>
                  <a:pt x="4243" y="436"/>
                </a:lnTo>
                <a:lnTo>
                  <a:pt x="4255" y="426"/>
                </a:lnTo>
                <a:lnTo>
                  <a:pt x="4267" y="418"/>
                </a:lnTo>
                <a:lnTo>
                  <a:pt x="4278" y="410"/>
                </a:lnTo>
                <a:lnTo>
                  <a:pt x="4289" y="401"/>
                </a:lnTo>
                <a:lnTo>
                  <a:pt x="4300" y="392"/>
                </a:lnTo>
                <a:lnTo>
                  <a:pt x="4306" y="386"/>
                </a:lnTo>
                <a:lnTo>
                  <a:pt x="4314" y="381"/>
                </a:lnTo>
                <a:lnTo>
                  <a:pt x="4322" y="374"/>
                </a:lnTo>
                <a:lnTo>
                  <a:pt x="4327" y="367"/>
                </a:lnTo>
                <a:lnTo>
                  <a:pt x="4336" y="357"/>
                </a:lnTo>
                <a:lnTo>
                  <a:pt x="4347" y="346"/>
                </a:lnTo>
                <a:lnTo>
                  <a:pt x="4354" y="334"/>
                </a:lnTo>
                <a:lnTo>
                  <a:pt x="4362" y="323"/>
                </a:lnTo>
                <a:lnTo>
                  <a:pt x="4371" y="311"/>
                </a:lnTo>
                <a:lnTo>
                  <a:pt x="4380" y="300"/>
                </a:lnTo>
                <a:lnTo>
                  <a:pt x="4389" y="289"/>
                </a:lnTo>
                <a:lnTo>
                  <a:pt x="4397" y="277"/>
                </a:lnTo>
                <a:lnTo>
                  <a:pt x="4375" y="288"/>
                </a:lnTo>
                <a:lnTo>
                  <a:pt x="4356" y="297"/>
                </a:lnTo>
                <a:lnTo>
                  <a:pt x="4335" y="306"/>
                </a:lnTo>
                <a:lnTo>
                  <a:pt x="4316" y="315"/>
                </a:lnTo>
                <a:lnTo>
                  <a:pt x="4294" y="326"/>
                </a:lnTo>
                <a:lnTo>
                  <a:pt x="4274" y="335"/>
                </a:lnTo>
                <a:lnTo>
                  <a:pt x="4252" y="347"/>
                </a:lnTo>
                <a:lnTo>
                  <a:pt x="4232" y="357"/>
                </a:lnTo>
                <a:lnTo>
                  <a:pt x="4228" y="354"/>
                </a:lnTo>
                <a:lnTo>
                  <a:pt x="4224" y="351"/>
                </a:lnTo>
                <a:lnTo>
                  <a:pt x="4218" y="350"/>
                </a:lnTo>
                <a:lnTo>
                  <a:pt x="4214" y="348"/>
                </a:lnTo>
                <a:lnTo>
                  <a:pt x="4208" y="347"/>
                </a:lnTo>
                <a:lnTo>
                  <a:pt x="4204" y="343"/>
                </a:lnTo>
                <a:lnTo>
                  <a:pt x="4200" y="343"/>
                </a:lnTo>
                <a:lnTo>
                  <a:pt x="4195" y="342"/>
                </a:lnTo>
                <a:lnTo>
                  <a:pt x="4201" y="336"/>
                </a:lnTo>
                <a:lnTo>
                  <a:pt x="4208" y="330"/>
                </a:lnTo>
                <a:lnTo>
                  <a:pt x="4214" y="324"/>
                </a:lnTo>
                <a:lnTo>
                  <a:pt x="4219" y="317"/>
                </a:lnTo>
                <a:lnTo>
                  <a:pt x="4226" y="310"/>
                </a:lnTo>
                <a:lnTo>
                  <a:pt x="4232" y="304"/>
                </a:lnTo>
                <a:lnTo>
                  <a:pt x="4239" y="298"/>
                </a:lnTo>
                <a:lnTo>
                  <a:pt x="4247" y="292"/>
                </a:lnTo>
                <a:lnTo>
                  <a:pt x="4266" y="277"/>
                </a:lnTo>
                <a:lnTo>
                  <a:pt x="4287" y="259"/>
                </a:lnTo>
                <a:lnTo>
                  <a:pt x="4312" y="239"/>
                </a:lnTo>
                <a:lnTo>
                  <a:pt x="4339" y="219"/>
                </a:lnTo>
                <a:lnTo>
                  <a:pt x="4366" y="200"/>
                </a:lnTo>
                <a:lnTo>
                  <a:pt x="4391" y="181"/>
                </a:lnTo>
                <a:lnTo>
                  <a:pt x="4413" y="165"/>
                </a:lnTo>
                <a:lnTo>
                  <a:pt x="4430" y="150"/>
                </a:lnTo>
                <a:lnTo>
                  <a:pt x="4434" y="126"/>
                </a:lnTo>
                <a:lnTo>
                  <a:pt x="4431" y="115"/>
                </a:lnTo>
                <a:lnTo>
                  <a:pt x="4424" y="115"/>
                </a:lnTo>
                <a:lnTo>
                  <a:pt x="4414" y="121"/>
                </a:lnTo>
                <a:lnTo>
                  <a:pt x="4402" y="129"/>
                </a:lnTo>
                <a:lnTo>
                  <a:pt x="4391" y="137"/>
                </a:lnTo>
                <a:lnTo>
                  <a:pt x="4383" y="143"/>
                </a:lnTo>
                <a:lnTo>
                  <a:pt x="4375" y="142"/>
                </a:lnTo>
                <a:lnTo>
                  <a:pt x="4366" y="149"/>
                </a:lnTo>
                <a:lnTo>
                  <a:pt x="4353" y="155"/>
                </a:lnTo>
                <a:lnTo>
                  <a:pt x="4337" y="163"/>
                </a:lnTo>
                <a:lnTo>
                  <a:pt x="4322" y="169"/>
                </a:lnTo>
                <a:lnTo>
                  <a:pt x="4306" y="177"/>
                </a:lnTo>
                <a:lnTo>
                  <a:pt x="4290" y="182"/>
                </a:lnTo>
                <a:lnTo>
                  <a:pt x="4276" y="191"/>
                </a:lnTo>
                <a:lnTo>
                  <a:pt x="4266" y="199"/>
                </a:lnTo>
                <a:lnTo>
                  <a:pt x="4261" y="208"/>
                </a:lnTo>
                <a:lnTo>
                  <a:pt x="4258" y="218"/>
                </a:lnTo>
                <a:lnTo>
                  <a:pt x="4255" y="229"/>
                </a:lnTo>
                <a:lnTo>
                  <a:pt x="4252" y="239"/>
                </a:lnTo>
                <a:lnTo>
                  <a:pt x="4247" y="244"/>
                </a:lnTo>
                <a:lnTo>
                  <a:pt x="4242" y="250"/>
                </a:lnTo>
                <a:lnTo>
                  <a:pt x="4236" y="257"/>
                </a:lnTo>
                <a:lnTo>
                  <a:pt x="4230" y="262"/>
                </a:lnTo>
                <a:lnTo>
                  <a:pt x="4221" y="268"/>
                </a:lnTo>
                <a:lnTo>
                  <a:pt x="4216" y="273"/>
                </a:lnTo>
                <a:lnTo>
                  <a:pt x="4208" y="279"/>
                </a:lnTo>
                <a:lnTo>
                  <a:pt x="4201" y="284"/>
                </a:lnTo>
                <a:lnTo>
                  <a:pt x="4195" y="277"/>
                </a:lnTo>
                <a:lnTo>
                  <a:pt x="4191" y="270"/>
                </a:lnTo>
                <a:lnTo>
                  <a:pt x="4185" y="264"/>
                </a:lnTo>
                <a:lnTo>
                  <a:pt x="4177" y="257"/>
                </a:lnTo>
                <a:lnTo>
                  <a:pt x="4172" y="249"/>
                </a:lnTo>
                <a:lnTo>
                  <a:pt x="4164" y="243"/>
                </a:lnTo>
                <a:lnTo>
                  <a:pt x="4158" y="237"/>
                </a:lnTo>
                <a:lnTo>
                  <a:pt x="4153" y="231"/>
                </a:lnTo>
                <a:lnTo>
                  <a:pt x="4161" y="217"/>
                </a:lnTo>
                <a:lnTo>
                  <a:pt x="4168" y="205"/>
                </a:lnTo>
                <a:lnTo>
                  <a:pt x="4175" y="191"/>
                </a:lnTo>
                <a:lnTo>
                  <a:pt x="4185" y="177"/>
                </a:lnTo>
                <a:lnTo>
                  <a:pt x="4195" y="171"/>
                </a:lnTo>
                <a:lnTo>
                  <a:pt x="4203" y="163"/>
                </a:lnTo>
                <a:lnTo>
                  <a:pt x="4211" y="155"/>
                </a:lnTo>
                <a:lnTo>
                  <a:pt x="4219" y="148"/>
                </a:lnTo>
                <a:lnTo>
                  <a:pt x="4229" y="140"/>
                </a:lnTo>
                <a:lnTo>
                  <a:pt x="4237" y="132"/>
                </a:lnTo>
                <a:lnTo>
                  <a:pt x="4245" y="125"/>
                </a:lnTo>
                <a:lnTo>
                  <a:pt x="4252" y="118"/>
                </a:lnTo>
                <a:lnTo>
                  <a:pt x="4259" y="109"/>
                </a:lnTo>
                <a:lnTo>
                  <a:pt x="4264" y="101"/>
                </a:lnTo>
                <a:lnTo>
                  <a:pt x="4270" y="92"/>
                </a:lnTo>
                <a:lnTo>
                  <a:pt x="4275" y="84"/>
                </a:lnTo>
                <a:lnTo>
                  <a:pt x="4281" y="74"/>
                </a:lnTo>
                <a:lnTo>
                  <a:pt x="4286" y="66"/>
                </a:lnTo>
                <a:lnTo>
                  <a:pt x="4292" y="56"/>
                </a:lnTo>
                <a:lnTo>
                  <a:pt x="4298" y="47"/>
                </a:lnTo>
                <a:lnTo>
                  <a:pt x="4289" y="48"/>
                </a:lnTo>
                <a:lnTo>
                  <a:pt x="4279" y="51"/>
                </a:lnTo>
                <a:lnTo>
                  <a:pt x="4270" y="53"/>
                </a:lnTo>
                <a:lnTo>
                  <a:pt x="4259" y="53"/>
                </a:lnTo>
                <a:lnTo>
                  <a:pt x="4249" y="56"/>
                </a:lnTo>
                <a:lnTo>
                  <a:pt x="4239" y="57"/>
                </a:lnTo>
                <a:lnTo>
                  <a:pt x="4229" y="60"/>
                </a:lnTo>
                <a:lnTo>
                  <a:pt x="4218" y="61"/>
                </a:lnTo>
                <a:lnTo>
                  <a:pt x="4221" y="44"/>
                </a:lnTo>
                <a:lnTo>
                  <a:pt x="4226" y="30"/>
                </a:lnTo>
                <a:lnTo>
                  <a:pt x="4228" y="15"/>
                </a:lnTo>
                <a:lnTo>
                  <a:pt x="4230" y="0"/>
                </a:lnTo>
                <a:lnTo>
                  <a:pt x="4219" y="6"/>
                </a:lnTo>
                <a:lnTo>
                  <a:pt x="4210" y="12"/>
                </a:lnTo>
                <a:lnTo>
                  <a:pt x="4200" y="18"/>
                </a:lnTo>
                <a:lnTo>
                  <a:pt x="4191" y="26"/>
                </a:lnTo>
                <a:lnTo>
                  <a:pt x="4181" y="33"/>
                </a:lnTo>
                <a:lnTo>
                  <a:pt x="4172" y="41"/>
                </a:lnTo>
                <a:lnTo>
                  <a:pt x="4164" y="48"/>
                </a:lnTo>
                <a:lnTo>
                  <a:pt x="4154" y="56"/>
                </a:lnTo>
                <a:lnTo>
                  <a:pt x="4149" y="64"/>
                </a:lnTo>
                <a:lnTo>
                  <a:pt x="4143" y="74"/>
                </a:lnTo>
                <a:lnTo>
                  <a:pt x="4137" y="84"/>
                </a:lnTo>
                <a:lnTo>
                  <a:pt x="4133" y="94"/>
                </a:lnTo>
                <a:lnTo>
                  <a:pt x="4127" y="104"/>
                </a:lnTo>
                <a:lnTo>
                  <a:pt x="4122" y="115"/>
                </a:lnTo>
                <a:lnTo>
                  <a:pt x="4116" y="125"/>
                </a:lnTo>
                <a:lnTo>
                  <a:pt x="4112" y="136"/>
                </a:lnTo>
                <a:lnTo>
                  <a:pt x="4102" y="136"/>
                </a:lnTo>
                <a:lnTo>
                  <a:pt x="4094" y="136"/>
                </a:lnTo>
                <a:lnTo>
                  <a:pt x="4085" y="136"/>
                </a:lnTo>
                <a:lnTo>
                  <a:pt x="4078" y="136"/>
                </a:lnTo>
                <a:lnTo>
                  <a:pt x="4069" y="136"/>
                </a:lnTo>
                <a:lnTo>
                  <a:pt x="4061" y="136"/>
                </a:lnTo>
                <a:lnTo>
                  <a:pt x="4052" y="136"/>
                </a:lnTo>
                <a:lnTo>
                  <a:pt x="4044" y="135"/>
                </a:lnTo>
                <a:lnTo>
                  <a:pt x="4030" y="146"/>
                </a:lnTo>
                <a:lnTo>
                  <a:pt x="4014" y="157"/>
                </a:lnTo>
                <a:lnTo>
                  <a:pt x="4000" y="169"/>
                </a:lnTo>
                <a:lnTo>
                  <a:pt x="3985" y="179"/>
                </a:lnTo>
                <a:lnTo>
                  <a:pt x="3970" y="190"/>
                </a:lnTo>
                <a:lnTo>
                  <a:pt x="3955" y="202"/>
                </a:lnTo>
                <a:lnTo>
                  <a:pt x="3941" y="212"/>
                </a:lnTo>
                <a:lnTo>
                  <a:pt x="3924" y="223"/>
                </a:lnTo>
                <a:lnTo>
                  <a:pt x="3877" y="257"/>
                </a:lnTo>
                <a:lnTo>
                  <a:pt x="3828" y="287"/>
                </a:lnTo>
                <a:lnTo>
                  <a:pt x="3781" y="314"/>
                </a:lnTo>
                <a:lnTo>
                  <a:pt x="3733" y="339"/>
                </a:lnTo>
                <a:lnTo>
                  <a:pt x="3685" y="365"/>
                </a:lnTo>
                <a:lnTo>
                  <a:pt x="3638" y="390"/>
                </a:lnTo>
                <a:lnTo>
                  <a:pt x="3589" y="415"/>
                </a:lnTo>
                <a:lnTo>
                  <a:pt x="3542" y="439"/>
                </a:lnTo>
                <a:lnTo>
                  <a:pt x="3495" y="467"/>
                </a:lnTo>
                <a:lnTo>
                  <a:pt x="3448" y="497"/>
                </a:lnTo>
                <a:lnTo>
                  <a:pt x="3400" y="529"/>
                </a:lnTo>
                <a:lnTo>
                  <a:pt x="3353" y="563"/>
                </a:lnTo>
                <a:lnTo>
                  <a:pt x="3307" y="604"/>
                </a:lnTo>
                <a:lnTo>
                  <a:pt x="3261" y="649"/>
                </a:lnTo>
                <a:lnTo>
                  <a:pt x="3214" y="698"/>
                </a:lnTo>
                <a:lnTo>
                  <a:pt x="3166" y="754"/>
                </a:lnTo>
                <a:lnTo>
                  <a:pt x="3122" y="783"/>
                </a:lnTo>
                <a:lnTo>
                  <a:pt x="3088" y="806"/>
                </a:lnTo>
                <a:lnTo>
                  <a:pt x="3063" y="823"/>
                </a:lnTo>
                <a:lnTo>
                  <a:pt x="3046" y="832"/>
                </a:lnTo>
                <a:lnTo>
                  <a:pt x="3038" y="835"/>
                </a:lnTo>
                <a:lnTo>
                  <a:pt x="3036" y="834"/>
                </a:lnTo>
                <a:lnTo>
                  <a:pt x="3038" y="829"/>
                </a:lnTo>
                <a:lnTo>
                  <a:pt x="3045" y="820"/>
                </a:lnTo>
                <a:lnTo>
                  <a:pt x="3055" y="810"/>
                </a:lnTo>
                <a:lnTo>
                  <a:pt x="3066" y="798"/>
                </a:lnTo>
                <a:lnTo>
                  <a:pt x="3080" y="785"/>
                </a:lnTo>
                <a:lnTo>
                  <a:pt x="3094" y="773"/>
                </a:lnTo>
                <a:lnTo>
                  <a:pt x="3105" y="762"/>
                </a:lnTo>
                <a:lnTo>
                  <a:pt x="3115" y="750"/>
                </a:lnTo>
                <a:lnTo>
                  <a:pt x="3122" y="743"/>
                </a:lnTo>
                <a:lnTo>
                  <a:pt x="3124" y="739"/>
                </a:lnTo>
                <a:lnTo>
                  <a:pt x="3147" y="727"/>
                </a:lnTo>
                <a:lnTo>
                  <a:pt x="3165" y="717"/>
                </a:lnTo>
                <a:lnTo>
                  <a:pt x="3178" y="708"/>
                </a:lnTo>
                <a:lnTo>
                  <a:pt x="3186" y="702"/>
                </a:lnTo>
                <a:lnTo>
                  <a:pt x="3191" y="698"/>
                </a:lnTo>
                <a:lnTo>
                  <a:pt x="3194" y="694"/>
                </a:lnTo>
                <a:lnTo>
                  <a:pt x="3191" y="692"/>
                </a:lnTo>
                <a:lnTo>
                  <a:pt x="3188" y="691"/>
                </a:lnTo>
                <a:lnTo>
                  <a:pt x="3184" y="691"/>
                </a:lnTo>
                <a:lnTo>
                  <a:pt x="3180" y="691"/>
                </a:lnTo>
                <a:lnTo>
                  <a:pt x="3175" y="690"/>
                </a:lnTo>
                <a:lnTo>
                  <a:pt x="3171" y="688"/>
                </a:lnTo>
                <a:lnTo>
                  <a:pt x="3168" y="686"/>
                </a:lnTo>
                <a:lnTo>
                  <a:pt x="3168" y="683"/>
                </a:lnTo>
                <a:lnTo>
                  <a:pt x="3171" y="677"/>
                </a:lnTo>
                <a:lnTo>
                  <a:pt x="3176" y="670"/>
                </a:lnTo>
                <a:lnTo>
                  <a:pt x="3184" y="661"/>
                </a:lnTo>
                <a:lnTo>
                  <a:pt x="3196" y="649"/>
                </a:lnTo>
                <a:lnTo>
                  <a:pt x="3214" y="635"/>
                </a:lnTo>
                <a:lnTo>
                  <a:pt x="3236" y="618"/>
                </a:lnTo>
                <a:lnTo>
                  <a:pt x="3264" y="598"/>
                </a:lnTo>
                <a:lnTo>
                  <a:pt x="3299" y="574"/>
                </a:lnTo>
                <a:lnTo>
                  <a:pt x="3339" y="546"/>
                </a:lnTo>
                <a:lnTo>
                  <a:pt x="3387" y="515"/>
                </a:lnTo>
                <a:lnTo>
                  <a:pt x="3444" y="477"/>
                </a:lnTo>
                <a:lnTo>
                  <a:pt x="3507" y="437"/>
                </a:lnTo>
                <a:lnTo>
                  <a:pt x="3581" y="392"/>
                </a:lnTo>
                <a:lnTo>
                  <a:pt x="3664" y="339"/>
                </a:lnTo>
                <a:lnTo>
                  <a:pt x="3757" y="284"/>
                </a:lnTo>
                <a:lnTo>
                  <a:pt x="3862" y="221"/>
                </a:lnTo>
                <a:lnTo>
                  <a:pt x="3976" y="153"/>
                </a:lnTo>
                <a:lnTo>
                  <a:pt x="4003" y="135"/>
                </a:lnTo>
                <a:lnTo>
                  <a:pt x="4025" y="118"/>
                </a:lnTo>
                <a:lnTo>
                  <a:pt x="4043" y="101"/>
                </a:lnTo>
                <a:lnTo>
                  <a:pt x="4056" y="86"/>
                </a:lnTo>
                <a:lnTo>
                  <a:pt x="4064" y="72"/>
                </a:lnTo>
                <a:lnTo>
                  <a:pt x="4069" y="62"/>
                </a:lnTo>
                <a:lnTo>
                  <a:pt x="4069" y="55"/>
                </a:lnTo>
                <a:lnTo>
                  <a:pt x="4064" y="53"/>
                </a:lnTo>
                <a:lnTo>
                  <a:pt x="4039" y="57"/>
                </a:lnTo>
                <a:lnTo>
                  <a:pt x="4012" y="70"/>
                </a:lnTo>
                <a:lnTo>
                  <a:pt x="3985" y="90"/>
                </a:lnTo>
                <a:lnTo>
                  <a:pt x="3958" y="109"/>
                </a:lnTo>
                <a:lnTo>
                  <a:pt x="3934" y="128"/>
                </a:lnTo>
                <a:lnTo>
                  <a:pt x="3913" y="142"/>
                </a:lnTo>
                <a:lnTo>
                  <a:pt x="3896" y="146"/>
                </a:lnTo>
                <a:lnTo>
                  <a:pt x="3884" y="135"/>
                </a:lnTo>
                <a:lnTo>
                  <a:pt x="3870" y="157"/>
                </a:lnTo>
                <a:lnTo>
                  <a:pt x="3868" y="165"/>
                </a:lnTo>
                <a:lnTo>
                  <a:pt x="3870" y="163"/>
                </a:lnTo>
                <a:lnTo>
                  <a:pt x="3874" y="154"/>
                </a:lnTo>
                <a:lnTo>
                  <a:pt x="3871" y="146"/>
                </a:lnTo>
                <a:lnTo>
                  <a:pt x="3858" y="146"/>
                </a:lnTo>
                <a:lnTo>
                  <a:pt x="3826" y="155"/>
                </a:lnTo>
                <a:lnTo>
                  <a:pt x="3772" y="181"/>
                </a:lnTo>
                <a:lnTo>
                  <a:pt x="3755" y="191"/>
                </a:lnTo>
                <a:lnTo>
                  <a:pt x="3735" y="202"/>
                </a:lnTo>
                <a:lnTo>
                  <a:pt x="3714" y="213"/>
                </a:lnTo>
                <a:lnTo>
                  <a:pt x="3691" y="228"/>
                </a:lnTo>
                <a:lnTo>
                  <a:pt x="3668" y="242"/>
                </a:lnTo>
                <a:lnTo>
                  <a:pt x="3643" y="257"/>
                </a:lnTo>
                <a:lnTo>
                  <a:pt x="3616" y="273"/>
                </a:lnTo>
                <a:lnTo>
                  <a:pt x="3589" y="291"/>
                </a:lnTo>
                <a:lnTo>
                  <a:pt x="3561" y="308"/>
                </a:lnTo>
                <a:lnTo>
                  <a:pt x="3532" y="326"/>
                </a:lnTo>
                <a:lnTo>
                  <a:pt x="3503" y="346"/>
                </a:lnTo>
                <a:lnTo>
                  <a:pt x="3472" y="365"/>
                </a:lnTo>
                <a:lnTo>
                  <a:pt x="3443" y="384"/>
                </a:lnTo>
                <a:lnTo>
                  <a:pt x="3412" y="405"/>
                </a:lnTo>
                <a:lnTo>
                  <a:pt x="3380" y="425"/>
                </a:lnTo>
                <a:lnTo>
                  <a:pt x="3349" y="446"/>
                </a:lnTo>
                <a:lnTo>
                  <a:pt x="3318" y="467"/>
                </a:lnTo>
                <a:lnTo>
                  <a:pt x="3285" y="487"/>
                </a:lnTo>
                <a:lnTo>
                  <a:pt x="3256" y="508"/>
                </a:lnTo>
                <a:lnTo>
                  <a:pt x="3225" y="529"/>
                </a:lnTo>
                <a:lnTo>
                  <a:pt x="3195" y="548"/>
                </a:lnTo>
                <a:lnTo>
                  <a:pt x="3165" y="570"/>
                </a:lnTo>
                <a:lnTo>
                  <a:pt x="3138" y="588"/>
                </a:lnTo>
                <a:lnTo>
                  <a:pt x="3109" y="608"/>
                </a:lnTo>
                <a:lnTo>
                  <a:pt x="3082" y="626"/>
                </a:lnTo>
                <a:lnTo>
                  <a:pt x="3057" y="644"/>
                </a:lnTo>
                <a:lnTo>
                  <a:pt x="3032" y="661"/>
                </a:lnTo>
                <a:lnTo>
                  <a:pt x="3008" y="677"/>
                </a:lnTo>
                <a:lnTo>
                  <a:pt x="2985" y="694"/>
                </a:lnTo>
                <a:lnTo>
                  <a:pt x="2965" y="708"/>
                </a:lnTo>
                <a:lnTo>
                  <a:pt x="2946" y="721"/>
                </a:lnTo>
                <a:lnTo>
                  <a:pt x="2928" y="733"/>
                </a:lnTo>
                <a:lnTo>
                  <a:pt x="2879" y="768"/>
                </a:lnTo>
                <a:lnTo>
                  <a:pt x="2829" y="803"/>
                </a:lnTo>
                <a:lnTo>
                  <a:pt x="2781" y="836"/>
                </a:lnTo>
                <a:lnTo>
                  <a:pt x="2732" y="868"/>
                </a:lnTo>
                <a:lnTo>
                  <a:pt x="2684" y="901"/>
                </a:lnTo>
                <a:lnTo>
                  <a:pt x="2637" y="932"/>
                </a:lnTo>
                <a:lnTo>
                  <a:pt x="2590" y="963"/>
                </a:lnTo>
                <a:lnTo>
                  <a:pt x="2544" y="994"/>
                </a:lnTo>
                <a:lnTo>
                  <a:pt x="2499" y="1025"/>
                </a:lnTo>
                <a:lnTo>
                  <a:pt x="2455" y="1057"/>
                </a:lnTo>
                <a:lnTo>
                  <a:pt x="2410" y="1087"/>
                </a:lnTo>
                <a:lnTo>
                  <a:pt x="2367" y="1117"/>
                </a:lnTo>
                <a:lnTo>
                  <a:pt x="2324" y="1146"/>
                </a:lnTo>
                <a:lnTo>
                  <a:pt x="2281" y="1177"/>
                </a:lnTo>
                <a:lnTo>
                  <a:pt x="2240" y="1208"/>
                </a:lnTo>
                <a:lnTo>
                  <a:pt x="2199" y="1237"/>
                </a:lnTo>
                <a:lnTo>
                  <a:pt x="2175" y="1258"/>
                </a:lnTo>
                <a:lnTo>
                  <a:pt x="2153" y="1280"/>
                </a:lnTo>
                <a:lnTo>
                  <a:pt x="2132" y="1303"/>
                </a:lnTo>
                <a:lnTo>
                  <a:pt x="2111" y="1326"/>
                </a:lnTo>
                <a:lnTo>
                  <a:pt x="2092" y="1349"/>
                </a:lnTo>
                <a:lnTo>
                  <a:pt x="2072" y="1372"/>
                </a:lnTo>
                <a:lnTo>
                  <a:pt x="2055" y="1396"/>
                </a:lnTo>
                <a:lnTo>
                  <a:pt x="2036" y="1419"/>
                </a:lnTo>
                <a:lnTo>
                  <a:pt x="2017" y="1443"/>
                </a:lnTo>
                <a:lnTo>
                  <a:pt x="2001" y="1466"/>
                </a:lnTo>
                <a:lnTo>
                  <a:pt x="1982" y="1490"/>
                </a:lnTo>
                <a:lnTo>
                  <a:pt x="1964" y="1512"/>
                </a:lnTo>
                <a:lnTo>
                  <a:pt x="1945" y="1536"/>
                </a:lnTo>
                <a:lnTo>
                  <a:pt x="1927" y="1556"/>
                </a:lnTo>
                <a:lnTo>
                  <a:pt x="1907" y="1578"/>
                </a:lnTo>
                <a:lnTo>
                  <a:pt x="1888" y="1599"/>
                </a:lnTo>
                <a:lnTo>
                  <a:pt x="1865" y="1621"/>
                </a:lnTo>
                <a:lnTo>
                  <a:pt x="1841" y="1647"/>
                </a:lnTo>
                <a:lnTo>
                  <a:pt x="1817" y="1679"/>
                </a:lnTo>
                <a:lnTo>
                  <a:pt x="1792" y="1714"/>
                </a:lnTo>
                <a:lnTo>
                  <a:pt x="1768" y="1747"/>
                </a:lnTo>
                <a:lnTo>
                  <a:pt x="1744" y="1778"/>
                </a:lnTo>
                <a:lnTo>
                  <a:pt x="1722" y="1805"/>
                </a:lnTo>
                <a:lnTo>
                  <a:pt x="1703" y="1824"/>
                </a:lnTo>
                <a:lnTo>
                  <a:pt x="1675" y="1845"/>
                </a:lnTo>
                <a:lnTo>
                  <a:pt x="1657" y="1860"/>
                </a:lnTo>
                <a:lnTo>
                  <a:pt x="1643" y="1869"/>
                </a:lnTo>
                <a:lnTo>
                  <a:pt x="1634" y="1876"/>
                </a:lnTo>
                <a:lnTo>
                  <a:pt x="1624" y="1882"/>
                </a:lnTo>
                <a:lnTo>
                  <a:pt x="1613" y="1893"/>
                </a:lnTo>
                <a:lnTo>
                  <a:pt x="1598" y="1906"/>
                </a:lnTo>
                <a:lnTo>
                  <a:pt x="1577" y="1928"/>
                </a:lnTo>
                <a:lnTo>
                  <a:pt x="1555" y="1962"/>
                </a:lnTo>
                <a:lnTo>
                  <a:pt x="1537" y="1996"/>
                </a:lnTo>
                <a:lnTo>
                  <a:pt x="1519" y="2034"/>
                </a:lnTo>
                <a:lnTo>
                  <a:pt x="1504" y="2073"/>
                </a:lnTo>
                <a:lnTo>
                  <a:pt x="1487" y="2109"/>
                </a:lnTo>
                <a:lnTo>
                  <a:pt x="1471" y="2146"/>
                </a:lnTo>
                <a:lnTo>
                  <a:pt x="1457" y="2183"/>
                </a:lnTo>
                <a:lnTo>
                  <a:pt x="1440" y="2216"/>
                </a:lnTo>
                <a:lnTo>
                  <a:pt x="1425" y="2187"/>
                </a:lnTo>
                <a:lnTo>
                  <a:pt x="1406" y="2158"/>
                </a:lnTo>
                <a:lnTo>
                  <a:pt x="1388" y="2128"/>
                </a:lnTo>
                <a:lnTo>
                  <a:pt x="1367" y="2098"/>
                </a:lnTo>
                <a:lnTo>
                  <a:pt x="1345" y="2070"/>
                </a:lnTo>
                <a:lnTo>
                  <a:pt x="1323" y="2040"/>
                </a:lnTo>
                <a:lnTo>
                  <a:pt x="1301" y="2011"/>
                </a:lnTo>
                <a:lnTo>
                  <a:pt x="1278" y="1982"/>
                </a:lnTo>
                <a:lnTo>
                  <a:pt x="1255" y="1952"/>
                </a:lnTo>
                <a:lnTo>
                  <a:pt x="1234" y="1922"/>
                </a:lnTo>
                <a:lnTo>
                  <a:pt x="1214" y="1894"/>
                </a:lnTo>
                <a:lnTo>
                  <a:pt x="1196" y="1864"/>
                </a:lnTo>
                <a:lnTo>
                  <a:pt x="1178" y="1835"/>
                </a:lnTo>
                <a:lnTo>
                  <a:pt x="1163" y="1806"/>
                </a:lnTo>
                <a:lnTo>
                  <a:pt x="1150" y="1776"/>
                </a:lnTo>
                <a:lnTo>
                  <a:pt x="1141" y="1748"/>
                </a:lnTo>
                <a:lnTo>
                  <a:pt x="1125" y="1708"/>
                </a:lnTo>
                <a:lnTo>
                  <a:pt x="1109" y="1665"/>
                </a:lnTo>
                <a:lnTo>
                  <a:pt x="1090" y="1621"/>
                </a:lnTo>
                <a:lnTo>
                  <a:pt x="1072" y="1576"/>
                </a:lnTo>
                <a:lnTo>
                  <a:pt x="1053" y="1531"/>
                </a:lnTo>
                <a:lnTo>
                  <a:pt x="1036" y="1486"/>
                </a:lnTo>
                <a:lnTo>
                  <a:pt x="1019" y="1443"/>
                </a:lnTo>
                <a:lnTo>
                  <a:pt x="1006" y="1401"/>
                </a:lnTo>
                <a:lnTo>
                  <a:pt x="982" y="1410"/>
                </a:lnTo>
                <a:lnTo>
                  <a:pt x="961" y="1421"/>
                </a:lnTo>
                <a:lnTo>
                  <a:pt x="938" y="1429"/>
                </a:lnTo>
                <a:lnTo>
                  <a:pt x="917" y="1438"/>
                </a:lnTo>
                <a:lnTo>
                  <a:pt x="894" y="1447"/>
                </a:lnTo>
                <a:lnTo>
                  <a:pt x="873" y="1454"/>
                </a:lnTo>
                <a:lnTo>
                  <a:pt x="850" y="1462"/>
                </a:lnTo>
                <a:lnTo>
                  <a:pt x="828" y="1472"/>
                </a:lnTo>
                <a:lnTo>
                  <a:pt x="811" y="1480"/>
                </a:lnTo>
                <a:lnTo>
                  <a:pt x="793" y="1487"/>
                </a:lnTo>
                <a:lnTo>
                  <a:pt x="775" y="1496"/>
                </a:lnTo>
                <a:lnTo>
                  <a:pt x="758" y="1505"/>
                </a:lnTo>
                <a:lnTo>
                  <a:pt x="740" y="1512"/>
                </a:lnTo>
                <a:lnTo>
                  <a:pt x="724" y="1521"/>
                </a:lnTo>
                <a:lnTo>
                  <a:pt x="706" y="1528"/>
                </a:lnTo>
                <a:lnTo>
                  <a:pt x="689" y="1537"/>
                </a:lnTo>
                <a:lnTo>
                  <a:pt x="672" y="1545"/>
                </a:lnTo>
                <a:lnTo>
                  <a:pt x="654" y="1553"/>
                </a:lnTo>
                <a:lnTo>
                  <a:pt x="638" y="1561"/>
                </a:lnTo>
                <a:lnTo>
                  <a:pt x="621" y="1570"/>
                </a:lnTo>
                <a:lnTo>
                  <a:pt x="604" y="1576"/>
                </a:lnTo>
                <a:lnTo>
                  <a:pt x="588" y="1585"/>
                </a:lnTo>
                <a:lnTo>
                  <a:pt x="571" y="1593"/>
                </a:lnTo>
                <a:lnTo>
                  <a:pt x="555" y="1601"/>
                </a:lnTo>
                <a:lnTo>
                  <a:pt x="551" y="1601"/>
                </a:lnTo>
                <a:lnTo>
                  <a:pt x="543" y="1601"/>
                </a:lnTo>
                <a:lnTo>
                  <a:pt x="529" y="1603"/>
                </a:lnTo>
                <a:lnTo>
                  <a:pt x="512" y="1607"/>
                </a:lnTo>
                <a:lnTo>
                  <a:pt x="493" y="1611"/>
                </a:lnTo>
                <a:lnTo>
                  <a:pt x="470" y="1617"/>
                </a:lnTo>
                <a:lnTo>
                  <a:pt x="447" y="1625"/>
                </a:lnTo>
                <a:lnTo>
                  <a:pt x="422" y="1632"/>
                </a:lnTo>
                <a:lnTo>
                  <a:pt x="397" y="1638"/>
                </a:lnTo>
                <a:lnTo>
                  <a:pt x="374" y="1645"/>
                </a:lnTo>
                <a:lnTo>
                  <a:pt x="352" y="1653"/>
                </a:lnTo>
                <a:lnTo>
                  <a:pt x="334" y="1657"/>
                </a:lnTo>
                <a:lnTo>
                  <a:pt x="316" y="1661"/>
                </a:lnTo>
                <a:lnTo>
                  <a:pt x="305" y="1665"/>
                </a:lnTo>
                <a:lnTo>
                  <a:pt x="298" y="1665"/>
                </a:lnTo>
                <a:lnTo>
                  <a:pt x="295" y="1663"/>
                </a:lnTo>
                <a:lnTo>
                  <a:pt x="275" y="1674"/>
                </a:lnTo>
                <a:lnTo>
                  <a:pt x="257" y="1685"/>
                </a:lnTo>
                <a:lnTo>
                  <a:pt x="237" y="1696"/>
                </a:lnTo>
                <a:lnTo>
                  <a:pt x="220" y="1708"/>
                </a:lnTo>
                <a:lnTo>
                  <a:pt x="199" y="1718"/>
                </a:lnTo>
                <a:lnTo>
                  <a:pt x="181" y="1728"/>
                </a:lnTo>
                <a:lnTo>
                  <a:pt x="161" y="1739"/>
                </a:lnTo>
                <a:lnTo>
                  <a:pt x="143" y="1750"/>
                </a:lnTo>
                <a:lnTo>
                  <a:pt x="124" y="1761"/>
                </a:lnTo>
                <a:lnTo>
                  <a:pt x="106" y="1773"/>
                </a:lnTo>
                <a:lnTo>
                  <a:pt x="88" y="1783"/>
                </a:lnTo>
                <a:lnTo>
                  <a:pt x="70" y="1794"/>
                </a:lnTo>
                <a:lnTo>
                  <a:pt x="53" y="1805"/>
                </a:lnTo>
                <a:lnTo>
                  <a:pt x="35" y="1816"/>
                </a:lnTo>
                <a:lnTo>
                  <a:pt x="18" y="1827"/>
                </a:lnTo>
                <a:lnTo>
                  <a:pt x="0" y="1838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srgbClr val="C00000"/>
              </a:solidFill>
            </a:endParaRPr>
          </a:p>
        </p:txBody>
      </p:sp>
      <p:sp>
        <p:nvSpPr>
          <p:cNvPr id="154" name="사각형: 둥근 모서리 153">
            <a:extLst>
              <a:ext uri="{FF2B5EF4-FFF2-40B4-BE49-F238E27FC236}">
                <a16:creationId xmlns:a16="http://schemas.microsoft.com/office/drawing/2014/main" id="{85303CB6-F663-967B-1F57-9609C3F0AFB7}"/>
              </a:ext>
            </a:extLst>
          </p:cNvPr>
          <p:cNvSpPr/>
          <p:nvPr/>
        </p:nvSpPr>
        <p:spPr>
          <a:xfrm>
            <a:off x="-1836917" y="5769836"/>
            <a:ext cx="1505623" cy="672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다만</a:t>
            </a:r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, ’23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년 </a:t>
            </a:r>
            <a:r>
              <a:rPr lang="ko-KR" altLang="en-US" sz="1000" b="1" err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후분양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단지의 매출인식이 이루어지면서 수익성 반등 가능성 有</a:t>
            </a:r>
            <a:endParaRPr lang="ko-KR" altLang="en-US" sz="1000" b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5" name="Freeform 48">
            <a:extLst>
              <a:ext uri="{FF2B5EF4-FFF2-40B4-BE49-F238E27FC236}">
                <a16:creationId xmlns:a16="http://schemas.microsoft.com/office/drawing/2014/main" id="{8A2EE4FE-1FE7-976C-964C-A81ED51F9828}"/>
              </a:ext>
            </a:extLst>
          </p:cNvPr>
          <p:cNvSpPr>
            <a:spLocks/>
          </p:cNvSpPr>
          <p:nvPr/>
        </p:nvSpPr>
        <p:spPr bwMode="auto">
          <a:xfrm>
            <a:off x="-2006206" y="5445829"/>
            <a:ext cx="186615" cy="135892"/>
          </a:xfrm>
          <a:custGeom>
            <a:avLst/>
            <a:gdLst/>
            <a:ahLst/>
            <a:cxnLst>
              <a:cxn ang="0">
                <a:pos x="207" y="2051"/>
              </a:cxn>
              <a:cxn ang="0">
                <a:pos x="502" y="2433"/>
              </a:cxn>
              <a:cxn ang="0">
                <a:pos x="858" y="2991"/>
              </a:cxn>
              <a:cxn ang="0">
                <a:pos x="1017" y="3151"/>
              </a:cxn>
              <a:cxn ang="0">
                <a:pos x="1189" y="3228"/>
              </a:cxn>
              <a:cxn ang="0">
                <a:pos x="1367" y="3299"/>
              </a:cxn>
              <a:cxn ang="0">
                <a:pos x="1698" y="3417"/>
              </a:cxn>
              <a:cxn ang="0">
                <a:pos x="1841" y="3460"/>
              </a:cxn>
              <a:cxn ang="0">
                <a:pos x="1884" y="3348"/>
              </a:cxn>
              <a:cxn ang="0">
                <a:pos x="2042" y="3108"/>
              </a:cxn>
              <a:cxn ang="0">
                <a:pos x="2181" y="2716"/>
              </a:cxn>
              <a:cxn ang="0">
                <a:pos x="2374" y="2396"/>
              </a:cxn>
              <a:cxn ang="0">
                <a:pos x="2501" y="2216"/>
              </a:cxn>
              <a:cxn ang="0">
                <a:pos x="2634" y="2126"/>
              </a:cxn>
              <a:cxn ang="0">
                <a:pos x="2725" y="2021"/>
              </a:cxn>
              <a:cxn ang="0">
                <a:pos x="2985" y="1743"/>
              </a:cxn>
              <a:cxn ang="0">
                <a:pos x="3350" y="1385"/>
              </a:cxn>
              <a:cxn ang="0">
                <a:pos x="3764" y="1076"/>
              </a:cxn>
              <a:cxn ang="0">
                <a:pos x="3975" y="956"/>
              </a:cxn>
              <a:cxn ang="0">
                <a:pos x="4166" y="801"/>
              </a:cxn>
              <a:cxn ang="0">
                <a:pos x="4276" y="746"/>
              </a:cxn>
              <a:cxn ang="0">
                <a:pos x="4452" y="590"/>
              </a:cxn>
              <a:cxn ang="0">
                <a:pos x="4597" y="435"/>
              </a:cxn>
              <a:cxn ang="0">
                <a:pos x="4745" y="341"/>
              </a:cxn>
              <a:cxn ang="0">
                <a:pos x="4873" y="280"/>
              </a:cxn>
              <a:cxn ang="0">
                <a:pos x="4849" y="246"/>
              </a:cxn>
              <a:cxn ang="0">
                <a:pos x="4761" y="283"/>
              </a:cxn>
              <a:cxn ang="0">
                <a:pos x="4662" y="363"/>
              </a:cxn>
              <a:cxn ang="0">
                <a:pos x="4441" y="517"/>
              </a:cxn>
              <a:cxn ang="0">
                <a:pos x="4314" y="546"/>
              </a:cxn>
              <a:cxn ang="0">
                <a:pos x="3938" y="816"/>
              </a:cxn>
              <a:cxn ang="0">
                <a:pos x="4014" y="708"/>
              </a:cxn>
              <a:cxn ang="0">
                <a:pos x="4113" y="626"/>
              </a:cxn>
              <a:cxn ang="0">
                <a:pos x="4233" y="505"/>
              </a:cxn>
              <a:cxn ang="0">
                <a:pos x="4255" y="426"/>
              </a:cxn>
              <a:cxn ang="0">
                <a:pos x="4389" y="289"/>
              </a:cxn>
              <a:cxn ang="0">
                <a:pos x="4204" y="343"/>
              </a:cxn>
              <a:cxn ang="0">
                <a:pos x="4366" y="200"/>
              </a:cxn>
              <a:cxn ang="0">
                <a:pos x="4322" y="169"/>
              </a:cxn>
              <a:cxn ang="0">
                <a:pos x="4208" y="279"/>
              </a:cxn>
              <a:cxn ang="0">
                <a:pos x="4203" y="163"/>
              </a:cxn>
              <a:cxn ang="0">
                <a:pos x="4289" y="48"/>
              </a:cxn>
              <a:cxn ang="0">
                <a:pos x="4191" y="26"/>
              </a:cxn>
              <a:cxn ang="0">
                <a:pos x="4085" y="136"/>
              </a:cxn>
              <a:cxn ang="0">
                <a:pos x="3828" y="287"/>
              </a:cxn>
              <a:cxn ang="0">
                <a:pos x="3122" y="783"/>
              </a:cxn>
              <a:cxn ang="0">
                <a:pos x="3124" y="739"/>
              </a:cxn>
              <a:cxn ang="0">
                <a:pos x="3171" y="677"/>
              </a:cxn>
              <a:cxn ang="0">
                <a:pos x="3862" y="221"/>
              </a:cxn>
              <a:cxn ang="0">
                <a:pos x="3913" y="142"/>
              </a:cxn>
              <a:cxn ang="0">
                <a:pos x="3668" y="242"/>
              </a:cxn>
              <a:cxn ang="0">
                <a:pos x="3225" y="529"/>
              </a:cxn>
              <a:cxn ang="0">
                <a:pos x="2781" y="836"/>
              </a:cxn>
              <a:cxn ang="0">
                <a:pos x="2153" y="1280"/>
              </a:cxn>
              <a:cxn ang="0">
                <a:pos x="1865" y="1621"/>
              </a:cxn>
              <a:cxn ang="0">
                <a:pos x="1577" y="1928"/>
              </a:cxn>
              <a:cxn ang="0">
                <a:pos x="1301" y="2011"/>
              </a:cxn>
              <a:cxn ang="0">
                <a:pos x="1036" y="1486"/>
              </a:cxn>
              <a:cxn ang="0">
                <a:pos x="740" y="1512"/>
              </a:cxn>
              <a:cxn ang="0">
                <a:pos x="512" y="1607"/>
              </a:cxn>
              <a:cxn ang="0">
                <a:pos x="237" y="1696"/>
              </a:cxn>
            </a:cxnLst>
            <a:rect l="0" t="0" r="r" b="b"/>
            <a:pathLst>
              <a:path w="4933" h="3474">
                <a:moveTo>
                  <a:pt x="0" y="1838"/>
                </a:moveTo>
                <a:lnTo>
                  <a:pt x="12" y="1853"/>
                </a:lnTo>
                <a:lnTo>
                  <a:pt x="25" y="1869"/>
                </a:lnTo>
                <a:lnTo>
                  <a:pt x="38" y="1884"/>
                </a:lnTo>
                <a:lnTo>
                  <a:pt x="53" y="1900"/>
                </a:lnTo>
                <a:lnTo>
                  <a:pt x="68" y="1914"/>
                </a:lnTo>
                <a:lnTo>
                  <a:pt x="83" y="1931"/>
                </a:lnTo>
                <a:lnTo>
                  <a:pt x="100" y="1946"/>
                </a:lnTo>
                <a:lnTo>
                  <a:pt x="116" y="1960"/>
                </a:lnTo>
                <a:lnTo>
                  <a:pt x="132" y="1976"/>
                </a:lnTo>
                <a:lnTo>
                  <a:pt x="148" y="1990"/>
                </a:lnTo>
                <a:lnTo>
                  <a:pt x="162" y="2005"/>
                </a:lnTo>
                <a:lnTo>
                  <a:pt x="179" y="2021"/>
                </a:lnTo>
                <a:lnTo>
                  <a:pt x="193" y="2036"/>
                </a:lnTo>
                <a:lnTo>
                  <a:pt x="207" y="2051"/>
                </a:lnTo>
                <a:lnTo>
                  <a:pt x="220" y="2066"/>
                </a:lnTo>
                <a:lnTo>
                  <a:pt x="231" y="2082"/>
                </a:lnTo>
                <a:lnTo>
                  <a:pt x="245" y="2110"/>
                </a:lnTo>
                <a:lnTo>
                  <a:pt x="262" y="2133"/>
                </a:lnTo>
                <a:lnTo>
                  <a:pt x="282" y="2151"/>
                </a:lnTo>
                <a:lnTo>
                  <a:pt x="302" y="2168"/>
                </a:lnTo>
                <a:lnTo>
                  <a:pt x="323" y="2184"/>
                </a:lnTo>
                <a:lnTo>
                  <a:pt x="343" y="2202"/>
                </a:lnTo>
                <a:lnTo>
                  <a:pt x="361" y="2224"/>
                </a:lnTo>
                <a:lnTo>
                  <a:pt x="376" y="2251"/>
                </a:lnTo>
                <a:lnTo>
                  <a:pt x="392" y="2280"/>
                </a:lnTo>
                <a:lnTo>
                  <a:pt x="416" y="2314"/>
                </a:lnTo>
                <a:lnTo>
                  <a:pt x="443" y="2352"/>
                </a:lnTo>
                <a:lnTo>
                  <a:pt x="472" y="2393"/>
                </a:lnTo>
                <a:lnTo>
                  <a:pt x="502" y="2433"/>
                </a:lnTo>
                <a:lnTo>
                  <a:pt x="529" y="2470"/>
                </a:lnTo>
                <a:lnTo>
                  <a:pt x="552" y="2504"/>
                </a:lnTo>
                <a:lnTo>
                  <a:pt x="571" y="2532"/>
                </a:lnTo>
                <a:lnTo>
                  <a:pt x="582" y="2555"/>
                </a:lnTo>
                <a:lnTo>
                  <a:pt x="599" y="2583"/>
                </a:lnTo>
                <a:lnTo>
                  <a:pt x="618" y="2617"/>
                </a:lnTo>
                <a:lnTo>
                  <a:pt x="640" y="2652"/>
                </a:lnTo>
                <a:lnTo>
                  <a:pt x="665" y="2693"/>
                </a:lnTo>
                <a:lnTo>
                  <a:pt x="691" y="2734"/>
                </a:lnTo>
                <a:lnTo>
                  <a:pt x="720" y="2778"/>
                </a:lnTo>
                <a:lnTo>
                  <a:pt x="750" y="2822"/>
                </a:lnTo>
                <a:lnTo>
                  <a:pt x="777" y="2866"/>
                </a:lnTo>
                <a:lnTo>
                  <a:pt x="806" y="2910"/>
                </a:lnTo>
                <a:lnTo>
                  <a:pt x="833" y="2952"/>
                </a:lnTo>
                <a:lnTo>
                  <a:pt x="858" y="2991"/>
                </a:lnTo>
                <a:lnTo>
                  <a:pt x="881" y="3027"/>
                </a:lnTo>
                <a:lnTo>
                  <a:pt x="900" y="3059"/>
                </a:lnTo>
                <a:lnTo>
                  <a:pt x="917" y="3088"/>
                </a:lnTo>
                <a:lnTo>
                  <a:pt x="929" y="3110"/>
                </a:lnTo>
                <a:lnTo>
                  <a:pt x="940" y="3112"/>
                </a:lnTo>
                <a:lnTo>
                  <a:pt x="950" y="3113"/>
                </a:lnTo>
                <a:lnTo>
                  <a:pt x="960" y="3115"/>
                </a:lnTo>
                <a:lnTo>
                  <a:pt x="969" y="3117"/>
                </a:lnTo>
                <a:lnTo>
                  <a:pt x="980" y="3117"/>
                </a:lnTo>
                <a:lnTo>
                  <a:pt x="991" y="3120"/>
                </a:lnTo>
                <a:lnTo>
                  <a:pt x="1000" y="3121"/>
                </a:lnTo>
                <a:lnTo>
                  <a:pt x="1010" y="3123"/>
                </a:lnTo>
                <a:lnTo>
                  <a:pt x="1012" y="3133"/>
                </a:lnTo>
                <a:lnTo>
                  <a:pt x="1015" y="3142"/>
                </a:lnTo>
                <a:lnTo>
                  <a:pt x="1017" y="3151"/>
                </a:lnTo>
                <a:lnTo>
                  <a:pt x="1019" y="3162"/>
                </a:lnTo>
                <a:lnTo>
                  <a:pt x="1029" y="3162"/>
                </a:lnTo>
                <a:lnTo>
                  <a:pt x="1037" y="3164"/>
                </a:lnTo>
                <a:lnTo>
                  <a:pt x="1046" y="3165"/>
                </a:lnTo>
                <a:lnTo>
                  <a:pt x="1055" y="3166"/>
                </a:lnTo>
                <a:lnTo>
                  <a:pt x="1064" y="3169"/>
                </a:lnTo>
                <a:lnTo>
                  <a:pt x="1073" y="3170"/>
                </a:lnTo>
                <a:lnTo>
                  <a:pt x="1083" y="3171"/>
                </a:lnTo>
                <a:lnTo>
                  <a:pt x="1091" y="3172"/>
                </a:lnTo>
                <a:lnTo>
                  <a:pt x="1108" y="3182"/>
                </a:lnTo>
                <a:lnTo>
                  <a:pt x="1125" y="3193"/>
                </a:lnTo>
                <a:lnTo>
                  <a:pt x="1141" y="3201"/>
                </a:lnTo>
                <a:lnTo>
                  <a:pt x="1156" y="3210"/>
                </a:lnTo>
                <a:lnTo>
                  <a:pt x="1172" y="3220"/>
                </a:lnTo>
                <a:lnTo>
                  <a:pt x="1189" y="3228"/>
                </a:lnTo>
                <a:lnTo>
                  <a:pt x="1206" y="3237"/>
                </a:lnTo>
                <a:lnTo>
                  <a:pt x="1222" y="3245"/>
                </a:lnTo>
                <a:lnTo>
                  <a:pt x="1233" y="3246"/>
                </a:lnTo>
                <a:lnTo>
                  <a:pt x="1244" y="3248"/>
                </a:lnTo>
                <a:lnTo>
                  <a:pt x="1255" y="3250"/>
                </a:lnTo>
                <a:lnTo>
                  <a:pt x="1267" y="3251"/>
                </a:lnTo>
                <a:lnTo>
                  <a:pt x="1278" y="3251"/>
                </a:lnTo>
                <a:lnTo>
                  <a:pt x="1289" y="3252"/>
                </a:lnTo>
                <a:lnTo>
                  <a:pt x="1302" y="3253"/>
                </a:lnTo>
                <a:lnTo>
                  <a:pt x="1313" y="3253"/>
                </a:lnTo>
                <a:lnTo>
                  <a:pt x="1321" y="3264"/>
                </a:lnTo>
                <a:lnTo>
                  <a:pt x="1330" y="3276"/>
                </a:lnTo>
                <a:lnTo>
                  <a:pt x="1340" y="3288"/>
                </a:lnTo>
                <a:lnTo>
                  <a:pt x="1348" y="3297"/>
                </a:lnTo>
                <a:lnTo>
                  <a:pt x="1367" y="3299"/>
                </a:lnTo>
                <a:lnTo>
                  <a:pt x="1388" y="3301"/>
                </a:lnTo>
                <a:lnTo>
                  <a:pt x="1407" y="3303"/>
                </a:lnTo>
                <a:lnTo>
                  <a:pt x="1427" y="3303"/>
                </a:lnTo>
                <a:lnTo>
                  <a:pt x="1448" y="3305"/>
                </a:lnTo>
                <a:lnTo>
                  <a:pt x="1467" y="3305"/>
                </a:lnTo>
                <a:lnTo>
                  <a:pt x="1487" y="3307"/>
                </a:lnTo>
                <a:lnTo>
                  <a:pt x="1507" y="3308"/>
                </a:lnTo>
                <a:lnTo>
                  <a:pt x="1531" y="3321"/>
                </a:lnTo>
                <a:lnTo>
                  <a:pt x="1552" y="3334"/>
                </a:lnTo>
                <a:lnTo>
                  <a:pt x="1577" y="3348"/>
                </a:lnTo>
                <a:lnTo>
                  <a:pt x="1600" y="3361"/>
                </a:lnTo>
                <a:lnTo>
                  <a:pt x="1625" y="3377"/>
                </a:lnTo>
                <a:lnTo>
                  <a:pt x="1649" y="3390"/>
                </a:lnTo>
                <a:lnTo>
                  <a:pt x="1673" y="3404"/>
                </a:lnTo>
                <a:lnTo>
                  <a:pt x="1698" y="3417"/>
                </a:lnTo>
                <a:lnTo>
                  <a:pt x="1707" y="3417"/>
                </a:lnTo>
                <a:lnTo>
                  <a:pt x="1717" y="3417"/>
                </a:lnTo>
                <a:lnTo>
                  <a:pt x="1727" y="3417"/>
                </a:lnTo>
                <a:lnTo>
                  <a:pt x="1738" y="3417"/>
                </a:lnTo>
                <a:lnTo>
                  <a:pt x="1748" y="3417"/>
                </a:lnTo>
                <a:lnTo>
                  <a:pt x="1757" y="3417"/>
                </a:lnTo>
                <a:lnTo>
                  <a:pt x="1768" y="3417"/>
                </a:lnTo>
                <a:lnTo>
                  <a:pt x="1778" y="3417"/>
                </a:lnTo>
                <a:lnTo>
                  <a:pt x="1786" y="3426"/>
                </a:lnTo>
                <a:lnTo>
                  <a:pt x="1796" y="3432"/>
                </a:lnTo>
                <a:lnTo>
                  <a:pt x="1806" y="3438"/>
                </a:lnTo>
                <a:lnTo>
                  <a:pt x="1815" y="3444"/>
                </a:lnTo>
                <a:lnTo>
                  <a:pt x="1823" y="3450"/>
                </a:lnTo>
                <a:lnTo>
                  <a:pt x="1832" y="3454"/>
                </a:lnTo>
                <a:lnTo>
                  <a:pt x="1841" y="3460"/>
                </a:lnTo>
                <a:lnTo>
                  <a:pt x="1850" y="3465"/>
                </a:lnTo>
                <a:lnTo>
                  <a:pt x="1877" y="3472"/>
                </a:lnTo>
                <a:lnTo>
                  <a:pt x="1896" y="3474"/>
                </a:lnTo>
                <a:lnTo>
                  <a:pt x="1907" y="3471"/>
                </a:lnTo>
                <a:lnTo>
                  <a:pt x="1911" y="3464"/>
                </a:lnTo>
                <a:lnTo>
                  <a:pt x="1911" y="3454"/>
                </a:lnTo>
                <a:lnTo>
                  <a:pt x="1905" y="3441"/>
                </a:lnTo>
                <a:lnTo>
                  <a:pt x="1898" y="3427"/>
                </a:lnTo>
                <a:lnTo>
                  <a:pt x="1890" y="3412"/>
                </a:lnTo>
                <a:lnTo>
                  <a:pt x="1883" y="3397"/>
                </a:lnTo>
                <a:lnTo>
                  <a:pt x="1874" y="3382"/>
                </a:lnTo>
                <a:lnTo>
                  <a:pt x="1870" y="3370"/>
                </a:lnTo>
                <a:lnTo>
                  <a:pt x="1869" y="3358"/>
                </a:lnTo>
                <a:lnTo>
                  <a:pt x="1873" y="3352"/>
                </a:lnTo>
                <a:lnTo>
                  <a:pt x="1884" y="3348"/>
                </a:lnTo>
                <a:lnTo>
                  <a:pt x="1902" y="3350"/>
                </a:lnTo>
                <a:lnTo>
                  <a:pt x="1929" y="3357"/>
                </a:lnTo>
                <a:lnTo>
                  <a:pt x="1942" y="3334"/>
                </a:lnTo>
                <a:lnTo>
                  <a:pt x="1953" y="3314"/>
                </a:lnTo>
                <a:lnTo>
                  <a:pt x="1964" y="3295"/>
                </a:lnTo>
                <a:lnTo>
                  <a:pt x="1972" y="3275"/>
                </a:lnTo>
                <a:lnTo>
                  <a:pt x="1982" y="3257"/>
                </a:lnTo>
                <a:lnTo>
                  <a:pt x="1991" y="3235"/>
                </a:lnTo>
                <a:lnTo>
                  <a:pt x="2002" y="3214"/>
                </a:lnTo>
                <a:lnTo>
                  <a:pt x="2014" y="3191"/>
                </a:lnTo>
                <a:lnTo>
                  <a:pt x="2015" y="3177"/>
                </a:lnTo>
                <a:lnTo>
                  <a:pt x="2020" y="3162"/>
                </a:lnTo>
                <a:lnTo>
                  <a:pt x="2026" y="3145"/>
                </a:lnTo>
                <a:lnTo>
                  <a:pt x="2033" y="3126"/>
                </a:lnTo>
                <a:lnTo>
                  <a:pt x="2042" y="3108"/>
                </a:lnTo>
                <a:lnTo>
                  <a:pt x="2048" y="3090"/>
                </a:lnTo>
                <a:lnTo>
                  <a:pt x="2052" y="3075"/>
                </a:lnTo>
                <a:lnTo>
                  <a:pt x="2053" y="3061"/>
                </a:lnTo>
                <a:lnTo>
                  <a:pt x="2066" y="3042"/>
                </a:lnTo>
                <a:lnTo>
                  <a:pt x="2079" y="3021"/>
                </a:lnTo>
                <a:lnTo>
                  <a:pt x="2092" y="3002"/>
                </a:lnTo>
                <a:lnTo>
                  <a:pt x="2103" y="2983"/>
                </a:lnTo>
                <a:lnTo>
                  <a:pt x="2114" y="2964"/>
                </a:lnTo>
                <a:lnTo>
                  <a:pt x="2126" y="2945"/>
                </a:lnTo>
                <a:lnTo>
                  <a:pt x="2137" y="2927"/>
                </a:lnTo>
                <a:lnTo>
                  <a:pt x="2149" y="2907"/>
                </a:lnTo>
                <a:lnTo>
                  <a:pt x="2156" y="2853"/>
                </a:lnTo>
                <a:lnTo>
                  <a:pt x="2167" y="2811"/>
                </a:lnTo>
                <a:lnTo>
                  <a:pt x="2178" y="2769"/>
                </a:lnTo>
                <a:lnTo>
                  <a:pt x="2181" y="2716"/>
                </a:lnTo>
                <a:lnTo>
                  <a:pt x="2195" y="2707"/>
                </a:lnTo>
                <a:lnTo>
                  <a:pt x="2209" y="2695"/>
                </a:lnTo>
                <a:lnTo>
                  <a:pt x="2224" y="2682"/>
                </a:lnTo>
                <a:lnTo>
                  <a:pt x="2240" y="2669"/>
                </a:lnTo>
                <a:lnTo>
                  <a:pt x="2255" y="2656"/>
                </a:lnTo>
                <a:lnTo>
                  <a:pt x="2270" y="2642"/>
                </a:lnTo>
                <a:lnTo>
                  <a:pt x="2284" y="2631"/>
                </a:lnTo>
                <a:lnTo>
                  <a:pt x="2297" y="2621"/>
                </a:lnTo>
                <a:lnTo>
                  <a:pt x="2306" y="2569"/>
                </a:lnTo>
                <a:lnTo>
                  <a:pt x="2312" y="2527"/>
                </a:lnTo>
                <a:lnTo>
                  <a:pt x="2317" y="2486"/>
                </a:lnTo>
                <a:lnTo>
                  <a:pt x="2328" y="2431"/>
                </a:lnTo>
                <a:lnTo>
                  <a:pt x="2338" y="2421"/>
                </a:lnTo>
                <a:lnTo>
                  <a:pt x="2355" y="2409"/>
                </a:lnTo>
                <a:lnTo>
                  <a:pt x="2374" y="2396"/>
                </a:lnTo>
                <a:lnTo>
                  <a:pt x="2397" y="2381"/>
                </a:lnTo>
                <a:lnTo>
                  <a:pt x="2420" y="2366"/>
                </a:lnTo>
                <a:lnTo>
                  <a:pt x="2440" y="2352"/>
                </a:lnTo>
                <a:lnTo>
                  <a:pt x="2456" y="2342"/>
                </a:lnTo>
                <a:lnTo>
                  <a:pt x="2465" y="2332"/>
                </a:lnTo>
                <a:lnTo>
                  <a:pt x="2463" y="2317"/>
                </a:lnTo>
                <a:lnTo>
                  <a:pt x="2463" y="2304"/>
                </a:lnTo>
                <a:lnTo>
                  <a:pt x="2468" y="2291"/>
                </a:lnTo>
                <a:lnTo>
                  <a:pt x="2471" y="2278"/>
                </a:lnTo>
                <a:lnTo>
                  <a:pt x="2476" y="2264"/>
                </a:lnTo>
                <a:lnTo>
                  <a:pt x="2479" y="2251"/>
                </a:lnTo>
                <a:lnTo>
                  <a:pt x="2481" y="2235"/>
                </a:lnTo>
                <a:lnTo>
                  <a:pt x="2479" y="2222"/>
                </a:lnTo>
                <a:lnTo>
                  <a:pt x="2490" y="2220"/>
                </a:lnTo>
                <a:lnTo>
                  <a:pt x="2501" y="2216"/>
                </a:lnTo>
                <a:lnTo>
                  <a:pt x="2513" y="2213"/>
                </a:lnTo>
                <a:lnTo>
                  <a:pt x="2525" y="2208"/>
                </a:lnTo>
                <a:lnTo>
                  <a:pt x="2536" y="2204"/>
                </a:lnTo>
                <a:lnTo>
                  <a:pt x="2547" y="2201"/>
                </a:lnTo>
                <a:lnTo>
                  <a:pt x="2558" y="2196"/>
                </a:lnTo>
                <a:lnTo>
                  <a:pt x="2569" y="2193"/>
                </a:lnTo>
                <a:lnTo>
                  <a:pt x="2574" y="2172"/>
                </a:lnTo>
                <a:lnTo>
                  <a:pt x="2581" y="2153"/>
                </a:lnTo>
                <a:lnTo>
                  <a:pt x="2589" y="2133"/>
                </a:lnTo>
                <a:lnTo>
                  <a:pt x="2598" y="2111"/>
                </a:lnTo>
                <a:lnTo>
                  <a:pt x="2606" y="2115"/>
                </a:lnTo>
                <a:lnTo>
                  <a:pt x="2612" y="2117"/>
                </a:lnTo>
                <a:lnTo>
                  <a:pt x="2619" y="2120"/>
                </a:lnTo>
                <a:lnTo>
                  <a:pt x="2627" y="2123"/>
                </a:lnTo>
                <a:lnTo>
                  <a:pt x="2634" y="2126"/>
                </a:lnTo>
                <a:lnTo>
                  <a:pt x="2643" y="2128"/>
                </a:lnTo>
                <a:lnTo>
                  <a:pt x="2651" y="2131"/>
                </a:lnTo>
                <a:lnTo>
                  <a:pt x="2659" y="2133"/>
                </a:lnTo>
                <a:lnTo>
                  <a:pt x="2667" y="2115"/>
                </a:lnTo>
                <a:lnTo>
                  <a:pt x="2673" y="2098"/>
                </a:lnTo>
                <a:lnTo>
                  <a:pt x="2677" y="2080"/>
                </a:lnTo>
                <a:lnTo>
                  <a:pt x="2682" y="2064"/>
                </a:lnTo>
                <a:lnTo>
                  <a:pt x="2687" y="2058"/>
                </a:lnTo>
                <a:lnTo>
                  <a:pt x="2692" y="2053"/>
                </a:lnTo>
                <a:lnTo>
                  <a:pt x="2698" y="2049"/>
                </a:lnTo>
                <a:lnTo>
                  <a:pt x="2704" y="2042"/>
                </a:lnTo>
                <a:lnTo>
                  <a:pt x="2710" y="2038"/>
                </a:lnTo>
                <a:lnTo>
                  <a:pt x="2715" y="2032"/>
                </a:lnTo>
                <a:lnTo>
                  <a:pt x="2721" y="2026"/>
                </a:lnTo>
                <a:lnTo>
                  <a:pt x="2725" y="2021"/>
                </a:lnTo>
                <a:lnTo>
                  <a:pt x="2735" y="2005"/>
                </a:lnTo>
                <a:lnTo>
                  <a:pt x="2746" y="1989"/>
                </a:lnTo>
                <a:lnTo>
                  <a:pt x="2757" y="1972"/>
                </a:lnTo>
                <a:lnTo>
                  <a:pt x="2769" y="1957"/>
                </a:lnTo>
                <a:lnTo>
                  <a:pt x="2781" y="1940"/>
                </a:lnTo>
                <a:lnTo>
                  <a:pt x="2793" y="1925"/>
                </a:lnTo>
                <a:lnTo>
                  <a:pt x="2807" y="1907"/>
                </a:lnTo>
                <a:lnTo>
                  <a:pt x="2821" y="1891"/>
                </a:lnTo>
                <a:lnTo>
                  <a:pt x="2844" y="1871"/>
                </a:lnTo>
                <a:lnTo>
                  <a:pt x="2869" y="1850"/>
                </a:lnTo>
                <a:lnTo>
                  <a:pt x="2892" y="1829"/>
                </a:lnTo>
                <a:lnTo>
                  <a:pt x="2916" y="1809"/>
                </a:lnTo>
                <a:lnTo>
                  <a:pt x="2940" y="1787"/>
                </a:lnTo>
                <a:lnTo>
                  <a:pt x="2963" y="1765"/>
                </a:lnTo>
                <a:lnTo>
                  <a:pt x="2985" y="1743"/>
                </a:lnTo>
                <a:lnTo>
                  <a:pt x="3008" y="1721"/>
                </a:lnTo>
                <a:lnTo>
                  <a:pt x="3030" y="1698"/>
                </a:lnTo>
                <a:lnTo>
                  <a:pt x="3054" y="1676"/>
                </a:lnTo>
                <a:lnTo>
                  <a:pt x="3077" y="1653"/>
                </a:lnTo>
                <a:lnTo>
                  <a:pt x="3100" y="1629"/>
                </a:lnTo>
                <a:lnTo>
                  <a:pt x="3122" y="1605"/>
                </a:lnTo>
                <a:lnTo>
                  <a:pt x="3146" y="1581"/>
                </a:lnTo>
                <a:lnTo>
                  <a:pt x="3171" y="1558"/>
                </a:lnTo>
                <a:lnTo>
                  <a:pt x="3194" y="1534"/>
                </a:lnTo>
                <a:lnTo>
                  <a:pt x="3219" y="1508"/>
                </a:lnTo>
                <a:lnTo>
                  <a:pt x="3244" y="1485"/>
                </a:lnTo>
                <a:lnTo>
                  <a:pt x="3270" y="1460"/>
                </a:lnTo>
                <a:lnTo>
                  <a:pt x="3296" y="1435"/>
                </a:lnTo>
                <a:lnTo>
                  <a:pt x="3322" y="1409"/>
                </a:lnTo>
                <a:lnTo>
                  <a:pt x="3350" y="1385"/>
                </a:lnTo>
                <a:lnTo>
                  <a:pt x="3380" y="1360"/>
                </a:lnTo>
                <a:lnTo>
                  <a:pt x="3409" y="1335"/>
                </a:lnTo>
                <a:lnTo>
                  <a:pt x="3439" y="1309"/>
                </a:lnTo>
                <a:lnTo>
                  <a:pt x="3470" y="1283"/>
                </a:lnTo>
                <a:lnTo>
                  <a:pt x="3501" y="1258"/>
                </a:lnTo>
                <a:lnTo>
                  <a:pt x="3535" y="1231"/>
                </a:lnTo>
                <a:lnTo>
                  <a:pt x="3569" y="1208"/>
                </a:lnTo>
                <a:lnTo>
                  <a:pt x="3604" y="1181"/>
                </a:lnTo>
                <a:lnTo>
                  <a:pt x="3641" y="1156"/>
                </a:lnTo>
                <a:lnTo>
                  <a:pt x="3679" y="1130"/>
                </a:lnTo>
                <a:lnTo>
                  <a:pt x="3695" y="1119"/>
                </a:lnTo>
                <a:lnTo>
                  <a:pt x="3712" y="1107"/>
                </a:lnTo>
                <a:lnTo>
                  <a:pt x="3730" y="1097"/>
                </a:lnTo>
                <a:lnTo>
                  <a:pt x="3746" y="1085"/>
                </a:lnTo>
                <a:lnTo>
                  <a:pt x="3764" y="1076"/>
                </a:lnTo>
                <a:lnTo>
                  <a:pt x="3781" y="1065"/>
                </a:lnTo>
                <a:lnTo>
                  <a:pt x="3799" y="1054"/>
                </a:lnTo>
                <a:lnTo>
                  <a:pt x="3818" y="1045"/>
                </a:lnTo>
                <a:lnTo>
                  <a:pt x="3827" y="1039"/>
                </a:lnTo>
                <a:lnTo>
                  <a:pt x="3839" y="1035"/>
                </a:lnTo>
                <a:lnTo>
                  <a:pt x="3849" y="1030"/>
                </a:lnTo>
                <a:lnTo>
                  <a:pt x="3859" y="1025"/>
                </a:lnTo>
                <a:lnTo>
                  <a:pt x="3869" y="1019"/>
                </a:lnTo>
                <a:lnTo>
                  <a:pt x="3880" y="1015"/>
                </a:lnTo>
                <a:lnTo>
                  <a:pt x="3890" y="1008"/>
                </a:lnTo>
                <a:lnTo>
                  <a:pt x="3901" y="1003"/>
                </a:lnTo>
                <a:lnTo>
                  <a:pt x="3920" y="991"/>
                </a:lnTo>
                <a:lnTo>
                  <a:pt x="3938" y="980"/>
                </a:lnTo>
                <a:lnTo>
                  <a:pt x="3957" y="970"/>
                </a:lnTo>
                <a:lnTo>
                  <a:pt x="3975" y="956"/>
                </a:lnTo>
                <a:lnTo>
                  <a:pt x="3994" y="946"/>
                </a:lnTo>
                <a:lnTo>
                  <a:pt x="4012" y="932"/>
                </a:lnTo>
                <a:lnTo>
                  <a:pt x="4031" y="922"/>
                </a:lnTo>
                <a:lnTo>
                  <a:pt x="4049" y="910"/>
                </a:lnTo>
                <a:lnTo>
                  <a:pt x="4061" y="901"/>
                </a:lnTo>
                <a:lnTo>
                  <a:pt x="4074" y="891"/>
                </a:lnTo>
                <a:lnTo>
                  <a:pt x="4085" y="882"/>
                </a:lnTo>
                <a:lnTo>
                  <a:pt x="4099" y="872"/>
                </a:lnTo>
                <a:lnTo>
                  <a:pt x="4112" y="863"/>
                </a:lnTo>
                <a:lnTo>
                  <a:pt x="4125" y="854"/>
                </a:lnTo>
                <a:lnTo>
                  <a:pt x="4137" y="845"/>
                </a:lnTo>
                <a:lnTo>
                  <a:pt x="4151" y="835"/>
                </a:lnTo>
                <a:lnTo>
                  <a:pt x="4156" y="823"/>
                </a:lnTo>
                <a:lnTo>
                  <a:pt x="4161" y="811"/>
                </a:lnTo>
                <a:lnTo>
                  <a:pt x="4166" y="801"/>
                </a:lnTo>
                <a:lnTo>
                  <a:pt x="4170" y="792"/>
                </a:lnTo>
                <a:lnTo>
                  <a:pt x="4179" y="783"/>
                </a:lnTo>
                <a:lnTo>
                  <a:pt x="4187" y="778"/>
                </a:lnTo>
                <a:lnTo>
                  <a:pt x="4195" y="770"/>
                </a:lnTo>
                <a:lnTo>
                  <a:pt x="4204" y="764"/>
                </a:lnTo>
                <a:lnTo>
                  <a:pt x="4212" y="756"/>
                </a:lnTo>
                <a:lnTo>
                  <a:pt x="4221" y="750"/>
                </a:lnTo>
                <a:lnTo>
                  <a:pt x="4230" y="743"/>
                </a:lnTo>
                <a:lnTo>
                  <a:pt x="4239" y="737"/>
                </a:lnTo>
                <a:lnTo>
                  <a:pt x="4242" y="743"/>
                </a:lnTo>
                <a:lnTo>
                  <a:pt x="4245" y="749"/>
                </a:lnTo>
                <a:lnTo>
                  <a:pt x="4248" y="755"/>
                </a:lnTo>
                <a:lnTo>
                  <a:pt x="4250" y="762"/>
                </a:lnTo>
                <a:lnTo>
                  <a:pt x="4264" y="752"/>
                </a:lnTo>
                <a:lnTo>
                  <a:pt x="4276" y="746"/>
                </a:lnTo>
                <a:lnTo>
                  <a:pt x="4290" y="737"/>
                </a:lnTo>
                <a:lnTo>
                  <a:pt x="4304" y="728"/>
                </a:lnTo>
                <a:lnTo>
                  <a:pt x="4317" y="721"/>
                </a:lnTo>
                <a:lnTo>
                  <a:pt x="4331" y="712"/>
                </a:lnTo>
                <a:lnTo>
                  <a:pt x="4345" y="705"/>
                </a:lnTo>
                <a:lnTo>
                  <a:pt x="4356" y="697"/>
                </a:lnTo>
                <a:lnTo>
                  <a:pt x="4366" y="683"/>
                </a:lnTo>
                <a:lnTo>
                  <a:pt x="4375" y="665"/>
                </a:lnTo>
                <a:lnTo>
                  <a:pt x="4385" y="649"/>
                </a:lnTo>
                <a:lnTo>
                  <a:pt x="4393" y="634"/>
                </a:lnTo>
                <a:lnTo>
                  <a:pt x="4404" y="624"/>
                </a:lnTo>
                <a:lnTo>
                  <a:pt x="4416" y="615"/>
                </a:lnTo>
                <a:lnTo>
                  <a:pt x="4429" y="606"/>
                </a:lnTo>
                <a:lnTo>
                  <a:pt x="4441" y="598"/>
                </a:lnTo>
                <a:lnTo>
                  <a:pt x="4452" y="590"/>
                </a:lnTo>
                <a:lnTo>
                  <a:pt x="4465" y="580"/>
                </a:lnTo>
                <a:lnTo>
                  <a:pt x="4475" y="570"/>
                </a:lnTo>
                <a:lnTo>
                  <a:pt x="4485" y="562"/>
                </a:lnTo>
                <a:lnTo>
                  <a:pt x="4490" y="547"/>
                </a:lnTo>
                <a:lnTo>
                  <a:pt x="4494" y="532"/>
                </a:lnTo>
                <a:lnTo>
                  <a:pt x="4499" y="517"/>
                </a:lnTo>
                <a:lnTo>
                  <a:pt x="4506" y="501"/>
                </a:lnTo>
                <a:lnTo>
                  <a:pt x="4516" y="492"/>
                </a:lnTo>
                <a:lnTo>
                  <a:pt x="4529" y="484"/>
                </a:lnTo>
                <a:lnTo>
                  <a:pt x="4541" y="477"/>
                </a:lnTo>
                <a:lnTo>
                  <a:pt x="4553" y="468"/>
                </a:lnTo>
                <a:lnTo>
                  <a:pt x="4564" y="459"/>
                </a:lnTo>
                <a:lnTo>
                  <a:pt x="4577" y="450"/>
                </a:lnTo>
                <a:lnTo>
                  <a:pt x="4587" y="443"/>
                </a:lnTo>
                <a:lnTo>
                  <a:pt x="4597" y="435"/>
                </a:lnTo>
                <a:lnTo>
                  <a:pt x="4611" y="430"/>
                </a:lnTo>
                <a:lnTo>
                  <a:pt x="4625" y="426"/>
                </a:lnTo>
                <a:lnTo>
                  <a:pt x="4638" y="422"/>
                </a:lnTo>
                <a:lnTo>
                  <a:pt x="4650" y="418"/>
                </a:lnTo>
                <a:lnTo>
                  <a:pt x="4664" y="413"/>
                </a:lnTo>
                <a:lnTo>
                  <a:pt x="4676" y="410"/>
                </a:lnTo>
                <a:lnTo>
                  <a:pt x="4688" y="405"/>
                </a:lnTo>
                <a:lnTo>
                  <a:pt x="4702" y="401"/>
                </a:lnTo>
                <a:lnTo>
                  <a:pt x="4708" y="393"/>
                </a:lnTo>
                <a:lnTo>
                  <a:pt x="4714" y="384"/>
                </a:lnTo>
                <a:lnTo>
                  <a:pt x="4720" y="377"/>
                </a:lnTo>
                <a:lnTo>
                  <a:pt x="4726" y="367"/>
                </a:lnTo>
                <a:lnTo>
                  <a:pt x="4733" y="359"/>
                </a:lnTo>
                <a:lnTo>
                  <a:pt x="4739" y="350"/>
                </a:lnTo>
                <a:lnTo>
                  <a:pt x="4745" y="341"/>
                </a:lnTo>
                <a:lnTo>
                  <a:pt x="4751" y="332"/>
                </a:lnTo>
                <a:lnTo>
                  <a:pt x="4761" y="326"/>
                </a:lnTo>
                <a:lnTo>
                  <a:pt x="4772" y="319"/>
                </a:lnTo>
                <a:lnTo>
                  <a:pt x="4781" y="312"/>
                </a:lnTo>
                <a:lnTo>
                  <a:pt x="4790" y="305"/>
                </a:lnTo>
                <a:lnTo>
                  <a:pt x="4800" y="298"/>
                </a:lnTo>
                <a:lnTo>
                  <a:pt x="4810" y="291"/>
                </a:lnTo>
                <a:lnTo>
                  <a:pt x="4819" y="283"/>
                </a:lnTo>
                <a:lnTo>
                  <a:pt x="4827" y="275"/>
                </a:lnTo>
                <a:lnTo>
                  <a:pt x="4833" y="280"/>
                </a:lnTo>
                <a:lnTo>
                  <a:pt x="4840" y="285"/>
                </a:lnTo>
                <a:lnTo>
                  <a:pt x="4848" y="292"/>
                </a:lnTo>
                <a:lnTo>
                  <a:pt x="4852" y="297"/>
                </a:lnTo>
                <a:lnTo>
                  <a:pt x="4862" y="289"/>
                </a:lnTo>
                <a:lnTo>
                  <a:pt x="4873" y="280"/>
                </a:lnTo>
                <a:lnTo>
                  <a:pt x="4882" y="272"/>
                </a:lnTo>
                <a:lnTo>
                  <a:pt x="4893" y="264"/>
                </a:lnTo>
                <a:lnTo>
                  <a:pt x="4902" y="253"/>
                </a:lnTo>
                <a:lnTo>
                  <a:pt x="4912" y="244"/>
                </a:lnTo>
                <a:lnTo>
                  <a:pt x="4923" y="236"/>
                </a:lnTo>
                <a:lnTo>
                  <a:pt x="4933" y="228"/>
                </a:lnTo>
                <a:lnTo>
                  <a:pt x="4921" y="233"/>
                </a:lnTo>
                <a:lnTo>
                  <a:pt x="4910" y="239"/>
                </a:lnTo>
                <a:lnTo>
                  <a:pt x="4898" y="246"/>
                </a:lnTo>
                <a:lnTo>
                  <a:pt x="4884" y="250"/>
                </a:lnTo>
                <a:lnTo>
                  <a:pt x="4873" y="257"/>
                </a:lnTo>
                <a:lnTo>
                  <a:pt x="4862" y="262"/>
                </a:lnTo>
                <a:lnTo>
                  <a:pt x="4850" y="267"/>
                </a:lnTo>
                <a:lnTo>
                  <a:pt x="4838" y="272"/>
                </a:lnTo>
                <a:lnTo>
                  <a:pt x="4849" y="246"/>
                </a:lnTo>
                <a:lnTo>
                  <a:pt x="4858" y="223"/>
                </a:lnTo>
                <a:lnTo>
                  <a:pt x="4864" y="199"/>
                </a:lnTo>
                <a:lnTo>
                  <a:pt x="4869" y="175"/>
                </a:lnTo>
                <a:lnTo>
                  <a:pt x="4861" y="182"/>
                </a:lnTo>
                <a:lnTo>
                  <a:pt x="4852" y="191"/>
                </a:lnTo>
                <a:lnTo>
                  <a:pt x="4842" y="200"/>
                </a:lnTo>
                <a:lnTo>
                  <a:pt x="4832" y="208"/>
                </a:lnTo>
                <a:lnTo>
                  <a:pt x="4823" y="216"/>
                </a:lnTo>
                <a:lnTo>
                  <a:pt x="4813" y="224"/>
                </a:lnTo>
                <a:lnTo>
                  <a:pt x="4801" y="233"/>
                </a:lnTo>
                <a:lnTo>
                  <a:pt x="4792" y="242"/>
                </a:lnTo>
                <a:lnTo>
                  <a:pt x="4785" y="252"/>
                </a:lnTo>
                <a:lnTo>
                  <a:pt x="4776" y="262"/>
                </a:lnTo>
                <a:lnTo>
                  <a:pt x="4768" y="272"/>
                </a:lnTo>
                <a:lnTo>
                  <a:pt x="4761" y="283"/>
                </a:lnTo>
                <a:lnTo>
                  <a:pt x="4754" y="295"/>
                </a:lnTo>
                <a:lnTo>
                  <a:pt x="4746" y="305"/>
                </a:lnTo>
                <a:lnTo>
                  <a:pt x="4739" y="317"/>
                </a:lnTo>
                <a:lnTo>
                  <a:pt x="4732" y="328"/>
                </a:lnTo>
                <a:lnTo>
                  <a:pt x="4724" y="332"/>
                </a:lnTo>
                <a:lnTo>
                  <a:pt x="4717" y="337"/>
                </a:lnTo>
                <a:lnTo>
                  <a:pt x="4710" y="343"/>
                </a:lnTo>
                <a:lnTo>
                  <a:pt x="4704" y="349"/>
                </a:lnTo>
                <a:lnTo>
                  <a:pt x="4696" y="354"/>
                </a:lnTo>
                <a:lnTo>
                  <a:pt x="4689" y="359"/>
                </a:lnTo>
                <a:lnTo>
                  <a:pt x="4683" y="363"/>
                </a:lnTo>
                <a:lnTo>
                  <a:pt x="4676" y="368"/>
                </a:lnTo>
                <a:lnTo>
                  <a:pt x="4671" y="367"/>
                </a:lnTo>
                <a:lnTo>
                  <a:pt x="4666" y="366"/>
                </a:lnTo>
                <a:lnTo>
                  <a:pt x="4662" y="363"/>
                </a:lnTo>
                <a:lnTo>
                  <a:pt x="4658" y="362"/>
                </a:lnTo>
                <a:lnTo>
                  <a:pt x="4653" y="361"/>
                </a:lnTo>
                <a:lnTo>
                  <a:pt x="4648" y="359"/>
                </a:lnTo>
                <a:lnTo>
                  <a:pt x="4642" y="357"/>
                </a:lnTo>
                <a:lnTo>
                  <a:pt x="4638" y="357"/>
                </a:lnTo>
                <a:lnTo>
                  <a:pt x="4616" y="374"/>
                </a:lnTo>
                <a:lnTo>
                  <a:pt x="4595" y="393"/>
                </a:lnTo>
                <a:lnTo>
                  <a:pt x="4573" y="412"/>
                </a:lnTo>
                <a:lnTo>
                  <a:pt x="4552" y="430"/>
                </a:lnTo>
                <a:lnTo>
                  <a:pt x="4529" y="449"/>
                </a:lnTo>
                <a:lnTo>
                  <a:pt x="4506" y="468"/>
                </a:lnTo>
                <a:lnTo>
                  <a:pt x="4484" y="487"/>
                </a:lnTo>
                <a:lnTo>
                  <a:pt x="4461" y="506"/>
                </a:lnTo>
                <a:lnTo>
                  <a:pt x="4450" y="511"/>
                </a:lnTo>
                <a:lnTo>
                  <a:pt x="4441" y="517"/>
                </a:lnTo>
                <a:lnTo>
                  <a:pt x="4431" y="521"/>
                </a:lnTo>
                <a:lnTo>
                  <a:pt x="4422" y="528"/>
                </a:lnTo>
                <a:lnTo>
                  <a:pt x="4411" y="532"/>
                </a:lnTo>
                <a:lnTo>
                  <a:pt x="4403" y="537"/>
                </a:lnTo>
                <a:lnTo>
                  <a:pt x="4393" y="543"/>
                </a:lnTo>
                <a:lnTo>
                  <a:pt x="4385" y="548"/>
                </a:lnTo>
                <a:lnTo>
                  <a:pt x="4378" y="546"/>
                </a:lnTo>
                <a:lnTo>
                  <a:pt x="4372" y="543"/>
                </a:lnTo>
                <a:lnTo>
                  <a:pt x="4366" y="541"/>
                </a:lnTo>
                <a:lnTo>
                  <a:pt x="4362" y="537"/>
                </a:lnTo>
                <a:lnTo>
                  <a:pt x="4355" y="535"/>
                </a:lnTo>
                <a:lnTo>
                  <a:pt x="4351" y="532"/>
                </a:lnTo>
                <a:lnTo>
                  <a:pt x="4345" y="530"/>
                </a:lnTo>
                <a:lnTo>
                  <a:pt x="4339" y="528"/>
                </a:lnTo>
                <a:lnTo>
                  <a:pt x="4314" y="546"/>
                </a:lnTo>
                <a:lnTo>
                  <a:pt x="4289" y="563"/>
                </a:lnTo>
                <a:lnTo>
                  <a:pt x="4264" y="581"/>
                </a:lnTo>
                <a:lnTo>
                  <a:pt x="4239" y="599"/>
                </a:lnTo>
                <a:lnTo>
                  <a:pt x="4215" y="617"/>
                </a:lnTo>
                <a:lnTo>
                  <a:pt x="4189" y="635"/>
                </a:lnTo>
                <a:lnTo>
                  <a:pt x="4164" y="653"/>
                </a:lnTo>
                <a:lnTo>
                  <a:pt x="4139" y="670"/>
                </a:lnTo>
                <a:lnTo>
                  <a:pt x="4114" y="688"/>
                </a:lnTo>
                <a:lnTo>
                  <a:pt x="4089" y="708"/>
                </a:lnTo>
                <a:lnTo>
                  <a:pt x="4064" y="724"/>
                </a:lnTo>
                <a:lnTo>
                  <a:pt x="4039" y="743"/>
                </a:lnTo>
                <a:lnTo>
                  <a:pt x="4014" y="761"/>
                </a:lnTo>
                <a:lnTo>
                  <a:pt x="3988" y="779"/>
                </a:lnTo>
                <a:lnTo>
                  <a:pt x="3964" y="798"/>
                </a:lnTo>
                <a:lnTo>
                  <a:pt x="3938" y="816"/>
                </a:lnTo>
                <a:lnTo>
                  <a:pt x="3932" y="808"/>
                </a:lnTo>
                <a:lnTo>
                  <a:pt x="3926" y="801"/>
                </a:lnTo>
                <a:lnTo>
                  <a:pt x="3920" y="791"/>
                </a:lnTo>
                <a:lnTo>
                  <a:pt x="3916" y="780"/>
                </a:lnTo>
                <a:lnTo>
                  <a:pt x="3926" y="773"/>
                </a:lnTo>
                <a:lnTo>
                  <a:pt x="3934" y="766"/>
                </a:lnTo>
                <a:lnTo>
                  <a:pt x="3944" y="756"/>
                </a:lnTo>
                <a:lnTo>
                  <a:pt x="3953" y="748"/>
                </a:lnTo>
                <a:lnTo>
                  <a:pt x="3963" y="739"/>
                </a:lnTo>
                <a:lnTo>
                  <a:pt x="3972" y="731"/>
                </a:lnTo>
                <a:lnTo>
                  <a:pt x="3982" y="721"/>
                </a:lnTo>
                <a:lnTo>
                  <a:pt x="3993" y="713"/>
                </a:lnTo>
                <a:lnTo>
                  <a:pt x="4000" y="711"/>
                </a:lnTo>
                <a:lnTo>
                  <a:pt x="4007" y="708"/>
                </a:lnTo>
                <a:lnTo>
                  <a:pt x="4014" y="708"/>
                </a:lnTo>
                <a:lnTo>
                  <a:pt x="4023" y="705"/>
                </a:lnTo>
                <a:lnTo>
                  <a:pt x="4031" y="702"/>
                </a:lnTo>
                <a:lnTo>
                  <a:pt x="4038" y="699"/>
                </a:lnTo>
                <a:lnTo>
                  <a:pt x="4047" y="696"/>
                </a:lnTo>
                <a:lnTo>
                  <a:pt x="4054" y="694"/>
                </a:lnTo>
                <a:lnTo>
                  <a:pt x="4058" y="687"/>
                </a:lnTo>
                <a:lnTo>
                  <a:pt x="4063" y="680"/>
                </a:lnTo>
                <a:lnTo>
                  <a:pt x="4069" y="674"/>
                </a:lnTo>
                <a:lnTo>
                  <a:pt x="4074" y="666"/>
                </a:lnTo>
                <a:lnTo>
                  <a:pt x="4078" y="659"/>
                </a:lnTo>
                <a:lnTo>
                  <a:pt x="4083" y="652"/>
                </a:lnTo>
                <a:lnTo>
                  <a:pt x="4089" y="644"/>
                </a:lnTo>
                <a:lnTo>
                  <a:pt x="4094" y="636"/>
                </a:lnTo>
                <a:lnTo>
                  <a:pt x="4104" y="632"/>
                </a:lnTo>
                <a:lnTo>
                  <a:pt x="4113" y="626"/>
                </a:lnTo>
                <a:lnTo>
                  <a:pt x="4123" y="621"/>
                </a:lnTo>
                <a:lnTo>
                  <a:pt x="4133" y="615"/>
                </a:lnTo>
                <a:lnTo>
                  <a:pt x="4141" y="609"/>
                </a:lnTo>
                <a:lnTo>
                  <a:pt x="4151" y="604"/>
                </a:lnTo>
                <a:lnTo>
                  <a:pt x="4161" y="598"/>
                </a:lnTo>
                <a:lnTo>
                  <a:pt x="4170" y="593"/>
                </a:lnTo>
                <a:lnTo>
                  <a:pt x="4177" y="579"/>
                </a:lnTo>
                <a:lnTo>
                  <a:pt x="4185" y="566"/>
                </a:lnTo>
                <a:lnTo>
                  <a:pt x="4191" y="552"/>
                </a:lnTo>
                <a:lnTo>
                  <a:pt x="4199" y="537"/>
                </a:lnTo>
                <a:lnTo>
                  <a:pt x="4205" y="530"/>
                </a:lnTo>
                <a:lnTo>
                  <a:pt x="4212" y="524"/>
                </a:lnTo>
                <a:lnTo>
                  <a:pt x="4219" y="517"/>
                </a:lnTo>
                <a:lnTo>
                  <a:pt x="4226" y="511"/>
                </a:lnTo>
                <a:lnTo>
                  <a:pt x="4233" y="505"/>
                </a:lnTo>
                <a:lnTo>
                  <a:pt x="4241" y="499"/>
                </a:lnTo>
                <a:lnTo>
                  <a:pt x="4249" y="492"/>
                </a:lnTo>
                <a:lnTo>
                  <a:pt x="4256" y="486"/>
                </a:lnTo>
                <a:lnTo>
                  <a:pt x="4250" y="484"/>
                </a:lnTo>
                <a:lnTo>
                  <a:pt x="4245" y="481"/>
                </a:lnTo>
                <a:lnTo>
                  <a:pt x="4239" y="479"/>
                </a:lnTo>
                <a:lnTo>
                  <a:pt x="4233" y="475"/>
                </a:lnTo>
                <a:lnTo>
                  <a:pt x="4228" y="473"/>
                </a:lnTo>
                <a:lnTo>
                  <a:pt x="4221" y="469"/>
                </a:lnTo>
                <a:lnTo>
                  <a:pt x="4216" y="466"/>
                </a:lnTo>
                <a:lnTo>
                  <a:pt x="4210" y="461"/>
                </a:lnTo>
                <a:lnTo>
                  <a:pt x="4221" y="453"/>
                </a:lnTo>
                <a:lnTo>
                  <a:pt x="4232" y="444"/>
                </a:lnTo>
                <a:lnTo>
                  <a:pt x="4243" y="436"/>
                </a:lnTo>
                <a:lnTo>
                  <a:pt x="4255" y="426"/>
                </a:lnTo>
                <a:lnTo>
                  <a:pt x="4267" y="418"/>
                </a:lnTo>
                <a:lnTo>
                  <a:pt x="4278" y="410"/>
                </a:lnTo>
                <a:lnTo>
                  <a:pt x="4289" y="401"/>
                </a:lnTo>
                <a:lnTo>
                  <a:pt x="4300" y="392"/>
                </a:lnTo>
                <a:lnTo>
                  <a:pt x="4306" y="386"/>
                </a:lnTo>
                <a:lnTo>
                  <a:pt x="4314" y="381"/>
                </a:lnTo>
                <a:lnTo>
                  <a:pt x="4322" y="374"/>
                </a:lnTo>
                <a:lnTo>
                  <a:pt x="4327" y="367"/>
                </a:lnTo>
                <a:lnTo>
                  <a:pt x="4336" y="357"/>
                </a:lnTo>
                <a:lnTo>
                  <a:pt x="4347" y="346"/>
                </a:lnTo>
                <a:lnTo>
                  <a:pt x="4354" y="334"/>
                </a:lnTo>
                <a:lnTo>
                  <a:pt x="4362" y="323"/>
                </a:lnTo>
                <a:lnTo>
                  <a:pt x="4371" y="311"/>
                </a:lnTo>
                <a:lnTo>
                  <a:pt x="4380" y="300"/>
                </a:lnTo>
                <a:lnTo>
                  <a:pt x="4389" y="289"/>
                </a:lnTo>
                <a:lnTo>
                  <a:pt x="4397" y="277"/>
                </a:lnTo>
                <a:lnTo>
                  <a:pt x="4375" y="288"/>
                </a:lnTo>
                <a:lnTo>
                  <a:pt x="4356" y="297"/>
                </a:lnTo>
                <a:lnTo>
                  <a:pt x="4335" y="306"/>
                </a:lnTo>
                <a:lnTo>
                  <a:pt x="4316" y="315"/>
                </a:lnTo>
                <a:lnTo>
                  <a:pt x="4294" y="326"/>
                </a:lnTo>
                <a:lnTo>
                  <a:pt x="4274" y="335"/>
                </a:lnTo>
                <a:lnTo>
                  <a:pt x="4252" y="347"/>
                </a:lnTo>
                <a:lnTo>
                  <a:pt x="4232" y="357"/>
                </a:lnTo>
                <a:lnTo>
                  <a:pt x="4228" y="354"/>
                </a:lnTo>
                <a:lnTo>
                  <a:pt x="4224" y="351"/>
                </a:lnTo>
                <a:lnTo>
                  <a:pt x="4218" y="350"/>
                </a:lnTo>
                <a:lnTo>
                  <a:pt x="4214" y="348"/>
                </a:lnTo>
                <a:lnTo>
                  <a:pt x="4208" y="347"/>
                </a:lnTo>
                <a:lnTo>
                  <a:pt x="4204" y="343"/>
                </a:lnTo>
                <a:lnTo>
                  <a:pt x="4200" y="343"/>
                </a:lnTo>
                <a:lnTo>
                  <a:pt x="4195" y="342"/>
                </a:lnTo>
                <a:lnTo>
                  <a:pt x="4201" y="336"/>
                </a:lnTo>
                <a:lnTo>
                  <a:pt x="4208" y="330"/>
                </a:lnTo>
                <a:lnTo>
                  <a:pt x="4214" y="324"/>
                </a:lnTo>
                <a:lnTo>
                  <a:pt x="4219" y="317"/>
                </a:lnTo>
                <a:lnTo>
                  <a:pt x="4226" y="310"/>
                </a:lnTo>
                <a:lnTo>
                  <a:pt x="4232" y="304"/>
                </a:lnTo>
                <a:lnTo>
                  <a:pt x="4239" y="298"/>
                </a:lnTo>
                <a:lnTo>
                  <a:pt x="4247" y="292"/>
                </a:lnTo>
                <a:lnTo>
                  <a:pt x="4266" y="277"/>
                </a:lnTo>
                <a:lnTo>
                  <a:pt x="4287" y="259"/>
                </a:lnTo>
                <a:lnTo>
                  <a:pt x="4312" y="239"/>
                </a:lnTo>
                <a:lnTo>
                  <a:pt x="4339" y="219"/>
                </a:lnTo>
                <a:lnTo>
                  <a:pt x="4366" y="200"/>
                </a:lnTo>
                <a:lnTo>
                  <a:pt x="4391" y="181"/>
                </a:lnTo>
                <a:lnTo>
                  <a:pt x="4413" y="165"/>
                </a:lnTo>
                <a:lnTo>
                  <a:pt x="4430" y="150"/>
                </a:lnTo>
                <a:lnTo>
                  <a:pt x="4434" y="126"/>
                </a:lnTo>
                <a:lnTo>
                  <a:pt x="4431" y="115"/>
                </a:lnTo>
                <a:lnTo>
                  <a:pt x="4424" y="115"/>
                </a:lnTo>
                <a:lnTo>
                  <a:pt x="4414" y="121"/>
                </a:lnTo>
                <a:lnTo>
                  <a:pt x="4402" y="129"/>
                </a:lnTo>
                <a:lnTo>
                  <a:pt x="4391" y="137"/>
                </a:lnTo>
                <a:lnTo>
                  <a:pt x="4383" y="143"/>
                </a:lnTo>
                <a:lnTo>
                  <a:pt x="4375" y="142"/>
                </a:lnTo>
                <a:lnTo>
                  <a:pt x="4366" y="149"/>
                </a:lnTo>
                <a:lnTo>
                  <a:pt x="4353" y="155"/>
                </a:lnTo>
                <a:lnTo>
                  <a:pt x="4337" y="163"/>
                </a:lnTo>
                <a:lnTo>
                  <a:pt x="4322" y="169"/>
                </a:lnTo>
                <a:lnTo>
                  <a:pt x="4306" y="177"/>
                </a:lnTo>
                <a:lnTo>
                  <a:pt x="4290" y="182"/>
                </a:lnTo>
                <a:lnTo>
                  <a:pt x="4276" y="191"/>
                </a:lnTo>
                <a:lnTo>
                  <a:pt x="4266" y="199"/>
                </a:lnTo>
                <a:lnTo>
                  <a:pt x="4261" y="208"/>
                </a:lnTo>
                <a:lnTo>
                  <a:pt x="4258" y="218"/>
                </a:lnTo>
                <a:lnTo>
                  <a:pt x="4255" y="229"/>
                </a:lnTo>
                <a:lnTo>
                  <a:pt x="4252" y="239"/>
                </a:lnTo>
                <a:lnTo>
                  <a:pt x="4247" y="244"/>
                </a:lnTo>
                <a:lnTo>
                  <a:pt x="4242" y="250"/>
                </a:lnTo>
                <a:lnTo>
                  <a:pt x="4236" y="257"/>
                </a:lnTo>
                <a:lnTo>
                  <a:pt x="4230" y="262"/>
                </a:lnTo>
                <a:lnTo>
                  <a:pt x="4221" y="268"/>
                </a:lnTo>
                <a:lnTo>
                  <a:pt x="4216" y="273"/>
                </a:lnTo>
                <a:lnTo>
                  <a:pt x="4208" y="279"/>
                </a:lnTo>
                <a:lnTo>
                  <a:pt x="4201" y="284"/>
                </a:lnTo>
                <a:lnTo>
                  <a:pt x="4195" y="277"/>
                </a:lnTo>
                <a:lnTo>
                  <a:pt x="4191" y="270"/>
                </a:lnTo>
                <a:lnTo>
                  <a:pt x="4185" y="264"/>
                </a:lnTo>
                <a:lnTo>
                  <a:pt x="4177" y="257"/>
                </a:lnTo>
                <a:lnTo>
                  <a:pt x="4172" y="249"/>
                </a:lnTo>
                <a:lnTo>
                  <a:pt x="4164" y="243"/>
                </a:lnTo>
                <a:lnTo>
                  <a:pt x="4158" y="237"/>
                </a:lnTo>
                <a:lnTo>
                  <a:pt x="4153" y="231"/>
                </a:lnTo>
                <a:lnTo>
                  <a:pt x="4161" y="217"/>
                </a:lnTo>
                <a:lnTo>
                  <a:pt x="4168" y="205"/>
                </a:lnTo>
                <a:lnTo>
                  <a:pt x="4175" y="191"/>
                </a:lnTo>
                <a:lnTo>
                  <a:pt x="4185" y="177"/>
                </a:lnTo>
                <a:lnTo>
                  <a:pt x="4195" y="171"/>
                </a:lnTo>
                <a:lnTo>
                  <a:pt x="4203" y="163"/>
                </a:lnTo>
                <a:lnTo>
                  <a:pt x="4211" y="155"/>
                </a:lnTo>
                <a:lnTo>
                  <a:pt x="4219" y="148"/>
                </a:lnTo>
                <a:lnTo>
                  <a:pt x="4229" y="140"/>
                </a:lnTo>
                <a:lnTo>
                  <a:pt x="4237" y="132"/>
                </a:lnTo>
                <a:lnTo>
                  <a:pt x="4245" y="125"/>
                </a:lnTo>
                <a:lnTo>
                  <a:pt x="4252" y="118"/>
                </a:lnTo>
                <a:lnTo>
                  <a:pt x="4259" y="109"/>
                </a:lnTo>
                <a:lnTo>
                  <a:pt x="4264" y="101"/>
                </a:lnTo>
                <a:lnTo>
                  <a:pt x="4270" y="92"/>
                </a:lnTo>
                <a:lnTo>
                  <a:pt x="4275" y="84"/>
                </a:lnTo>
                <a:lnTo>
                  <a:pt x="4281" y="74"/>
                </a:lnTo>
                <a:lnTo>
                  <a:pt x="4286" y="66"/>
                </a:lnTo>
                <a:lnTo>
                  <a:pt x="4292" y="56"/>
                </a:lnTo>
                <a:lnTo>
                  <a:pt x="4298" y="47"/>
                </a:lnTo>
                <a:lnTo>
                  <a:pt x="4289" y="48"/>
                </a:lnTo>
                <a:lnTo>
                  <a:pt x="4279" y="51"/>
                </a:lnTo>
                <a:lnTo>
                  <a:pt x="4270" y="53"/>
                </a:lnTo>
                <a:lnTo>
                  <a:pt x="4259" y="53"/>
                </a:lnTo>
                <a:lnTo>
                  <a:pt x="4249" y="56"/>
                </a:lnTo>
                <a:lnTo>
                  <a:pt x="4239" y="57"/>
                </a:lnTo>
                <a:lnTo>
                  <a:pt x="4229" y="60"/>
                </a:lnTo>
                <a:lnTo>
                  <a:pt x="4218" y="61"/>
                </a:lnTo>
                <a:lnTo>
                  <a:pt x="4221" y="44"/>
                </a:lnTo>
                <a:lnTo>
                  <a:pt x="4226" y="30"/>
                </a:lnTo>
                <a:lnTo>
                  <a:pt x="4228" y="15"/>
                </a:lnTo>
                <a:lnTo>
                  <a:pt x="4230" y="0"/>
                </a:lnTo>
                <a:lnTo>
                  <a:pt x="4219" y="6"/>
                </a:lnTo>
                <a:lnTo>
                  <a:pt x="4210" y="12"/>
                </a:lnTo>
                <a:lnTo>
                  <a:pt x="4200" y="18"/>
                </a:lnTo>
                <a:lnTo>
                  <a:pt x="4191" y="26"/>
                </a:lnTo>
                <a:lnTo>
                  <a:pt x="4181" y="33"/>
                </a:lnTo>
                <a:lnTo>
                  <a:pt x="4172" y="41"/>
                </a:lnTo>
                <a:lnTo>
                  <a:pt x="4164" y="48"/>
                </a:lnTo>
                <a:lnTo>
                  <a:pt x="4154" y="56"/>
                </a:lnTo>
                <a:lnTo>
                  <a:pt x="4149" y="64"/>
                </a:lnTo>
                <a:lnTo>
                  <a:pt x="4143" y="74"/>
                </a:lnTo>
                <a:lnTo>
                  <a:pt x="4137" y="84"/>
                </a:lnTo>
                <a:lnTo>
                  <a:pt x="4133" y="94"/>
                </a:lnTo>
                <a:lnTo>
                  <a:pt x="4127" y="104"/>
                </a:lnTo>
                <a:lnTo>
                  <a:pt x="4122" y="115"/>
                </a:lnTo>
                <a:lnTo>
                  <a:pt x="4116" y="125"/>
                </a:lnTo>
                <a:lnTo>
                  <a:pt x="4112" y="136"/>
                </a:lnTo>
                <a:lnTo>
                  <a:pt x="4102" y="136"/>
                </a:lnTo>
                <a:lnTo>
                  <a:pt x="4094" y="136"/>
                </a:lnTo>
                <a:lnTo>
                  <a:pt x="4085" y="136"/>
                </a:lnTo>
                <a:lnTo>
                  <a:pt x="4078" y="136"/>
                </a:lnTo>
                <a:lnTo>
                  <a:pt x="4069" y="136"/>
                </a:lnTo>
                <a:lnTo>
                  <a:pt x="4061" y="136"/>
                </a:lnTo>
                <a:lnTo>
                  <a:pt x="4052" y="136"/>
                </a:lnTo>
                <a:lnTo>
                  <a:pt x="4044" y="135"/>
                </a:lnTo>
                <a:lnTo>
                  <a:pt x="4030" y="146"/>
                </a:lnTo>
                <a:lnTo>
                  <a:pt x="4014" y="157"/>
                </a:lnTo>
                <a:lnTo>
                  <a:pt x="4000" y="169"/>
                </a:lnTo>
                <a:lnTo>
                  <a:pt x="3985" y="179"/>
                </a:lnTo>
                <a:lnTo>
                  <a:pt x="3970" y="190"/>
                </a:lnTo>
                <a:lnTo>
                  <a:pt x="3955" y="202"/>
                </a:lnTo>
                <a:lnTo>
                  <a:pt x="3941" y="212"/>
                </a:lnTo>
                <a:lnTo>
                  <a:pt x="3924" y="223"/>
                </a:lnTo>
                <a:lnTo>
                  <a:pt x="3877" y="257"/>
                </a:lnTo>
                <a:lnTo>
                  <a:pt x="3828" y="287"/>
                </a:lnTo>
                <a:lnTo>
                  <a:pt x="3781" y="314"/>
                </a:lnTo>
                <a:lnTo>
                  <a:pt x="3733" y="339"/>
                </a:lnTo>
                <a:lnTo>
                  <a:pt x="3685" y="365"/>
                </a:lnTo>
                <a:lnTo>
                  <a:pt x="3638" y="390"/>
                </a:lnTo>
                <a:lnTo>
                  <a:pt x="3589" y="415"/>
                </a:lnTo>
                <a:lnTo>
                  <a:pt x="3542" y="439"/>
                </a:lnTo>
                <a:lnTo>
                  <a:pt x="3495" y="467"/>
                </a:lnTo>
                <a:lnTo>
                  <a:pt x="3448" y="497"/>
                </a:lnTo>
                <a:lnTo>
                  <a:pt x="3400" y="529"/>
                </a:lnTo>
                <a:lnTo>
                  <a:pt x="3353" y="563"/>
                </a:lnTo>
                <a:lnTo>
                  <a:pt x="3307" y="604"/>
                </a:lnTo>
                <a:lnTo>
                  <a:pt x="3261" y="649"/>
                </a:lnTo>
                <a:lnTo>
                  <a:pt x="3214" y="698"/>
                </a:lnTo>
                <a:lnTo>
                  <a:pt x="3166" y="754"/>
                </a:lnTo>
                <a:lnTo>
                  <a:pt x="3122" y="783"/>
                </a:lnTo>
                <a:lnTo>
                  <a:pt x="3088" y="806"/>
                </a:lnTo>
                <a:lnTo>
                  <a:pt x="3063" y="823"/>
                </a:lnTo>
                <a:lnTo>
                  <a:pt x="3046" y="832"/>
                </a:lnTo>
                <a:lnTo>
                  <a:pt x="3038" y="835"/>
                </a:lnTo>
                <a:lnTo>
                  <a:pt x="3036" y="834"/>
                </a:lnTo>
                <a:lnTo>
                  <a:pt x="3038" y="829"/>
                </a:lnTo>
                <a:lnTo>
                  <a:pt x="3045" y="820"/>
                </a:lnTo>
                <a:lnTo>
                  <a:pt x="3055" y="810"/>
                </a:lnTo>
                <a:lnTo>
                  <a:pt x="3066" y="798"/>
                </a:lnTo>
                <a:lnTo>
                  <a:pt x="3080" y="785"/>
                </a:lnTo>
                <a:lnTo>
                  <a:pt x="3094" y="773"/>
                </a:lnTo>
                <a:lnTo>
                  <a:pt x="3105" y="762"/>
                </a:lnTo>
                <a:lnTo>
                  <a:pt x="3115" y="750"/>
                </a:lnTo>
                <a:lnTo>
                  <a:pt x="3122" y="743"/>
                </a:lnTo>
                <a:lnTo>
                  <a:pt x="3124" y="739"/>
                </a:lnTo>
                <a:lnTo>
                  <a:pt x="3147" y="727"/>
                </a:lnTo>
                <a:lnTo>
                  <a:pt x="3165" y="717"/>
                </a:lnTo>
                <a:lnTo>
                  <a:pt x="3178" y="708"/>
                </a:lnTo>
                <a:lnTo>
                  <a:pt x="3186" y="702"/>
                </a:lnTo>
                <a:lnTo>
                  <a:pt x="3191" y="698"/>
                </a:lnTo>
                <a:lnTo>
                  <a:pt x="3194" y="694"/>
                </a:lnTo>
                <a:lnTo>
                  <a:pt x="3191" y="692"/>
                </a:lnTo>
                <a:lnTo>
                  <a:pt x="3188" y="691"/>
                </a:lnTo>
                <a:lnTo>
                  <a:pt x="3184" y="691"/>
                </a:lnTo>
                <a:lnTo>
                  <a:pt x="3180" y="691"/>
                </a:lnTo>
                <a:lnTo>
                  <a:pt x="3175" y="690"/>
                </a:lnTo>
                <a:lnTo>
                  <a:pt x="3171" y="688"/>
                </a:lnTo>
                <a:lnTo>
                  <a:pt x="3168" y="686"/>
                </a:lnTo>
                <a:lnTo>
                  <a:pt x="3168" y="683"/>
                </a:lnTo>
                <a:lnTo>
                  <a:pt x="3171" y="677"/>
                </a:lnTo>
                <a:lnTo>
                  <a:pt x="3176" y="670"/>
                </a:lnTo>
                <a:lnTo>
                  <a:pt x="3184" y="661"/>
                </a:lnTo>
                <a:lnTo>
                  <a:pt x="3196" y="649"/>
                </a:lnTo>
                <a:lnTo>
                  <a:pt x="3214" y="635"/>
                </a:lnTo>
                <a:lnTo>
                  <a:pt x="3236" y="618"/>
                </a:lnTo>
                <a:lnTo>
                  <a:pt x="3264" y="598"/>
                </a:lnTo>
                <a:lnTo>
                  <a:pt x="3299" y="574"/>
                </a:lnTo>
                <a:lnTo>
                  <a:pt x="3339" y="546"/>
                </a:lnTo>
                <a:lnTo>
                  <a:pt x="3387" y="515"/>
                </a:lnTo>
                <a:lnTo>
                  <a:pt x="3444" y="477"/>
                </a:lnTo>
                <a:lnTo>
                  <a:pt x="3507" y="437"/>
                </a:lnTo>
                <a:lnTo>
                  <a:pt x="3581" y="392"/>
                </a:lnTo>
                <a:lnTo>
                  <a:pt x="3664" y="339"/>
                </a:lnTo>
                <a:lnTo>
                  <a:pt x="3757" y="284"/>
                </a:lnTo>
                <a:lnTo>
                  <a:pt x="3862" y="221"/>
                </a:lnTo>
                <a:lnTo>
                  <a:pt x="3976" y="153"/>
                </a:lnTo>
                <a:lnTo>
                  <a:pt x="4003" y="135"/>
                </a:lnTo>
                <a:lnTo>
                  <a:pt x="4025" y="118"/>
                </a:lnTo>
                <a:lnTo>
                  <a:pt x="4043" y="101"/>
                </a:lnTo>
                <a:lnTo>
                  <a:pt x="4056" y="86"/>
                </a:lnTo>
                <a:lnTo>
                  <a:pt x="4064" y="72"/>
                </a:lnTo>
                <a:lnTo>
                  <a:pt x="4069" y="62"/>
                </a:lnTo>
                <a:lnTo>
                  <a:pt x="4069" y="55"/>
                </a:lnTo>
                <a:lnTo>
                  <a:pt x="4064" y="53"/>
                </a:lnTo>
                <a:lnTo>
                  <a:pt x="4039" y="57"/>
                </a:lnTo>
                <a:lnTo>
                  <a:pt x="4012" y="70"/>
                </a:lnTo>
                <a:lnTo>
                  <a:pt x="3985" y="90"/>
                </a:lnTo>
                <a:lnTo>
                  <a:pt x="3958" y="109"/>
                </a:lnTo>
                <a:lnTo>
                  <a:pt x="3934" y="128"/>
                </a:lnTo>
                <a:lnTo>
                  <a:pt x="3913" y="142"/>
                </a:lnTo>
                <a:lnTo>
                  <a:pt x="3896" y="146"/>
                </a:lnTo>
                <a:lnTo>
                  <a:pt x="3884" y="135"/>
                </a:lnTo>
                <a:lnTo>
                  <a:pt x="3870" y="157"/>
                </a:lnTo>
                <a:lnTo>
                  <a:pt x="3868" y="165"/>
                </a:lnTo>
                <a:lnTo>
                  <a:pt x="3870" y="163"/>
                </a:lnTo>
                <a:lnTo>
                  <a:pt x="3874" y="154"/>
                </a:lnTo>
                <a:lnTo>
                  <a:pt x="3871" y="146"/>
                </a:lnTo>
                <a:lnTo>
                  <a:pt x="3858" y="146"/>
                </a:lnTo>
                <a:lnTo>
                  <a:pt x="3826" y="155"/>
                </a:lnTo>
                <a:lnTo>
                  <a:pt x="3772" y="181"/>
                </a:lnTo>
                <a:lnTo>
                  <a:pt x="3755" y="191"/>
                </a:lnTo>
                <a:lnTo>
                  <a:pt x="3735" y="202"/>
                </a:lnTo>
                <a:lnTo>
                  <a:pt x="3714" y="213"/>
                </a:lnTo>
                <a:lnTo>
                  <a:pt x="3691" y="228"/>
                </a:lnTo>
                <a:lnTo>
                  <a:pt x="3668" y="242"/>
                </a:lnTo>
                <a:lnTo>
                  <a:pt x="3643" y="257"/>
                </a:lnTo>
                <a:lnTo>
                  <a:pt x="3616" y="273"/>
                </a:lnTo>
                <a:lnTo>
                  <a:pt x="3589" y="291"/>
                </a:lnTo>
                <a:lnTo>
                  <a:pt x="3561" y="308"/>
                </a:lnTo>
                <a:lnTo>
                  <a:pt x="3532" y="326"/>
                </a:lnTo>
                <a:lnTo>
                  <a:pt x="3503" y="346"/>
                </a:lnTo>
                <a:lnTo>
                  <a:pt x="3472" y="365"/>
                </a:lnTo>
                <a:lnTo>
                  <a:pt x="3443" y="384"/>
                </a:lnTo>
                <a:lnTo>
                  <a:pt x="3412" y="405"/>
                </a:lnTo>
                <a:lnTo>
                  <a:pt x="3380" y="425"/>
                </a:lnTo>
                <a:lnTo>
                  <a:pt x="3349" y="446"/>
                </a:lnTo>
                <a:lnTo>
                  <a:pt x="3318" y="467"/>
                </a:lnTo>
                <a:lnTo>
                  <a:pt x="3285" y="487"/>
                </a:lnTo>
                <a:lnTo>
                  <a:pt x="3256" y="508"/>
                </a:lnTo>
                <a:lnTo>
                  <a:pt x="3225" y="529"/>
                </a:lnTo>
                <a:lnTo>
                  <a:pt x="3195" y="548"/>
                </a:lnTo>
                <a:lnTo>
                  <a:pt x="3165" y="570"/>
                </a:lnTo>
                <a:lnTo>
                  <a:pt x="3138" y="588"/>
                </a:lnTo>
                <a:lnTo>
                  <a:pt x="3109" y="608"/>
                </a:lnTo>
                <a:lnTo>
                  <a:pt x="3082" y="626"/>
                </a:lnTo>
                <a:lnTo>
                  <a:pt x="3057" y="644"/>
                </a:lnTo>
                <a:lnTo>
                  <a:pt x="3032" y="661"/>
                </a:lnTo>
                <a:lnTo>
                  <a:pt x="3008" y="677"/>
                </a:lnTo>
                <a:lnTo>
                  <a:pt x="2985" y="694"/>
                </a:lnTo>
                <a:lnTo>
                  <a:pt x="2965" y="708"/>
                </a:lnTo>
                <a:lnTo>
                  <a:pt x="2946" y="721"/>
                </a:lnTo>
                <a:lnTo>
                  <a:pt x="2928" y="733"/>
                </a:lnTo>
                <a:lnTo>
                  <a:pt x="2879" y="768"/>
                </a:lnTo>
                <a:lnTo>
                  <a:pt x="2829" y="803"/>
                </a:lnTo>
                <a:lnTo>
                  <a:pt x="2781" y="836"/>
                </a:lnTo>
                <a:lnTo>
                  <a:pt x="2732" y="868"/>
                </a:lnTo>
                <a:lnTo>
                  <a:pt x="2684" y="901"/>
                </a:lnTo>
                <a:lnTo>
                  <a:pt x="2637" y="932"/>
                </a:lnTo>
                <a:lnTo>
                  <a:pt x="2590" y="963"/>
                </a:lnTo>
                <a:lnTo>
                  <a:pt x="2544" y="994"/>
                </a:lnTo>
                <a:lnTo>
                  <a:pt x="2499" y="1025"/>
                </a:lnTo>
                <a:lnTo>
                  <a:pt x="2455" y="1057"/>
                </a:lnTo>
                <a:lnTo>
                  <a:pt x="2410" y="1087"/>
                </a:lnTo>
                <a:lnTo>
                  <a:pt x="2367" y="1117"/>
                </a:lnTo>
                <a:lnTo>
                  <a:pt x="2324" y="1146"/>
                </a:lnTo>
                <a:lnTo>
                  <a:pt x="2281" y="1177"/>
                </a:lnTo>
                <a:lnTo>
                  <a:pt x="2240" y="1208"/>
                </a:lnTo>
                <a:lnTo>
                  <a:pt x="2199" y="1237"/>
                </a:lnTo>
                <a:lnTo>
                  <a:pt x="2175" y="1258"/>
                </a:lnTo>
                <a:lnTo>
                  <a:pt x="2153" y="1280"/>
                </a:lnTo>
                <a:lnTo>
                  <a:pt x="2132" y="1303"/>
                </a:lnTo>
                <a:lnTo>
                  <a:pt x="2111" y="1326"/>
                </a:lnTo>
                <a:lnTo>
                  <a:pt x="2092" y="1349"/>
                </a:lnTo>
                <a:lnTo>
                  <a:pt x="2072" y="1372"/>
                </a:lnTo>
                <a:lnTo>
                  <a:pt x="2055" y="1396"/>
                </a:lnTo>
                <a:lnTo>
                  <a:pt x="2036" y="1419"/>
                </a:lnTo>
                <a:lnTo>
                  <a:pt x="2017" y="1443"/>
                </a:lnTo>
                <a:lnTo>
                  <a:pt x="2001" y="1466"/>
                </a:lnTo>
                <a:lnTo>
                  <a:pt x="1982" y="1490"/>
                </a:lnTo>
                <a:lnTo>
                  <a:pt x="1964" y="1512"/>
                </a:lnTo>
                <a:lnTo>
                  <a:pt x="1945" y="1536"/>
                </a:lnTo>
                <a:lnTo>
                  <a:pt x="1927" y="1556"/>
                </a:lnTo>
                <a:lnTo>
                  <a:pt x="1907" y="1578"/>
                </a:lnTo>
                <a:lnTo>
                  <a:pt x="1888" y="1599"/>
                </a:lnTo>
                <a:lnTo>
                  <a:pt x="1865" y="1621"/>
                </a:lnTo>
                <a:lnTo>
                  <a:pt x="1841" y="1647"/>
                </a:lnTo>
                <a:lnTo>
                  <a:pt x="1817" y="1679"/>
                </a:lnTo>
                <a:lnTo>
                  <a:pt x="1792" y="1714"/>
                </a:lnTo>
                <a:lnTo>
                  <a:pt x="1768" y="1747"/>
                </a:lnTo>
                <a:lnTo>
                  <a:pt x="1744" y="1778"/>
                </a:lnTo>
                <a:lnTo>
                  <a:pt x="1722" y="1805"/>
                </a:lnTo>
                <a:lnTo>
                  <a:pt x="1703" y="1824"/>
                </a:lnTo>
                <a:lnTo>
                  <a:pt x="1675" y="1845"/>
                </a:lnTo>
                <a:lnTo>
                  <a:pt x="1657" y="1860"/>
                </a:lnTo>
                <a:lnTo>
                  <a:pt x="1643" y="1869"/>
                </a:lnTo>
                <a:lnTo>
                  <a:pt x="1634" y="1876"/>
                </a:lnTo>
                <a:lnTo>
                  <a:pt x="1624" y="1882"/>
                </a:lnTo>
                <a:lnTo>
                  <a:pt x="1613" y="1893"/>
                </a:lnTo>
                <a:lnTo>
                  <a:pt x="1598" y="1906"/>
                </a:lnTo>
                <a:lnTo>
                  <a:pt x="1577" y="1928"/>
                </a:lnTo>
                <a:lnTo>
                  <a:pt x="1555" y="1962"/>
                </a:lnTo>
                <a:lnTo>
                  <a:pt x="1537" y="1996"/>
                </a:lnTo>
                <a:lnTo>
                  <a:pt x="1519" y="2034"/>
                </a:lnTo>
                <a:lnTo>
                  <a:pt x="1504" y="2073"/>
                </a:lnTo>
                <a:lnTo>
                  <a:pt x="1487" y="2109"/>
                </a:lnTo>
                <a:lnTo>
                  <a:pt x="1471" y="2146"/>
                </a:lnTo>
                <a:lnTo>
                  <a:pt x="1457" y="2183"/>
                </a:lnTo>
                <a:lnTo>
                  <a:pt x="1440" y="2216"/>
                </a:lnTo>
                <a:lnTo>
                  <a:pt x="1425" y="2187"/>
                </a:lnTo>
                <a:lnTo>
                  <a:pt x="1406" y="2158"/>
                </a:lnTo>
                <a:lnTo>
                  <a:pt x="1388" y="2128"/>
                </a:lnTo>
                <a:lnTo>
                  <a:pt x="1367" y="2098"/>
                </a:lnTo>
                <a:lnTo>
                  <a:pt x="1345" y="2070"/>
                </a:lnTo>
                <a:lnTo>
                  <a:pt x="1323" y="2040"/>
                </a:lnTo>
                <a:lnTo>
                  <a:pt x="1301" y="2011"/>
                </a:lnTo>
                <a:lnTo>
                  <a:pt x="1278" y="1982"/>
                </a:lnTo>
                <a:lnTo>
                  <a:pt x="1255" y="1952"/>
                </a:lnTo>
                <a:lnTo>
                  <a:pt x="1234" y="1922"/>
                </a:lnTo>
                <a:lnTo>
                  <a:pt x="1214" y="1894"/>
                </a:lnTo>
                <a:lnTo>
                  <a:pt x="1196" y="1864"/>
                </a:lnTo>
                <a:lnTo>
                  <a:pt x="1178" y="1835"/>
                </a:lnTo>
                <a:lnTo>
                  <a:pt x="1163" y="1806"/>
                </a:lnTo>
                <a:lnTo>
                  <a:pt x="1150" y="1776"/>
                </a:lnTo>
                <a:lnTo>
                  <a:pt x="1141" y="1748"/>
                </a:lnTo>
                <a:lnTo>
                  <a:pt x="1125" y="1708"/>
                </a:lnTo>
                <a:lnTo>
                  <a:pt x="1109" y="1665"/>
                </a:lnTo>
                <a:lnTo>
                  <a:pt x="1090" y="1621"/>
                </a:lnTo>
                <a:lnTo>
                  <a:pt x="1072" y="1576"/>
                </a:lnTo>
                <a:lnTo>
                  <a:pt x="1053" y="1531"/>
                </a:lnTo>
                <a:lnTo>
                  <a:pt x="1036" y="1486"/>
                </a:lnTo>
                <a:lnTo>
                  <a:pt x="1019" y="1443"/>
                </a:lnTo>
                <a:lnTo>
                  <a:pt x="1006" y="1401"/>
                </a:lnTo>
                <a:lnTo>
                  <a:pt x="982" y="1410"/>
                </a:lnTo>
                <a:lnTo>
                  <a:pt x="961" y="1421"/>
                </a:lnTo>
                <a:lnTo>
                  <a:pt x="938" y="1429"/>
                </a:lnTo>
                <a:lnTo>
                  <a:pt x="917" y="1438"/>
                </a:lnTo>
                <a:lnTo>
                  <a:pt x="894" y="1447"/>
                </a:lnTo>
                <a:lnTo>
                  <a:pt x="873" y="1454"/>
                </a:lnTo>
                <a:lnTo>
                  <a:pt x="850" y="1462"/>
                </a:lnTo>
                <a:lnTo>
                  <a:pt x="828" y="1472"/>
                </a:lnTo>
                <a:lnTo>
                  <a:pt x="811" y="1480"/>
                </a:lnTo>
                <a:lnTo>
                  <a:pt x="793" y="1487"/>
                </a:lnTo>
                <a:lnTo>
                  <a:pt x="775" y="1496"/>
                </a:lnTo>
                <a:lnTo>
                  <a:pt x="758" y="1505"/>
                </a:lnTo>
                <a:lnTo>
                  <a:pt x="740" y="1512"/>
                </a:lnTo>
                <a:lnTo>
                  <a:pt x="724" y="1521"/>
                </a:lnTo>
                <a:lnTo>
                  <a:pt x="706" y="1528"/>
                </a:lnTo>
                <a:lnTo>
                  <a:pt x="689" y="1537"/>
                </a:lnTo>
                <a:lnTo>
                  <a:pt x="672" y="1545"/>
                </a:lnTo>
                <a:lnTo>
                  <a:pt x="654" y="1553"/>
                </a:lnTo>
                <a:lnTo>
                  <a:pt x="638" y="1561"/>
                </a:lnTo>
                <a:lnTo>
                  <a:pt x="621" y="1570"/>
                </a:lnTo>
                <a:lnTo>
                  <a:pt x="604" y="1576"/>
                </a:lnTo>
                <a:lnTo>
                  <a:pt x="588" y="1585"/>
                </a:lnTo>
                <a:lnTo>
                  <a:pt x="571" y="1593"/>
                </a:lnTo>
                <a:lnTo>
                  <a:pt x="555" y="1601"/>
                </a:lnTo>
                <a:lnTo>
                  <a:pt x="551" y="1601"/>
                </a:lnTo>
                <a:lnTo>
                  <a:pt x="543" y="1601"/>
                </a:lnTo>
                <a:lnTo>
                  <a:pt x="529" y="1603"/>
                </a:lnTo>
                <a:lnTo>
                  <a:pt x="512" y="1607"/>
                </a:lnTo>
                <a:lnTo>
                  <a:pt x="493" y="1611"/>
                </a:lnTo>
                <a:lnTo>
                  <a:pt x="470" y="1617"/>
                </a:lnTo>
                <a:lnTo>
                  <a:pt x="447" y="1625"/>
                </a:lnTo>
                <a:lnTo>
                  <a:pt x="422" y="1632"/>
                </a:lnTo>
                <a:lnTo>
                  <a:pt x="397" y="1638"/>
                </a:lnTo>
                <a:lnTo>
                  <a:pt x="374" y="1645"/>
                </a:lnTo>
                <a:lnTo>
                  <a:pt x="352" y="1653"/>
                </a:lnTo>
                <a:lnTo>
                  <a:pt x="334" y="1657"/>
                </a:lnTo>
                <a:lnTo>
                  <a:pt x="316" y="1661"/>
                </a:lnTo>
                <a:lnTo>
                  <a:pt x="305" y="1665"/>
                </a:lnTo>
                <a:lnTo>
                  <a:pt x="298" y="1665"/>
                </a:lnTo>
                <a:lnTo>
                  <a:pt x="295" y="1663"/>
                </a:lnTo>
                <a:lnTo>
                  <a:pt x="275" y="1674"/>
                </a:lnTo>
                <a:lnTo>
                  <a:pt x="257" y="1685"/>
                </a:lnTo>
                <a:lnTo>
                  <a:pt x="237" y="1696"/>
                </a:lnTo>
                <a:lnTo>
                  <a:pt x="220" y="1708"/>
                </a:lnTo>
                <a:lnTo>
                  <a:pt x="199" y="1718"/>
                </a:lnTo>
                <a:lnTo>
                  <a:pt x="181" y="1728"/>
                </a:lnTo>
                <a:lnTo>
                  <a:pt x="161" y="1739"/>
                </a:lnTo>
                <a:lnTo>
                  <a:pt x="143" y="1750"/>
                </a:lnTo>
                <a:lnTo>
                  <a:pt x="124" y="1761"/>
                </a:lnTo>
                <a:lnTo>
                  <a:pt x="106" y="1773"/>
                </a:lnTo>
                <a:lnTo>
                  <a:pt x="88" y="1783"/>
                </a:lnTo>
                <a:lnTo>
                  <a:pt x="70" y="1794"/>
                </a:lnTo>
                <a:lnTo>
                  <a:pt x="53" y="1805"/>
                </a:lnTo>
                <a:lnTo>
                  <a:pt x="35" y="1816"/>
                </a:lnTo>
                <a:lnTo>
                  <a:pt x="18" y="1827"/>
                </a:lnTo>
                <a:lnTo>
                  <a:pt x="0" y="1838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srgbClr val="C00000"/>
              </a:solidFill>
            </a:endParaRPr>
          </a:p>
        </p:txBody>
      </p:sp>
      <p:sp>
        <p:nvSpPr>
          <p:cNvPr id="156" name="사각형: 둥근 모서리 155">
            <a:extLst>
              <a:ext uri="{FF2B5EF4-FFF2-40B4-BE49-F238E27FC236}">
                <a16:creationId xmlns:a16="http://schemas.microsoft.com/office/drawing/2014/main" id="{76369503-095E-32EF-BC9D-42F3F7B19286}"/>
              </a:ext>
            </a:extLst>
          </p:cNvPr>
          <p:cNvSpPr/>
          <p:nvPr/>
        </p:nvSpPr>
        <p:spPr>
          <a:xfrm>
            <a:off x="-1832738" y="5353643"/>
            <a:ext cx="1505623" cy="672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PF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 부실 우려 제기되면서 유동성 확보가 어려운 상황</a:t>
            </a:r>
            <a:endParaRPr lang="ko-KR" altLang="en-US" sz="1000" b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46D45F51-45E8-F6F4-E911-3309A3BBE32F}"/>
              </a:ext>
            </a:extLst>
          </p:cNvPr>
          <p:cNvSpPr/>
          <p:nvPr/>
        </p:nvSpPr>
        <p:spPr>
          <a:xfrm>
            <a:off x="0" y="6972237"/>
            <a:ext cx="3982901" cy="1275770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DART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 공시 참고해보니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, </a:t>
            </a:r>
            <a:r>
              <a:rPr lang="ko-KR" altLang="en-US" sz="1000" err="1">
                <a:solidFill>
                  <a:schemeClr val="bg1"/>
                </a:solidFill>
                <a:highlight>
                  <a:srgbClr val="FFCCCC"/>
                </a:highlight>
              </a:rPr>
              <a:t>엠디엠플러스가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 최근 계열회사인 </a:t>
            </a:r>
            <a:r>
              <a:rPr lang="ko-KR" altLang="en-US" sz="1000" err="1">
                <a:solidFill>
                  <a:schemeClr val="bg1"/>
                </a:solidFill>
                <a:highlight>
                  <a:srgbClr val="FFCCCC"/>
                </a:highlight>
              </a:rPr>
              <a:t>한국자산캐피탈로부터</a:t>
            </a:r>
            <a:r>
              <a:rPr lang="ko-KR" altLang="en-US" sz="1000">
                <a:solidFill>
                  <a:schemeClr val="bg1"/>
                </a:solidFill>
                <a:highlight>
                  <a:srgbClr val="FFCCCC"/>
                </a:highlight>
              </a:rPr>
              <a:t> 지속적인 차입을 통해 자금조달 중인 것 같습니다</a:t>
            </a:r>
            <a:r>
              <a:rPr lang="en-US" altLang="ko-KR" sz="1000">
                <a:solidFill>
                  <a:schemeClr val="bg1"/>
                </a:solidFill>
                <a:highlight>
                  <a:srgbClr val="FFCCCC"/>
                </a:highlight>
              </a:rPr>
              <a:t>.</a:t>
            </a:r>
          </a:p>
          <a:p>
            <a:r>
              <a:rPr lang="ko-KR" altLang="en-US" sz="1000">
                <a:solidFill>
                  <a:schemeClr val="bg1"/>
                </a:solidFill>
              </a:rPr>
              <a:t>이러한 내용도 유동성 </a:t>
            </a:r>
            <a:r>
              <a:rPr lang="en-US" altLang="ko-KR" sz="1000">
                <a:solidFill>
                  <a:schemeClr val="bg1"/>
                </a:solidFill>
              </a:rPr>
              <a:t>Needs </a:t>
            </a:r>
            <a:r>
              <a:rPr lang="ko-KR" altLang="en-US" sz="1000">
                <a:solidFill>
                  <a:schemeClr val="bg1"/>
                </a:solidFill>
              </a:rPr>
              <a:t>부분에 언급하면 좋을 것 같고</a:t>
            </a:r>
            <a:r>
              <a:rPr lang="en-US" altLang="ko-KR" sz="1000">
                <a:solidFill>
                  <a:schemeClr val="bg1"/>
                </a:solidFill>
              </a:rPr>
              <a:t>, </a:t>
            </a:r>
            <a:r>
              <a:rPr lang="ko-KR" altLang="en-US" sz="1000">
                <a:solidFill>
                  <a:schemeClr val="bg1"/>
                </a:solidFill>
              </a:rPr>
              <a:t>추가로 </a:t>
            </a:r>
            <a:r>
              <a:rPr lang="ko-KR" altLang="en-US" sz="1000" err="1">
                <a:solidFill>
                  <a:schemeClr val="bg1"/>
                </a:solidFill>
              </a:rPr>
              <a:t>한국자산캐피탈의</a:t>
            </a:r>
            <a:r>
              <a:rPr lang="ko-KR" altLang="en-US" sz="1000">
                <a:solidFill>
                  <a:schemeClr val="bg1"/>
                </a:solidFill>
              </a:rPr>
              <a:t> 자금여력은 어느 정도 </a:t>
            </a:r>
            <a:r>
              <a:rPr lang="ko-KR" altLang="en-US" sz="1000" err="1">
                <a:solidFill>
                  <a:schemeClr val="bg1"/>
                </a:solidFill>
              </a:rPr>
              <a:t>남았을지</a:t>
            </a:r>
            <a:r>
              <a:rPr lang="ko-KR" altLang="en-US" sz="1000">
                <a:solidFill>
                  <a:schemeClr val="bg1"/>
                </a:solidFill>
              </a:rPr>
              <a:t> 확인이 가능할까요</a:t>
            </a:r>
            <a:r>
              <a:rPr lang="en-US" altLang="ko-KR" sz="1000">
                <a:solidFill>
                  <a:schemeClr val="bg1"/>
                </a:solidFill>
              </a:rPr>
              <a:t>?</a:t>
            </a:r>
            <a:r>
              <a:rPr lang="ko-KR" altLang="en-US" sz="1000">
                <a:solidFill>
                  <a:schemeClr val="bg1"/>
                </a:solidFill>
              </a:rPr>
              <a:t> </a:t>
            </a:r>
            <a:r>
              <a:rPr lang="ko-KR" altLang="en-US" sz="1000" err="1">
                <a:solidFill>
                  <a:schemeClr val="bg1"/>
                </a:solidFill>
              </a:rPr>
              <a:t>한국자산캐피탈의</a:t>
            </a:r>
            <a:r>
              <a:rPr lang="ko-KR" altLang="en-US" sz="1000">
                <a:solidFill>
                  <a:schemeClr val="bg1"/>
                </a:solidFill>
              </a:rPr>
              <a:t> 자금여력이 </a:t>
            </a:r>
            <a:r>
              <a:rPr lang="ko-KR" altLang="en-US" sz="1000" err="1">
                <a:solidFill>
                  <a:schemeClr val="bg1"/>
                </a:solidFill>
              </a:rPr>
              <a:t>엠디엠플러스의</a:t>
            </a:r>
            <a:r>
              <a:rPr lang="ko-KR" altLang="en-US" sz="1000">
                <a:solidFill>
                  <a:schemeClr val="bg1"/>
                </a:solidFill>
              </a:rPr>
              <a:t> 유동성 리스크 규모 대비 충분한 상황이라면 </a:t>
            </a:r>
            <a:r>
              <a:rPr lang="ko-KR" altLang="en-US" sz="1000" err="1">
                <a:solidFill>
                  <a:schemeClr val="bg1"/>
                </a:solidFill>
              </a:rPr>
              <a:t>미디엄으로</a:t>
            </a:r>
            <a:r>
              <a:rPr lang="ko-KR" altLang="en-US" sz="1000">
                <a:solidFill>
                  <a:schemeClr val="bg1"/>
                </a:solidFill>
              </a:rPr>
              <a:t> 분류해도 되지 않을까 싶어서 여쭤봅니다</a:t>
            </a:r>
            <a:r>
              <a:rPr lang="en-US" altLang="ko-KR" sz="1000">
                <a:solidFill>
                  <a:schemeClr val="bg1"/>
                </a:solidFill>
              </a:rPr>
              <a:t>.</a:t>
            </a:r>
            <a:endParaRPr lang="ko-KR" alt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13187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엠디엠그룹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/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엠디엠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문주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강남구 테헤란로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306 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카이트타워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0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층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98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4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8,25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558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5073669" y="2143291"/>
            <a:ext cx="1386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개발 및 판매업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6529223" y="2143291"/>
            <a:ext cx="1386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탁업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엠디엠그룹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/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42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87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55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30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65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5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67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31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6.6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08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0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68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.5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7,50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,64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8,2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,09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30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6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,48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73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,3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엠디엠그룹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7986789" y="2143291"/>
            <a:ext cx="1386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업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5117038" y="2593992"/>
            <a:ext cx="129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5073668" y="2549291"/>
            <a:ext cx="1386000" cy="972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6576154" y="2593992"/>
            <a:ext cx="129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</a:t>
            </a:r>
            <a:endParaRPr lang="en-US" altLang="ko-KR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KAIT)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6529222" y="2549291"/>
            <a:ext cx="1386000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031786" y="2593992"/>
            <a:ext cx="129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7986786" y="2549291"/>
            <a:ext cx="1386000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5117038" y="3065453"/>
            <a:ext cx="129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69707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665C2096-E2EF-1818-2D07-8077E774D691}"/>
              </a:ext>
            </a:extLst>
          </p:cNvPr>
          <p:cNvCxnSpPr>
            <a:cxnSpLocks/>
          </p:cNvCxnSpPr>
          <p:nvPr/>
        </p:nvCxnSpPr>
        <p:spPr>
          <a:xfrm flipH="1">
            <a:off x="2339586" y="2300311"/>
            <a:ext cx="4787853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37680BB0-4E82-E28E-82B3-4E064575E5DA}"/>
              </a:ext>
            </a:extLst>
          </p:cNvPr>
          <p:cNvCxnSpPr>
            <a:cxnSpLocks/>
          </p:cNvCxnSpPr>
          <p:nvPr/>
        </p:nvCxnSpPr>
        <p:spPr>
          <a:xfrm>
            <a:off x="3420190" y="3865553"/>
            <a:ext cx="0" cy="2100907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화살표 연결선 113">
            <a:extLst>
              <a:ext uri="{FF2B5EF4-FFF2-40B4-BE49-F238E27FC236}">
                <a16:creationId xmlns:a16="http://schemas.microsoft.com/office/drawing/2014/main" id="{7C5283B1-45E5-AA9A-1FEB-FA4FB60EACDA}"/>
              </a:ext>
            </a:extLst>
          </p:cNvPr>
          <p:cNvCxnSpPr>
            <a:cxnSpLocks/>
          </p:cNvCxnSpPr>
          <p:nvPr/>
        </p:nvCxnSpPr>
        <p:spPr>
          <a:xfrm>
            <a:off x="3870338" y="3865553"/>
            <a:ext cx="0" cy="1605607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 err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엠디엠</a:t>
            </a:r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AC961444-3285-CD3F-0F94-E63A75D76703}"/>
              </a:ext>
            </a:extLst>
          </p:cNvPr>
          <p:cNvCxnSpPr>
            <a:cxnSpLocks/>
          </p:cNvCxnSpPr>
          <p:nvPr/>
        </p:nvCxnSpPr>
        <p:spPr>
          <a:xfrm>
            <a:off x="2335133" y="299962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모서리가 둥근 직사각형 167">
            <a:extLst>
              <a:ext uri="{FF2B5EF4-FFF2-40B4-BE49-F238E27FC236}">
                <a16:creationId xmlns:a16="http://schemas.microsoft.com/office/drawing/2014/main" id="{DDA6932E-66E4-07CB-2200-E8906A01DDF2}"/>
              </a:ext>
            </a:extLst>
          </p:cNvPr>
          <p:cNvSpPr/>
          <p:nvPr/>
        </p:nvSpPr>
        <p:spPr>
          <a:xfrm>
            <a:off x="1831133" y="25256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E4A47A6D-99D9-5197-88C2-04B3E78B2373}"/>
              </a:ext>
            </a:extLst>
          </p:cNvPr>
          <p:cNvCxnSpPr>
            <a:cxnSpLocks/>
          </p:cNvCxnSpPr>
          <p:nvPr/>
        </p:nvCxnSpPr>
        <p:spPr>
          <a:xfrm flipH="1">
            <a:off x="1001603" y="2999624"/>
            <a:ext cx="2426829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B52C49F4-6D8F-BE07-39B7-D7C3F86B962D}"/>
              </a:ext>
            </a:extLst>
          </p:cNvPr>
          <p:cNvCxnSpPr>
            <a:cxnSpLocks/>
          </p:cNvCxnSpPr>
          <p:nvPr/>
        </p:nvCxnSpPr>
        <p:spPr>
          <a:xfrm>
            <a:off x="3428432" y="299962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2382275C-696C-8E47-817A-939894DBF3E3}"/>
              </a:ext>
            </a:extLst>
          </p:cNvPr>
          <p:cNvCxnSpPr>
            <a:cxnSpLocks/>
          </p:cNvCxnSpPr>
          <p:nvPr/>
        </p:nvCxnSpPr>
        <p:spPr>
          <a:xfrm>
            <a:off x="1001603" y="299962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타원 11">
            <a:extLst>
              <a:ext uri="{FF2B5EF4-FFF2-40B4-BE49-F238E27FC236}">
                <a16:creationId xmlns:a16="http://schemas.microsoft.com/office/drawing/2014/main" id="{73E8B8C6-FEB8-C098-98C4-676D5908C269}"/>
              </a:ext>
            </a:extLst>
          </p:cNvPr>
          <p:cNvSpPr/>
          <p:nvPr/>
        </p:nvSpPr>
        <p:spPr>
          <a:xfrm>
            <a:off x="715171" y="315365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0.2%</a:t>
            </a:r>
            <a:endParaRPr lang="ko-KR" altLang="en-US" sz="8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" name="타원 12">
            <a:extLst>
              <a:ext uri="{FF2B5EF4-FFF2-40B4-BE49-F238E27FC236}">
                <a16:creationId xmlns:a16="http://schemas.microsoft.com/office/drawing/2014/main" id="{05B6B173-941C-FAA2-8657-04FBC00799DE}"/>
              </a:ext>
            </a:extLst>
          </p:cNvPr>
          <p:cNvSpPr/>
          <p:nvPr/>
        </p:nvSpPr>
        <p:spPr>
          <a:xfrm>
            <a:off x="2044586" y="315365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" name="타원 13">
            <a:extLst>
              <a:ext uri="{FF2B5EF4-FFF2-40B4-BE49-F238E27FC236}">
                <a16:creationId xmlns:a16="http://schemas.microsoft.com/office/drawing/2014/main" id="{6A02C35B-E342-BF5A-AA23-1380B11EC5AC}"/>
              </a:ext>
            </a:extLst>
          </p:cNvPr>
          <p:cNvSpPr/>
          <p:nvPr/>
        </p:nvSpPr>
        <p:spPr>
          <a:xfrm>
            <a:off x="3133770" y="315156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8.4%</a:t>
            </a:r>
            <a:endParaRPr lang="ko-KR" altLang="en-US" sz="8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D8435EB4-B9CC-F937-786F-9DE315B8F7AA}"/>
              </a:ext>
            </a:extLst>
          </p:cNvPr>
          <p:cNvSpPr/>
          <p:nvPr/>
        </p:nvSpPr>
        <p:spPr>
          <a:xfrm>
            <a:off x="3206437" y="3510215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KAIT)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EB76786A-5DD0-CD1B-471B-72C6B2C62C2E}"/>
              </a:ext>
            </a:extLst>
          </p:cNvPr>
          <p:cNvSpPr/>
          <p:nvPr/>
        </p:nvSpPr>
        <p:spPr>
          <a:xfrm>
            <a:off x="497603" y="350994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스페이스대명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7" name="모서리가 둥근 직사각형 167">
            <a:extLst>
              <a:ext uri="{FF2B5EF4-FFF2-40B4-BE49-F238E27FC236}">
                <a16:creationId xmlns:a16="http://schemas.microsoft.com/office/drawing/2014/main" id="{E581DC94-C57F-F9B7-FC97-A0FAB5B0871B}"/>
              </a:ext>
            </a:extLst>
          </p:cNvPr>
          <p:cNvSpPr/>
          <p:nvPr/>
        </p:nvSpPr>
        <p:spPr>
          <a:xfrm>
            <a:off x="1831133" y="351021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투자운용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622731C8-30FF-70BA-176B-5A7B6BAC58C3}"/>
              </a:ext>
            </a:extLst>
          </p:cNvPr>
          <p:cNvCxnSpPr>
            <a:cxnSpLocks/>
          </p:cNvCxnSpPr>
          <p:nvPr/>
        </p:nvCxnSpPr>
        <p:spPr>
          <a:xfrm>
            <a:off x="3724680" y="4221120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타원 19">
            <a:extLst>
              <a:ext uri="{FF2B5EF4-FFF2-40B4-BE49-F238E27FC236}">
                <a16:creationId xmlns:a16="http://schemas.microsoft.com/office/drawing/2014/main" id="{FA923B94-85B6-43A2-755A-EE697474D8B5}"/>
              </a:ext>
            </a:extLst>
          </p:cNvPr>
          <p:cNvSpPr/>
          <p:nvPr/>
        </p:nvSpPr>
        <p:spPr>
          <a:xfrm>
            <a:off x="3430018" y="437305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.6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1" name="모서리가 둥근 직사각형 167">
            <a:extLst>
              <a:ext uri="{FF2B5EF4-FFF2-40B4-BE49-F238E27FC236}">
                <a16:creationId xmlns:a16="http://schemas.microsoft.com/office/drawing/2014/main" id="{7198E944-EE28-AEA2-9BA9-0EBEF161CAB9}"/>
              </a:ext>
            </a:extLst>
          </p:cNvPr>
          <p:cNvSpPr/>
          <p:nvPr/>
        </p:nvSpPr>
        <p:spPr>
          <a:xfrm>
            <a:off x="3220680" y="472691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프라퍼티</a:t>
            </a:r>
            <a:b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리츠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7484567F-1615-FBE6-4D71-B1CC7A9C8E9B}"/>
              </a:ext>
            </a:extLst>
          </p:cNvPr>
          <p:cNvCxnSpPr>
            <a:cxnSpLocks/>
          </p:cNvCxnSpPr>
          <p:nvPr/>
        </p:nvCxnSpPr>
        <p:spPr>
          <a:xfrm>
            <a:off x="4813047" y="4221120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타원 22">
            <a:extLst>
              <a:ext uri="{FF2B5EF4-FFF2-40B4-BE49-F238E27FC236}">
                <a16:creationId xmlns:a16="http://schemas.microsoft.com/office/drawing/2014/main" id="{CA7F0B59-5C92-CD28-F108-06CB34CD6CB5}"/>
              </a:ext>
            </a:extLst>
          </p:cNvPr>
          <p:cNvSpPr/>
          <p:nvPr/>
        </p:nvSpPr>
        <p:spPr>
          <a:xfrm>
            <a:off x="4518385" y="437305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.0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5" name="모서리가 둥근 직사각형 167">
            <a:extLst>
              <a:ext uri="{FF2B5EF4-FFF2-40B4-BE49-F238E27FC236}">
                <a16:creationId xmlns:a16="http://schemas.microsoft.com/office/drawing/2014/main" id="{61EE0A92-80F8-4AB4-4CE9-399C77185755}"/>
              </a:ext>
            </a:extLst>
          </p:cNvPr>
          <p:cNvSpPr/>
          <p:nvPr/>
        </p:nvSpPr>
        <p:spPr>
          <a:xfrm>
            <a:off x="4258334" y="472691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스비씨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9" name="모서리가 둥근 직사각형 167">
            <a:extLst>
              <a:ext uri="{FF2B5EF4-FFF2-40B4-BE49-F238E27FC236}">
                <a16:creationId xmlns:a16="http://schemas.microsoft.com/office/drawing/2014/main" id="{F8D8201B-375A-52B8-DFE4-C30A10BBC602}"/>
              </a:ext>
            </a:extLst>
          </p:cNvPr>
          <p:cNvSpPr/>
          <p:nvPr/>
        </p:nvSpPr>
        <p:spPr>
          <a:xfrm>
            <a:off x="6333642" y="472691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자산운용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70" name="직선 화살표 연결선 69">
            <a:extLst>
              <a:ext uri="{FF2B5EF4-FFF2-40B4-BE49-F238E27FC236}">
                <a16:creationId xmlns:a16="http://schemas.microsoft.com/office/drawing/2014/main" id="{55A79C13-5FA7-6F16-E66E-9FB0B3AEC5C2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2334002" y="2885685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모서리가 둥근 직사각형 167">
            <a:extLst>
              <a:ext uri="{FF2B5EF4-FFF2-40B4-BE49-F238E27FC236}">
                <a16:creationId xmlns:a16="http://schemas.microsoft.com/office/drawing/2014/main" id="{CC6D7632-4478-AAC6-FDB2-E015E3BA6129}"/>
              </a:ext>
            </a:extLst>
          </p:cNvPr>
          <p:cNvSpPr/>
          <p:nvPr/>
        </p:nvSpPr>
        <p:spPr>
          <a:xfrm>
            <a:off x="5295988" y="472691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이트제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리츠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8" name="모서리가 둥근 직사각형 167">
            <a:extLst>
              <a:ext uri="{FF2B5EF4-FFF2-40B4-BE49-F238E27FC236}">
                <a16:creationId xmlns:a16="http://schemas.microsoft.com/office/drawing/2014/main" id="{D45D9A87-6CE6-4EA2-DF56-F3BF7CF5C5E7}"/>
              </a:ext>
            </a:extLst>
          </p:cNvPr>
          <p:cNvSpPr/>
          <p:nvPr/>
        </p:nvSpPr>
        <p:spPr>
          <a:xfrm>
            <a:off x="7371296" y="472691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트웬티파이프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모서리가 둥근 직사각형 167">
            <a:extLst>
              <a:ext uri="{FF2B5EF4-FFF2-40B4-BE49-F238E27FC236}">
                <a16:creationId xmlns:a16="http://schemas.microsoft.com/office/drawing/2014/main" id="{11E699BE-93DB-A01B-6964-8C11CEC76A91}"/>
              </a:ext>
            </a:extLst>
          </p:cNvPr>
          <p:cNvSpPr/>
          <p:nvPr/>
        </p:nvSpPr>
        <p:spPr>
          <a:xfrm>
            <a:off x="8408950" y="4726911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스페이스한남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C1FF92E0-1FB0-AD92-86F9-068C453E4A21}"/>
              </a:ext>
            </a:extLst>
          </p:cNvPr>
          <p:cNvCxnSpPr>
            <a:cxnSpLocks/>
          </p:cNvCxnSpPr>
          <p:nvPr/>
        </p:nvCxnSpPr>
        <p:spPr>
          <a:xfrm flipH="1">
            <a:off x="3724680" y="4213860"/>
            <a:ext cx="5201292" cy="8641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AB5AF3A6-9055-036A-35CB-8CAFFF1B193B}"/>
              </a:ext>
            </a:extLst>
          </p:cNvPr>
          <p:cNvCxnSpPr>
            <a:cxnSpLocks/>
          </p:cNvCxnSpPr>
          <p:nvPr/>
        </p:nvCxnSpPr>
        <p:spPr>
          <a:xfrm>
            <a:off x="5811574" y="4232770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타원 81">
            <a:extLst>
              <a:ext uri="{FF2B5EF4-FFF2-40B4-BE49-F238E27FC236}">
                <a16:creationId xmlns:a16="http://schemas.microsoft.com/office/drawing/2014/main" id="{A47094A4-1965-121B-D42E-3A353348EE99}"/>
              </a:ext>
            </a:extLst>
          </p:cNvPr>
          <p:cNvSpPr/>
          <p:nvPr/>
        </p:nvSpPr>
        <p:spPr>
          <a:xfrm>
            <a:off x="5516912" y="438470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5" name="직선 화살표 연결선 84">
            <a:extLst>
              <a:ext uri="{FF2B5EF4-FFF2-40B4-BE49-F238E27FC236}">
                <a16:creationId xmlns:a16="http://schemas.microsoft.com/office/drawing/2014/main" id="{3CD14868-86AC-5EC2-7FC0-4436F6212D97}"/>
              </a:ext>
            </a:extLst>
          </p:cNvPr>
          <p:cNvCxnSpPr>
            <a:cxnSpLocks/>
          </p:cNvCxnSpPr>
          <p:nvPr/>
        </p:nvCxnSpPr>
        <p:spPr>
          <a:xfrm>
            <a:off x="7898467" y="422071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>
            <a:extLst>
              <a:ext uri="{FF2B5EF4-FFF2-40B4-BE49-F238E27FC236}">
                <a16:creationId xmlns:a16="http://schemas.microsoft.com/office/drawing/2014/main" id="{ADFD5F93-B874-FF27-3062-75F56F4BACF8}"/>
              </a:ext>
            </a:extLst>
          </p:cNvPr>
          <p:cNvCxnSpPr>
            <a:cxnSpLocks/>
          </p:cNvCxnSpPr>
          <p:nvPr/>
        </p:nvCxnSpPr>
        <p:spPr>
          <a:xfrm>
            <a:off x="8925972" y="422071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타원 93">
            <a:extLst>
              <a:ext uri="{FF2B5EF4-FFF2-40B4-BE49-F238E27FC236}">
                <a16:creationId xmlns:a16="http://schemas.microsoft.com/office/drawing/2014/main" id="{CE74ADD3-AF51-6E85-1F76-0A791F7C062A}"/>
              </a:ext>
            </a:extLst>
          </p:cNvPr>
          <p:cNvSpPr/>
          <p:nvPr/>
        </p:nvSpPr>
        <p:spPr>
          <a:xfrm>
            <a:off x="8631310" y="437264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4.3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5" name="직선 화살표 연결선 94">
            <a:extLst>
              <a:ext uri="{FF2B5EF4-FFF2-40B4-BE49-F238E27FC236}">
                <a16:creationId xmlns:a16="http://schemas.microsoft.com/office/drawing/2014/main" id="{BE9744F3-8C29-A2B2-A9E4-7B9186610917}"/>
              </a:ext>
            </a:extLst>
          </p:cNvPr>
          <p:cNvCxnSpPr>
            <a:cxnSpLocks/>
          </p:cNvCxnSpPr>
          <p:nvPr/>
        </p:nvCxnSpPr>
        <p:spPr>
          <a:xfrm>
            <a:off x="6810101" y="4219690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타원 96">
            <a:extLst>
              <a:ext uri="{FF2B5EF4-FFF2-40B4-BE49-F238E27FC236}">
                <a16:creationId xmlns:a16="http://schemas.microsoft.com/office/drawing/2014/main" id="{07915672-FE81-4708-5856-7F570BFCBBDC}"/>
              </a:ext>
            </a:extLst>
          </p:cNvPr>
          <p:cNvSpPr/>
          <p:nvPr/>
        </p:nvSpPr>
        <p:spPr>
          <a:xfrm>
            <a:off x="6515439" y="437162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.0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00" name="직선 화살표 연결선 99">
            <a:extLst>
              <a:ext uri="{FF2B5EF4-FFF2-40B4-BE49-F238E27FC236}">
                <a16:creationId xmlns:a16="http://schemas.microsoft.com/office/drawing/2014/main" id="{0C0AC2B0-5DC7-9A63-29BF-B9EC6E7B42B5}"/>
              </a:ext>
            </a:extLst>
          </p:cNvPr>
          <p:cNvCxnSpPr>
            <a:cxnSpLocks/>
          </p:cNvCxnSpPr>
          <p:nvPr/>
        </p:nvCxnSpPr>
        <p:spPr>
          <a:xfrm>
            <a:off x="7127439" y="2885685"/>
            <a:ext cx="0" cy="1328175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직선 화살표 연결선 103">
            <a:extLst>
              <a:ext uri="{FF2B5EF4-FFF2-40B4-BE49-F238E27FC236}">
                <a16:creationId xmlns:a16="http://schemas.microsoft.com/office/drawing/2014/main" id="{14822BDA-31A0-41E5-93EA-828BE1859217}"/>
              </a:ext>
            </a:extLst>
          </p:cNvPr>
          <p:cNvCxnSpPr>
            <a:cxnSpLocks/>
          </p:cNvCxnSpPr>
          <p:nvPr/>
        </p:nvCxnSpPr>
        <p:spPr>
          <a:xfrm flipH="1">
            <a:off x="4065935" y="2999354"/>
            <a:ext cx="306150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FE846E05-5106-E29C-D22D-AE282F52A5BB}"/>
              </a:ext>
            </a:extLst>
          </p:cNvPr>
          <p:cNvCxnSpPr>
            <a:cxnSpLocks/>
          </p:cNvCxnSpPr>
          <p:nvPr/>
        </p:nvCxnSpPr>
        <p:spPr>
          <a:xfrm>
            <a:off x="4065935" y="2998599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타원 106">
            <a:extLst>
              <a:ext uri="{FF2B5EF4-FFF2-40B4-BE49-F238E27FC236}">
                <a16:creationId xmlns:a16="http://schemas.microsoft.com/office/drawing/2014/main" id="{CF70E60A-4114-ABA0-2004-03B27020D936}"/>
              </a:ext>
            </a:extLst>
          </p:cNvPr>
          <p:cNvSpPr/>
          <p:nvPr/>
        </p:nvSpPr>
        <p:spPr>
          <a:xfrm>
            <a:off x="3771273" y="315053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.0%</a:t>
            </a:r>
            <a:endParaRPr lang="ko-KR" altLang="en-US" sz="8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3" name="모서리가 둥근 직사각형 167">
            <a:extLst>
              <a:ext uri="{FF2B5EF4-FFF2-40B4-BE49-F238E27FC236}">
                <a16:creationId xmlns:a16="http://schemas.microsoft.com/office/drawing/2014/main" id="{EF2AFEFE-E4F3-863A-A9B4-C494CB4E4350}"/>
              </a:ext>
            </a:extLst>
          </p:cNvPr>
          <p:cNvSpPr/>
          <p:nvPr/>
        </p:nvSpPr>
        <p:spPr>
          <a:xfrm>
            <a:off x="3206437" y="5985302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KAIC)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580AEBF2-F464-9BFD-D6DF-8119BE778C47}"/>
              </a:ext>
            </a:extLst>
          </p:cNvPr>
          <p:cNvCxnSpPr>
            <a:cxnSpLocks/>
          </p:cNvCxnSpPr>
          <p:nvPr/>
        </p:nvCxnSpPr>
        <p:spPr>
          <a:xfrm>
            <a:off x="1039171" y="5465753"/>
            <a:ext cx="7886801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타원 118">
            <a:extLst>
              <a:ext uri="{FF2B5EF4-FFF2-40B4-BE49-F238E27FC236}">
                <a16:creationId xmlns:a16="http://schemas.microsoft.com/office/drawing/2014/main" id="{71FC4493-47EB-009D-F68C-43159B3EEDE1}"/>
              </a:ext>
            </a:extLst>
          </p:cNvPr>
          <p:cNvSpPr/>
          <p:nvPr/>
        </p:nvSpPr>
        <p:spPr>
          <a:xfrm>
            <a:off x="3147430" y="567709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C094F2F0-DD4F-0B43-AFB4-EB79946F9077}"/>
              </a:ext>
            </a:extLst>
          </p:cNvPr>
          <p:cNvCxnSpPr>
            <a:cxnSpLocks/>
          </p:cNvCxnSpPr>
          <p:nvPr/>
        </p:nvCxnSpPr>
        <p:spPr>
          <a:xfrm flipV="1">
            <a:off x="7909805" y="5086911"/>
            <a:ext cx="0" cy="37884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직선 화살표 연결선 127">
            <a:extLst>
              <a:ext uri="{FF2B5EF4-FFF2-40B4-BE49-F238E27FC236}">
                <a16:creationId xmlns:a16="http://schemas.microsoft.com/office/drawing/2014/main" id="{862AE4BB-2C7D-DF9A-6AF0-196B091F3F7C}"/>
              </a:ext>
            </a:extLst>
          </p:cNvPr>
          <p:cNvCxnSpPr>
            <a:cxnSpLocks/>
          </p:cNvCxnSpPr>
          <p:nvPr/>
        </p:nvCxnSpPr>
        <p:spPr>
          <a:xfrm flipV="1">
            <a:off x="8925972" y="5086911"/>
            <a:ext cx="0" cy="37884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타원 131">
            <a:extLst>
              <a:ext uri="{FF2B5EF4-FFF2-40B4-BE49-F238E27FC236}">
                <a16:creationId xmlns:a16="http://schemas.microsoft.com/office/drawing/2014/main" id="{774F9637-630E-B1BA-1DD9-CEFEFC416DA2}"/>
              </a:ext>
            </a:extLst>
          </p:cNvPr>
          <p:cNvSpPr/>
          <p:nvPr/>
        </p:nvSpPr>
        <p:spPr>
          <a:xfrm>
            <a:off x="7621805" y="524975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.0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3" name="타원 132">
            <a:extLst>
              <a:ext uri="{FF2B5EF4-FFF2-40B4-BE49-F238E27FC236}">
                <a16:creationId xmlns:a16="http://schemas.microsoft.com/office/drawing/2014/main" id="{9A081039-2F98-29B3-A153-D0654452D6DF}"/>
              </a:ext>
            </a:extLst>
          </p:cNvPr>
          <p:cNvSpPr/>
          <p:nvPr/>
        </p:nvSpPr>
        <p:spPr>
          <a:xfrm>
            <a:off x="8637972" y="524975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.0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타원 85">
            <a:extLst>
              <a:ext uri="{FF2B5EF4-FFF2-40B4-BE49-F238E27FC236}">
                <a16:creationId xmlns:a16="http://schemas.microsoft.com/office/drawing/2014/main" id="{D1A59C63-34F8-F58A-030A-9FF094200F6F}"/>
              </a:ext>
            </a:extLst>
          </p:cNvPr>
          <p:cNvSpPr/>
          <p:nvPr/>
        </p:nvSpPr>
        <p:spPr>
          <a:xfrm>
            <a:off x="7603805" y="437264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4.3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2EBABE43-72EB-17DA-F348-7C503087E356}"/>
              </a:ext>
            </a:extLst>
          </p:cNvPr>
          <p:cNvCxnSpPr>
            <a:cxnSpLocks/>
          </p:cNvCxnSpPr>
          <p:nvPr/>
        </p:nvCxnSpPr>
        <p:spPr>
          <a:xfrm flipV="1">
            <a:off x="1039171" y="3909060"/>
            <a:ext cx="0" cy="1556692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타원 158">
            <a:extLst>
              <a:ext uri="{FF2B5EF4-FFF2-40B4-BE49-F238E27FC236}">
                <a16:creationId xmlns:a16="http://schemas.microsoft.com/office/drawing/2014/main" id="{00D1837D-6A29-18AB-FEE3-2552559FB048}"/>
              </a:ext>
            </a:extLst>
          </p:cNvPr>
          <p:cNvSpPr/>
          <p:nvPr/>
        </p:nvSpPr>
        <p:spPr>
          <a:xfrm>
            <a:off x="751171" y="412086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.8%</a:t>
            </a:r>
            <a:endParaRPr lang="ko-KR" altLang="en-US" sz="800" err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EBD1332-AB26-3BF4-9F49-EFD65A055A83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모서리가 둥근 직사각형 167">
            <a:extLst>
              <a:ext uri="{FF2B5EF4-FFF2-40B4-BE49-F238E27FC236}">
                <a16:creationId xmlns:a16="http://schemas.microsoft.com/office/drawing/2014/main" id="{BD62804E-E1C0-4ED2-68EB-876CB8EBDAFD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" name="모서리가 둥근 직사각형 167">
            <a:extLst>
              <a:ext uri="{FF2B5EF4-FFF2-40B4-BE49-F238E27FC236}">
                <a16:creationId xmlns:a16="http://schemas.microsoft.com/office/drawing/2014/main" id="{ECB9D657-8747-257B-A2C4-C54AB5AE6CE3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모서리가 둥근 직사각형 167">
            <a:extLst>
              <a:ext uri="{FF2B5EF4-FFF2-40B4-BE49-F238E27FC236}">
                <a16:creationId xmlns:a16="http://schemas.microsoft.com/office/drawing/2014/main" id="{B67B3CE7-9D2B-7DB3-AC99-81C94F8968C5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" name="모서리가 둥근 직사각형 167">
            <a:extLst>
              <a:ext uri="{FF2B5EF4-FFF2-40B4-BE49-F238E27FC236}">
                <a16:creationId xmlns:a16="http://schemas.microsoft.com/office/drawing/2014/main" id="{CE3DF275-A438-F139-EED4-98EF5DBE7AD8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18" name="모서리가 둥근 직사각형 167">
            <a:extLst>
              <a:ext uri="{FF2B5EF4-FFF2-40B4-BE49-F238E27FC236}">
                <a16:creationId xmlns:a16="http://schemas.microsoft.com/office/drawing/2014/main" id="{5157EFE4-D29C-B5BF-925F-8D298B681DE5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76C70DDE-03E0-44B7-6E73-BDF2283DFAE9}"/>
              </a:ext>
            </a:extLst>
          </p:cNvPr>
          <p:cNvSpPr/>
          <p:nvPr/>
        </p:nvSpPr>
        <p:spPr>
          <a:xfrm>
            <a:off x="8293213" y="193336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26" name="모서리가 둥근 직사각형 167">
            <a:extLst>
              <a:ext uri="{FF2B5EF4-FFF2-40B4-BE49-F238E27FC236}">
                <a16:creationId xmlns:a16="http://schemas.microsoft.com/office/drawing/2014/main" id="{2889A7BD-9B55-B0AE-CD27-57585DF7EB1A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모서리가 둥근 직사각형 167">
            <a:extLst>
              <a:ext uri="{FF2B5EF4-FFF2-40B4-BE49-F238E27FC236}">
                <a16:creationId xmlns:a16="http://schemas.microsoft.com/office/drawing/2014/main" id="{D81E8F99-8C7C-66BC-CDE3-E6B5D8C4667C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8" name="모서리가 둥근 직사각형 167">
            <a:extLst>
              <a:ext uri="{FF2B5EF4-FFF2-40B4-BE49-F238E27FC236}">
                <a16:creationId xmlns:a16="http://schemas.microsoft.com/office/drawing/2014/main" id="{006FDE5E-78EC-5323-DF91-DB312B202903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" name="모서리가 둥근 직사각형 167">
            <a:extLst>
              <a:ext uri="{FF2B5EF4-FFF2-40B4-BE49-F238E27FC236}">
                <a16:creationId xmlns:a16="http://schemas.microsoft.com/office/drawing/2014/main" id="{8FCAA166-103B-B14E-E4FB-F7D91F1E2B13}"/>
              </a:ext>
            </a:extLst>
          </p:cNvPr>
          <p:cNvSpPr/>
          <p:nvPr/>
        </p:nvSpPr>
        <p:spPr>
          <a:xfrm>
            <a:off x="1830002" y="174082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주현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D1F3D333-184B-C4B5-C8DA-F043DB642AEF}"/>
              </a:ext>
            </a:extLst>
          </p:cNvPr>
          <p:cNvCxnSpPr>
            <a:cxnSpLocks/>
            <a:stCxn id="31" idx="2"/>
          </p:cNvCxnSpPr>
          <p:nvPr/>
        </p:nvCxnSpPr>
        <p:spPr>
          <a:xfrm>
            <a:off x="2334002" y="2100825"/>
            <a:ext cx="0" cy="418628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타원 33">
            <a:extLst>
              <a:ext uri="{FF2B5EF4-FFF2-40B4-BE49-F238E27FC236}">
                <a16:creationId xmlns:a16="http://schemas.microsoft.com/office/drawing/2014/main" id="{9EFEDCAF-3EA4-A2D4-8BA4-B5BAAE0AA1B9}"/>
              </a:ext>
            </a:extLst>
          </p:cNvPr>
          <p:cNvSpPr/>
          <p:nvPr/>
        </p:nvSpPr>
        <p:spPr>
          <a:xfrm>
            <a:off x="2044586" y="222823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5%</a:t>
            </a:r>
            <a:endParaRPr lang="ko-KR" altLang="en-US" sz="8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BFB409B5-50F1-6407-71F2-4AD112D4584B}"/>
              </a:ext>
            </a:extLst>
          </p:cNvPr>
          <p:cNvCxnSpPr>
            <a:cxnSpLocks/>
          </p:cNvCxnSpPr>
          <p:nvPr/>
        </p:nvCxnSpPr>
        <p:spPr>
          <a:xfrm>
            <a:off x="7127439" y="1909694"/>
            <a:ext cx="0" cy="1328175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BCED58F8-2DB0-9670-C19C-2F2534101A12}"/>
              </a:ext>
            </a:extLst>
          </p:cNvPr>
          <p:cNvSpPr/>
          <p:nvPr/>
        </p:nvSpPr>
        <p:spPr>
          <a:xfrm>
            <a:off x="6594599" y="25256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타원 41">
            <a:extLst>
              <a:ext uri="{FF2B5EF4-FFF2-40B4-BE49-F238E27FC236}">
                <a16:creationId xmlns:a16="http://schemas.microsoft.com/office/drawing/2014/main" id="{111426DB-6943-1BEC-6F60-566107F730CD}"/>
              </a:ext>
            </a:extLst>
          </p:cNvPr>
          <p:cNvSpPr/>
          <p:nvPr/>
        </p:nvSpPr>
        <p:spPr>
          <a:xfrm>
            <a:off x="4509316" y="23433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.8%</a:t>
            </a:r>
            <a:endParaRPr lang="ko-KR" altLang="en-US" sz="8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3" name="모서리가 둥근 직사각형 167">
            <a:extLst>
              <a:ext uri="{FF2B5EF4-FFF2-40B4-BE49-F238E27FC236}">
                <a16:creationId xmlns:a16="http://schemas.microsoft.com/office/drawing/2014/main" id="{CEC62006-847F-91A4-5BD7-BA22DBAC416E}"/>
              </a:ext>
            </a:extLst>
          </p:cNvPr>
          <p:cNvSpPr/>
          <p:nvPr/>
        </p:nvSpPr>
        <p:spPr>
          <a:xfrm>
            <a:off x="6623439" y="1740825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세</a:t>
            </a:r>
            <a:endParaRPr lang="en-US" altLang="ko-KR" sz="900" b="1">
              <a:solidFill>
                <a:prstClr val="whit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현정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초연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5" name="타원 34">
            <a:extLst>
              <a:ext uri="{FF2B5EF4-FFF2-40B4-BE49-F238E27FC236}">
                <a16:creationId xmlns:a16="http://schemas.microsoft.com/office/drawing/2014/main" id="{46088117-09EA-D42C-A933-9CEBCBFB03C0}"/>
              </a:ext>
            </a:extLst>
          </p:cNvPr>
          <p:cNvSpPr/>
          <p:nvPr/>
        </p:nvSpPr>
        <p:spPr>
          <a:xfrm>
            <a:off x="6874114" y="218408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5.2%</a:t>
            </a:r>
            <a:endParaRPr lang="ko-KR" altLang="en-US" sz="8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517851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과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함께 부동산개발사업 시작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사업은 부동산개발업이나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체 브랜드로 임대사업 브랜드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엠과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외식사업 브랜드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썸치킨이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있음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분양 주택 多</a:t>
            </a:r>
            <a:b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수익 감소로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매출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7%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락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통상적으로 소유 토지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물 등 부동산과 사업 수익권 등 담보로 대출을 받아 사업자금 조달</a:t>
            </a:r>
            <a:b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지만 지난해 하반기부터 부동산 시장 불투명성의 확대로 대규모 자금 조달이 어려워졌으며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높아진 금리 역시 부담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MDM)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회장의 장녀 문현정씨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에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의 자금을 수혈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근 고금리 흐름</a:t>
            </a:r>
            <a:r>
              <a:rPr lang="en-US" altLang="ko-KR" sz="900" b="1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PF </a:t>
            </a:r>
            <a:r>
              <a:rPr lang="ko-KR" altLang="en-US" sz="900" b="1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 부실 우려 심화</a:t>
            </a:r>
            <a:r>
              <a:rPr lang="en-US" altLang="ko-KR" sz="900" b="1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경기 침체 장기화 조짐 등 부정적인 경영환경이 형성된 데 따라 유동성을 지원</a:t>
            </a:r>
            <a:endParaRPr lang="en-US" altLang="ko-KR" sz="900" b="1" i="0">
              <a:solidFill>
                <a:srgbClr val="2222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경기 악화로 자금수혈이 필요하나</a:t>
            </a:r>
            <a:r>
              <a:rPr lang="en-US" altLang="ko-KR" sz="900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들의 지원도 기대하기 힘든 상황</a:t>
            </a:r>
            <a:r>
              <a:rPr lang="ko-KR" altLang="en-US" sz="900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들 모두 실적이 좋지 않은 상황</a:t>
            </a:r>
            <a:r>
              <a:rPr lang="en-US" altLang="ko-KR" sz="900" i="0">
                <a:solidFill>
                  <a:srgbClr val="2222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49F0A6-A134-E636-267A-C7E01D70B5EB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794158" y="1707465"/>
            <a:ext cx="937583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C03B16-FE77-6A31-7837-CFB22232D64C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7" name="Picture 2" descr="개발사업 부문 | MDM">
            <a:extLst>
              <a:ext uri="{FF2B5EF4-FFF2-40B4-BE49-F238E27FC236}">
                <a16:creationId xmlns:a16="http://schemas.microsoft.com/office/drawing/2014/main" id="{D8DE552B-9CA5-CCA0-4455-BE44374FB3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16" t="17624" r="8384" b="13577"/>
          <a:stretch/>
        </p:blipFill>
        <p:spPr bwMode="auto">
          <a:xfrm>
            <a:off x="804863" y="2034022"/>
            <a:ext cx="1114864" cy="1146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FBCF52-D384-76CC-4ADA-F1076F3CE35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F04E22-C8BD-4916-0E22-D112CDFEED03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0" name="차트 9">
            <a:extLst>
              <a:ext uri="{FF2B5EF4-FFF2-40B4-BE49-F238E27FC236}">
                <a16:creationId xmlns:a16="http://schemas.microsoft.com/office/drawing/2014/main" id="{610CE2A0-B761-611E-C4AF-F30AEBC73579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6807812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은 공기업인 국민자산신탁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설립된 부동산 신탁회사</a:t>
            </a:r>
            <a:r>
              <a:rPr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0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정부의 민영화 방침에 따라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으로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편입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금리 기조에 부동산 시장이 악화되자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탁보수 외 다른 수수료 수익을 늘리는 등에 집중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고 있음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수수료수익 중 신탁보수가 아닌 부분의 비중은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.3%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한 자릿수였지만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1.7%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증가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경기 하락기를 맞아 리스크 관리 집중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익률 재검토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형 신탁 축소 등</a:t>
            </a:r>
            <a:endParaRPr lang="en-US" altLang="ko-KR" sz="9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주 감소에 따라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반기 신탁 보수는 전년동기대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6.2%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소하였으나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자수익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3.5%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 등이 신탁 보수 감소분을 상쇄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수적 경영방침으로 수주금액이 점차 감소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익성이 미진하다고 판단하는 사업장은 과감하게 수탁 심의를 중단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존 부실사업장을 정리해 신탁계정대를 회수하면서 차입부채를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9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말 기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,867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3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말 기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,00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크게 감축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만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경기 악화로 대손충당금 이슈로부터 자유로울 수는 없으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분양 위험 등으로 공사를 포기하는 시공사가 늘어나면 공사를 마무리 지어야 하는 신탁사까지 위험이 전이될 가능성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있음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794158" y="1707465"/>
            <a:ext cx="937583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</a:t>
            </a:r>
          </a:p>
        </p:txBody>
      </p:sp>
      <p:pic>
        <p:nvPicPr>
          <p:cNvPr id="100354" name="Picture 2" descr="금융부문 | MDM">
            <a:extLst>
              <a:ext uri="{FF2B5EF4-FFF2-40B4-BE49-F238E27FC236}">
                <a16:creationId xmlns:a16="http://schemas.microsoft.com/office/drawing/2014/main" id="{EFFDF15A-4F25-624F-15DB-6532931652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80" t="24130" r="23912" b="24600"/>
          <a:stretch/>
        </p:blipFill>
        <p:spPr bwMode="auto">
          <a:xfrm>
            <a:off x="600803" y="2129917"/>
            <a:ext cx="1431637" cy="854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5CF7120-495B-1544-9BD2-628319AB3F02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E7AEAF-E6EA-6334-89F1-B6DE33B62743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0" name="차트 9">
            <a:extLst>
              <a:ext uri="{FF2B5EF4-FFF2-40B4-BE49-F238E27FC236}">
                <a16:creationId xmlns:a16="http://schemas.microsoft.com/office/drawing/2014/main" id="{794AC776-F006-B7C8-B7F1-DB1F9ABDA530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5D4E3B4-D3EA-94F2-F355-27578E2CDB11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06F95B-BA73-3ACC-A996-DC7982F64CA8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66584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차트 29">
            <a:extLst>
              <a:ext uri="{FF2B5EF4-FFF2-40B4-BE49-F238E27FC236}">
                <a16:creationId xmlns:a16="http://schemas.microsoft.com/office/drawing/2014/main" id="{103414F5-5327-24F5-B4C2-E5DB4DC4E02D}"/>
              </a:ext>
            </a:extLst>
          </p:cNvPr>
          <p:cNvGraphicFramePr/>
          <p:nvPr/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은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한국자산신탁이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출자한 여신전문 금융회사</a:t>
            </a:r>
            <a:endParaRPr kumimoji="1" lang="ko-KR" altLang="en-US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수익의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약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5.3%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이자수익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금리 상황에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이자수익이 지난해 동기간 대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0%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급증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한국자산신탁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이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발행한 기업어음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CP)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 인수한 데 이어 증자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참여</a:t>
            </a:r>
            <a:b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기업 지원으로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의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부채비율은 안정적으로 관리되고 있음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신전문금융회사의 자본적정성 여부를 확인할 수 있는 지표인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정자기자본비율은 올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6.8%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집계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당국이 현행 규제상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%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상 요구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738B1-A214-4511-AD37-D0CB1D4607AA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84669" y="1707465"/>
            <a:ext cx="1156562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</a:t>
            </a:r>
          </a:p>
        </p:txBody>
      </p:sp>
      <p:pic>
        <p:nvPicPr>
          <p:cNvPr id="102402" name="Picture 2" descr="금융부문 | MDM">
            <a:extLst>
              <a:ext uri="{FF2B5EF4-FFF2-40B4-BE49-F238E27FC236}">
                <a16:creationId xmlns:a16="http://schemas.microsoft.com/office/drawing/2014/main" id="{232F0123-621B-A957-FA73-2D8C6F147F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1" t="23790" r="20903" b="19064"/>
          <a:stretch/>
        </p:blipFill>
        <p:spPr bwMode="auto">
          <a:xfrm>
            <a:off x="572654" y="2094194"/>
            <a:ext cx="1534239" cy="952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08686DE-9AAC-45EB-3C34-B314E0862B6D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295112-8A89-0FB6-05CF-2C6DABB44A76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0" name="차트 9">
            <a:extLst>
              <a:ext uri="{FF2B5EF4-FFF2-40B4-BE49-F238E27FC236}">
                <a16:creationId xmlns:a16="http://schemas.microsoft.com/office/drawing/2014/main" id="{B02FA35F-495C-1E7E-E55C-45D20D574476}"/>
              </a:ext>
            </a:extLst>
          </p:cNvPr>
          <p:cNvGraphicFramePr/>
          <p:nvPr/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D9BF189-DE2E-2D2C-92EF-D0413B5559BA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2FB618-B8B3-544C-CC4A-1266520DF724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95224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en-US" altLang="ko-KR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HDC</a:t>
            </a:r>
            <a:r>
              <a: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그룹</a:t>
            </a:r>
          </a:p>
        </p:txBody>
      </p:sp>
    </p:spTree>
    <p:extLst>
      <p:ext uri="{BB962C8B-B14F-4D97-AF65-F5344CB8AC3E}">
        <p14:creationId xmlns:p14="http://schemas.microsoft.com/office/powerpoint/2010/main" val="278889936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503453" y="4036758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4492421" y="264791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4492421" y="283311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4492421" y="3018320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4492421" y="3203523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4492421" y="339527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6907453" y="264840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6907453" y="283360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6907453" y="301881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6907453" y="320401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6907453" y="3395766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9322485" y="266119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9322485" y="284639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9322485" y="303160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9322485" y="321680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9322485" y="3408557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2420276" y="2647063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 자체주택 사업 매출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1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 원으로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천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884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 원의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의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수준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되는 건설경기 둔화와 하도급 원가 상승분의 영향 등으로 원가율 증가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재 국토부에서 영업정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또는 건설업 정지 행정처분 요청</a:t>
            </a:r>
            <a:endParaRPr lang="ko-KR" altLang="en-US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4789290" y="2647063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용등급이 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A+’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하향검토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에서 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A’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정적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으로 하향조정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이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0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에서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급락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붕괴된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화정아이파크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아파트 철거에 돌입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철거 비용 및 재건축으로 약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,377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 소요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7231622" y="26556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디벨로퍼의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특성상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사업 추진 및 확장을 위해서는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인 용지 매입이 필요</a:t>
            </a: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802A8544-9484-5380-3540-CE30F3BF5E45}"/>
              </a:ext>
            </a:extLst>
          </p:cNvPr>
          <p:cNvCxnSpPr>
            <a:cxnSpLocks/>
          </p:cNvCxnSpPr>
          <p:nvPr/>
        </p:nvCxnSpPr>
        <p:spPr>
          <a:xfrm>
            <a:off x="503453" y="5833223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275EA1F-6801-F806-BFFA-80C00140AD34}"/>
              </a:ext>
            </a:extLst>
          </p:cNvPr>
          <p:cNvSpPr/>
          <p:nvPr/>
        </p:nvSpPr>
        <p:spPr>
          <a:xfrm>
            <a:off x="4492421" y="447752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BD3C0A0-78BF-9660-2646-110A2D2236AA}"/>
              </a:ext>
            </a:extLst>
          </p:cNvPr>
          <p:cNvSpPr/>
          <p:nvPr/>
        </p:nvSpPr>
        <p:spPr>
          <a:xfrm>
            <a:off x="4492421" y="466272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0CDE98FE-2BEB-4660-7CB3-9ED31370F8BF}"/>
              </a:ext>
            </a:extLst>
          </p:cNvPr>
          <p:cNvSpPr/>
          <p:nvPr/>
        </p:nvSpPr>
        <p:spPr>
          <a:xfrm>
            <a:off x="4492421" y="484793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241C604-C7B5-2168-50E9-3E038048CD40}"/>
              </a:ext>
            </a:extLst>
          </p:cNvPr>
          <p:cNvSpPr/>
          <p:nvPr/>
        </p:nvSpPr>
        <p:spPr>
          <a:xfrm>
            <a:off x="4492421" y="503313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43296B8-19DE-8E44-3580-FDDCD7E55786}"/>
              </a:ext>
            </a:extLst>
          </p:cNvPr>
          <p:cNvSpPr/>
          <p:nvPr/>
        </p:nvSpPr>
        <p:spPr>
          <a:xfrm>
            <a:off x="4492421" y="521833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B31A67-3266-FE51-0B6B-D729F723D42B}"/>
              </a:ext>
            </a:extLst>
          </p:cNvPr>
          <p:cNvSpPr/>
          <p:nvPr/>
        </p:nvSpPr>
        <p:spPr>
          <a:xfrm>
            <a:off x="6907453" y="447752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06C5142-CC1D-33A4-FA5F-E5002FC0C2B7}"/>
              </a:ext>
            </a:extLst>
          </p:cNvPr>
          <p:cNvSpPr/>
          <p:nvPr/>
        </p:nvSpPr>
        <p:spPr>
          <a:xfrm>
            <a:off x="6907453" y="466272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6AEE687-2A43-A57F-604D-DD7F4CF82361}"/>
              </a:ext>
            </a:extLst>
          </p:cNvPr>
          <p:cNvSpPr/>
          <p:nvPr/>
        </p:nvSpPr>
        <p:spPr>
          <a:xfrm>
            <a:off x="6907453" y="484793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BBDC857-C900-90A9-729E-76E5B8BDD16B}"/>
              </a:ext>
            </a:extLst>
          </p:cNvPr>
          <p:cNvSpPr/>
          <p:nvPr/>
        </p:nvSpPr>
        <p:spPr>
          <a:xfrm>
            <a:off x="6907453" y="503313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A6D8254-B87D-6C6D-1891-815165E6E20B}"/>
              </a:ext>
            </a:extLst>
          </p:cNvPr>
          <p:cNvSpPr/>
          <p:nvPr/>
        </p:nvSpPr>
        <p:spPr>
          <a:xfrm>
            <a:off x="6907453" y="521833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C06993D1-1136-8386-CC3F-9536C4E192AB}"/>
              </a:ext>
            </a:extLst>
          </p:cNvPr>
          <p:cNvSpPr/>
          <p:nvPr/>
        </p:nvSpPr>
        <p:spPr>
          <a:xfrm>
            <a:off x="9322485" y="447752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98D63A8E-7203-2E64-99B2-391D9F8A0384}"/>
              </a:ext>
            </a:extLst>
          </p:cNvPr>
          <p:cNvSpPr/>
          <p:nvPr/>
        </p:nvSpPr>
        <p:spPr>
          <a:xfrm>
            <a:off x="9322485" y="466272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37F714D8-F335-4F00-EA2B-4C73FF6A0387}"/>
              </a:ext>
            </a:extLst>
          </p:cNvPr>
          <p:cNvSpPr/>
          <p:nvPr/>
        </p:nvSpPr>
        <p:spPr>
          <a:xfrm>
            <a:off x="9322485" y="484793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02111F6D-D202-0571-FACB-79853FC99094}"/>
              </a:ext>
            </a:extLst>
          </p:cNvPr>
          <p:cNvSpPr/>
          <p:nvPr/>
        </p:nvSpPr>
        <p:spPr>
          <a:xfrm>
            <a:off x="9322485" y="503313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23A45F5-6F94-9EDE-B896-1DC13D851CCD}"/>
              </a:ext>
            </a:extLst>
          </p:cNvPr>
          <p:cNvSpPr/>
          <p:nvPr/>
        </p:nvSpPr>
        <p:spPr>
          <a:xfrm>
            <a:off x="9322485" y="521833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AFDC5F4-9A3F-F664-5E97-2BF278E66218}"/>
              </a:ext>
            </a:extLst>
          </p:cNvPr>
          <p:cNvSpPr txBox="1"/>
          <p:nvPr/>
        </p:nvSpPr>
        <p:spPr>
          <a:xfrm>
            <a:off x="2420276" y="4433411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로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9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인해 관광객이 줄면서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면세업계 전반적으로 실적이 크게 하락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공항면세점이 아닌 시내면세점</a:t>
            </a:r>
            <a:b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로나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9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엔데믹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환에도 수혜가 크지는 않을 것으로 전망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됨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인 영업적자 발생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B68AC89-214F-E51B-A35A-F1B20697054F}"/>
              </a:ext>
            </a:extLst>
          </p:cNvPr>
          <p:cNvSpPr txBox="1"/>
          <p:nvPr/>
        </p:nvSpPr>
        <p:spPr>
          <a:xfrm>
            <a:off x="4789290" y="44271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은 약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500%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며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사실상 시장 회복이 어려운 가운데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HDC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라면세점이 사업을 정상 가동하기 위해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자금수혈이 필수적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65FD29C-72A5-1CFC-1D83-4810D038E136}"/>
              </a:ext>
            </a:extLst>
          </p:cNvPr>
          <p:cNvSpPr txBox="1"/>
          <p:nvPr/>
        </p:nvSpPr>
        <p:spPr>
          <a:xfrm>
            <a:off x="7231622" y="441510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HDC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신라면세점의 지속적인 실적 악화와 시내면세점 특성상 코로나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엔데믹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전환 수혜가 크지 않다는 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HDC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신라면세점으로의 자금수혈이 필수적인 상황에서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지속적인 건설경기 둔화와 하도급 원가 상승분의 영향으로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HDC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현대산업개발 현금창출능력 저하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4E26FA37-8DEA-8C2E-1915-5837C6415900}"/>
              </a:ext>
            </a:extLst>
          </p:cNvPr>
          <p:cNvSpPr/>
          <p:nvPr/>
        </p:nvSpPr>
        <p:spPr>
          <a:xfrm>
            <a:off x="-2268796" y="4769707"/>
            <a:ext cx="2143125" cy="2066260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en-US" altLang="ko-KR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pinX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이 부진한 상황인가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장님이 언급해주신 회사채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P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환 일정이 도래한다는 점을 유동성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언급해주는 건 어떨까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+ CFO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Deleveraging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사를 </a:t>
            </a:r>
            <a:r>
              <a:rPr lang="ko-KR" altLang="en-US" sz="10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표력한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바 있는 데 해당 건도 언급해주는 건 어떨까 싶습니다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</a:p>
        </p:txBody>
      </p:sp>
      <p:pic>
        <p:nvPicPr>
          <p:cNvPr id="2" name="Picture 4" descr="CI/BI | HDC현대산업개발">
            <a:extLst>
              <a:ext uri="{FF2B5EF4-FFF2-40B4-BE49-F238E27FC236}">
                <a16:creationId xmlns:a16="http://schemas.microsoft.com/office/drawing/2014/main" id="{4B270902-0A08-5241-6D20-018658BC7D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3" t="23014" r="7776" b="19680"/>
          <a:stretch/>
        </p:blipFill>
        <p:spPr bwMode="auto">
          <a:xfrm>
            <a:off x="498757" y="2833203"/>
            <a:ext cx="1870438" cy="496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신라면세점 - 나무위키">
            <a:extLst>
              <a:ext uri="{FF2B5EF4-FFF2-40B4-BE49-F238E27FC236}">
                <a16:creationId xmlns:a16="http://schemas.microsoft.com/office/drawing/2014/main" id="{0A4B8B23-7F4D-9510-4EB2-CEB3CDC79D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004" y="4618492"/>
            <a:ext cx="1547889" cy="664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769199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DC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761648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HDC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정몽규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 강남구 영동대로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20 </a:t>
                      </a: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아이파크타워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77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0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4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7,650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806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 및 개발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형종합소매업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첨단엔지니어링</a:t>
            </a:r>
            <a:b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라스틱 재료 생산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산업개발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972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DC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597813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,39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89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2,80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08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43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6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43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4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96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03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9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5,72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1,4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7,6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,00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,22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1,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DC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간 </a:t>
            </a:r>
            <a:r>
              <a:rPr lang="en-US" altLang="ko-KR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IoT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랫폼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파크몰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972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</a:t>
            </a:r>
            <a:r>
              <a:rPr lang="en-US" altLang="ko-KR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P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랩스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B346FC17-7063-EB83-8686-82F322B5D9AB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앤콘스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1411697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F5ACF09C-A769-5C6E-91DA-8AD1EB380CEF}"/>
              </a:ext>
            </a:extLst>
          </p:cNvPr>
          <p:cNvCxnSpPr>
            <a:cxnSpLocks/>
          </p:cNvCxnSpPr>
          <p:nvPr/>
        </p:nvCxnSpPr>
        <p:spPr>
          <a:xfrm>
            <a:off x="7610342" y="2825676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F5EA1627-8AF7-B52F-CC4C-58C024282E49}"/>
              </a:ext>
            </a:extLst>
          </p:cNvPr>
          <p:cNvCxnSpPr>
            <a:cxnSpLocks/>
          </p:cNvCxnSpPr>
          <p:nvPr/>
        </p:nvCxnSpPr>
        <p:spPr>
          <a:xfrm>
            <a:off x="2310168" y="2823253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US" altLang="ko-KR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cxnSp>
        <p:nvCxnSpPr>
          <p:cNvPr id="3" name="직선 화살표 연결선 2">
            <a:extLst>
              <a:ext uri="{FF2B5EF4-FFF2-40B4-BE49-F238E27FC236}">
                <a16:creationId xmlns:a16="http://schemas.microsoft.com/office/drawing/2014/main" id="{962079C6-7E72-45EA-41BA-EFFBAE43175A}"/>
              </a:ext>
            </a:extLst>
          </p:cNvPr>
          <p:cNvCxnSpPr>
            <a:cxnSpLocks/>
          </p:cNvCxnSpPr>
          <p:nvPr/>
        </p:nvCxnSpPr>
        <p:spPr>
          <a:xfrm>
            <a:off x="983552" y="2828716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모서리가 둥근 직사각형 167">
            <a:extLst>
              <a:ext uri="{FF2B5EF4-FFF2-40B4-BE49-F238E27FC236}">
                <a16:creationId xmlns:a16="http://schemas.microsoft.com/office/drawing/2014/main" id="{8FCC55A0-47DA-8A21-BB4A-DFE3FFCD9135}"/>
              </a:ext>
            </a:extLst>
          </p:cNvPr>
          <p:cNvSpPr/>
          <p:nvPr/>
        </p:nvSpPr>
        <p:spPr>
          <a:xfrm>
            <a:off x="4450131" y="2331086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이치디씨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89C51967-4E5A-6C0D-FA39-AF448CFDA07E}"/>
              </a:ext>
            </a:extLst>
          </p:cNvPr>
          <p:cNvCxnSpPr>
            <a:cxnSpLocks/>
          </p:cNvCxnSpPr>
          <p:nvPr/>
        </p:nvCxnSpPr>
        <p:spPr>
          <a:xfrm>
            <a:off x="3766765" y="4885272"/>
            <a:ext cx="0" cy="393071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A801770F-31B9-2E79-8F3E-509B591B5689}"/>
              </a:ext>
            </a:extLst>
          </p:cNvPr>
          <p:cNvCxnSpPr>
            <a:cxnSpLocks/>
          </p:cNvCxnSpPr>
          <p:nvPr/>
        </p:nvCxnSpPr>
        <p:spPr>
          <a:xfrm flipH="1">
            <a:off x="2428318" y="4885272"/>
            <a:ext cx="5408948" cy="353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1481F27D-C0C1-7927-6981-CBF089903CC8}"/>
              </a:ext>
            </a:extLst>
          </p:cNvPr>
          <p:cNvCxnSpPr>
            <a:cxnSpLocks/>
          </p:cNvCxnSpPr>
          <p:nvPr/>
        </p:nvCxnSpPr>
        <p:spPr>
          <a:xfrm>
            <a:off x="4443040" y="4888801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50DB3DDF-114F-F4EF-8BE6-55DB0A3BFE2F}"/>
              </a:ext>
            </a:extLst>
          </p:cNvPr>
          <p:cNvCxnSpPr>
            <a:cxnSpLocks/>
          </p:cNvCxnSpPr>
          <p:nvPr/>
        </p:nvCxnSpPr>
        <p:spPr>
          <a:xfrm>
            <a:off x="5120463" y="4888448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889E4CF7-49D0-A99F-7DCC-B067D1AF5528}"/>
              </a:ext>
            </a:extLst>
          </p:cNvPr>
          <p:cNvCxnSpPr>
            <a:cxnSpLocks/>
          </p:cNvCxnSpPr>
          <p:nvPr/>
        </p:nvCxnSpPr>
        <p:spPr>
          <a:xfrm>
            <a:off x="5797689" y="4888801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46A0CDD6-50E9-946F-B03E-2FBD737F1276}"/>
              </a:ext>
            </a:extLst>
          </p:cNvPr>
          <p:cNvCxnSpPr>
            <a:cxnSpLocks/>
          </p:cNvCxnSpPr>
          <p:nvPr/>
        </p:nvCxnSpPr>
        <p:spPr>
          <a:xfrm>
            <a:off x="6488470" y="488844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화살표 연결선 11">
            <a:extLst>
              <a:ext uri="{FF2B5EF4-FFF2-40B4-BE49-F238E27FC236}">
                <a16:creationId xmlns:a16="http://schemas.microsoft.com/office/drawing/2014/main" id="{DF8EC911-E4C0-8AD0-9264-8DA3FC850D21}"/>
              </a:ext>
            </a:extLst>
          </p:cNvPr>
          <p:cNvCxnSpPr>
            <a:cxnSpLocks/>
          </p:cNvCxnSpPr>
          <p:nvPr/>
        </p:nvCxnSpPr>
        <p:spPr>
          <a:xfrm>
            <a:off x="3098604" y="4885272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타원 12">
            <a:extLst>
              <a:ext uri="{FF2B5EF4-FFF2-40B4-BE49-F238E27FC236}">
                <a16:creationId xmlns:a16="http://schemas.microsoft.com/office/drawing/2014/main" id="{42C0C446-996B-B19C-5A32-AAA35D632FC5}"/>
              </a:ext>
            </a:extLst>
          </p:cNvPr>
          <p:cNvSpPr/>
          <p:nvPr/>
        </p:nvSpPr>
        <p:spPr>
          <a:xfrm>
            <a:off x="2813061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타원 25">
            <a:extLst>
              <a:ext uri="{FF2B5EF4-FFF2-40B4-BE49-F238E27FC236}">
                <a16:creationId xmlns:a16="http://schemas.microsoft.com/office/drawing/2014/main" id="{F9CF1335-AD0C-6AB9-ACC3-7CE902A5550C}"/>
              </a:ext>
            </a:extLst>
          </p:cNvPr>
          <p:cNvSpPr/>
          <p:nvPr/>
        </p:nvSpPr>
        <p:spPr>
          <a:xfrm>
            <a:off x="3490366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8" name="타원 27">
            <a:extLst>
              <a:ext uri="{FF2B5EF4-FFF2-40B4-BE49-F238E27FC236}">
                <a16:creationId xmlns:a16="http://schemas.microsoft.com/office/drawing/2014/main" id="{A166989F-98F9-23F5-40B7-78E5F1509A54}"/>
              </a:ext>
            </a:extLst>
          </p:cNvPr>
          <p:cNvSpPr/>
          <p:nvPr/>
        </p:nvSpPr>
        <p:spPr>
          <a:xfrm>
            <a:off x="4167671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6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9" name="타원 28">
            <a:extLst>
              <a:ext uri="{FF2B5EF4-FFF2-40B4-BE49-F238E27FC236}">
                <a16:creationId xmlns:a16="http://schemas.microsoft.com/office/drawing/2014/main" id="{A5A287EB-F549-3E9D-ADE9-1993E483DBFE}"/>
              </a:ext>
            </a:extLst>
          </p:cNvPr>
          <p:cNvSpPr/>
          <p:nvPr/>
        </p:nvSpPr>
        <p:spPr>
          <a:xfrm>
            <a:off x="4844976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6.9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0" name="타원 29">
            <a:extLst>
              <a:ext uri="{FF2B5EF4-FFF2-40B4-BE49-F238E27FC236}">
                <a16:creationId xmlns:a16="http://schemas.microsoft.com/office/drawing/2014/main" id="{58C45E56-6BC4-6458-8E6A-7F72A5D5B8A5}"/>
              </a:ext>
            </a:extLst>
          </p:cNvPr>
          <p:cNvSpPr/>
          <p:nvPr/>
        </p:nvSpPr>
        <p:spPr>
          <a:xfrm>
            <a:off x="5522281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2" name="타원 31">
            <a:extLst>
              <a:ext uri="{FF2B5EF4-FFF2-40B4-BE49-F238E27FC236}">
                <a16:creationId xmlns:a16="http://schemas.microsoft.com/office/drawing/2014/main" id="{7484A239-68AF-EE88-7228-69BB313E2FF8}"/>
              </a:ext>
            </a:extLst>
          </p:cNvPr>
          <p:cNvSpPr/>
          <p:nvPr/>
        </p:nvSpPr>
        <p:spPr>
          <a:xfrm>
            <a:off x="6199584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F144124E-E1EE-08D4-8807-01E910E8A00D}"/>
              </a:ext>
            </a:extLst>
          </p:cNvPr>
          <p:cNvCxnSpPr>
            <a:cxnSpLocks/>
          </p:cNvCxnSpPr>
          <p:nvPr/>
        </p:nvCxnSpPr>
        <p:spPr>
          <a:xfrm flipH="1">
            <a:off x="307277" y="2816440"/>
            <a:ext cx="9291446" cy="791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35EAC992-5833-816A-85CE-41822D7DB0DF}"/>
              </a:ext>
            </a:extLst>
          </p:cNvPr>
          <p:cNvCxnSpPr>
            <a:cxnSpLocks/>
          </p:cNvCxnSpPr>
          <p:nvPr/>
        </p:nvCxnSpPr>
        <p:spPr>
          <a:xfrm>
            <a:off x="1651713" y="2824349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56CAB404-2963-25E7-AAB2-11BBE15E674E}"/>
              </a:ext>
            </a:extLst>
          </p:cNvPr>
          <p:cNvCxnSpPr>
            <a:cxnSpLocks/>
          </p:cNvCxnSpPr>
          <p:nvPr/>
        </p:nvCxnSpPr>
        <p:spPr>
          <a:xfrm>
            <a:off x="3006362" y="2824349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5827EEC2-5543-45C2-B437-71AA877FCCEF}"/>
              </a:ext>
            </a:extLst>
          </p:cNvPr>
          <p:cNvCxnSpPr>
            <a:cxnSpLocks/>
          </p:cNvCxnSpPr>
          <p:nvPr/>
        </p:nvCxnSpPr>
        <p:spPr>
          <a:xfrm>
            <a:off x="3627293" y="2823995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583557EE-6575-13EA-4813-B6E4E1FC50CF}"/>
              </a:ext>
            </a:extLst>
          </p:cNvPr>
          <p:cNvCxnSpPr>
            <a:cxnSpLocks/>
          </p:cNvCxnSpPr>
          <p:nvPr/>
        </p:nvCxnSpPr>
        <p:spPr>
          <a:xfrm>
            <a:off x="307277" y="2828716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타원 38">
            <a:extLst>
              <a:ext uri="{FF2B5EF4-FFF2-40B4-BE49-F238E27FC236}">
                <a16:creationId xmlns:a16="http://schemas.microsoft.com/office/drawing/2014/main" id="{BD992759-50EE-C224-11BE-D6212383EB64}"/>
              </a:ext>
            </a:extLst>
          </p:cNvPr>
          <p:cNvSpPr/>
          <p:nvPr/>
        </p:nvSpPr>
        <p:spPr>
          <a:xfrm>
            <a:off x="20845" y="293409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9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0" name="타원 39">
            <a:extLst>
              <a:ext uri="{FF2B5EF4-FFF2-40B4-BE49-F238E27FC236}">
                <a16:creationId xmlns:a16="http://schemas.microsoft.com/office/drawing/2014/main" id="{E7618913-8628-D3C8-6D3A-1E6645C7A80C}"/>
              </a:ext>
            </a:extLst>
          </p:cNvPr>
          <p:cNvSpPr/>
          <p:nvPr/>
        </p:nvSpPr>
        <p:spPr>
          <a:xfrm>
            <a:off x="683769" y="293409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5.2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1" name="타원 40">
            <a:extLst>
              <a:ext uri="{FF2B5EF4-FFF2-40B4-BE49-F238E27FC236}">
                <a16:creationId xmlns:a16="http://schemas.microsoft.com/office/drawing/2014/main" id="{4FDAFB7F-771C-4971-03C1-117EAAB09771}"/>
              </a:ext>
            </a:extLst>
          </p:cNvPr>
          <p:cNvSpPr/>
          <p:nvPr/>
        </p:nvSpPr>
        <p:spPr>
          <a:xfrm>
            <a:off x="1346693" y="293409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8.3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2" name="타원 41">
            <a:extLst>
              <a:ext uri="{FF2B5EF4-FFF2-40B4-BE49-F238E27FC236}">
                <a16:creationId xmlns:a16="http://schemas.microsoft.com/office/drawing/2014/main" id="{650D2F2E-78B6-0D00-0B2A-8581B40ED9CF}"/>
              </a:ext>
            </a:extLst>
          </p:cNvPr>
          <p:cNvSpPr/>
          <p:nvPr/>
        </p:nvSpPr>
        <p:spPr>
          <a:xfrm>
            <a:off x="2009617" y="293409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7.1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3" name="타원 42">
            <a:extLst>
              <a:ext uri="{FF2B5EF4-FFF2-40B4-BE49-F238E27FC236}">
                <a16:creationId xmlns:a16="http://schemas.microsoft.com/office/drawing/2014/main" id="{BFF28CB4-20C0-38F0-52B1-B39DA12C274F}"/>
              </a:ext>
            </a:extLst>
          </p:cNvPr>
          <p:cNvSpPr/>
          <p:nvPr/>
        </p:nvSpPr>
        <p:spPr>
          <a:xfrm>
            <a:off x="2672541" y="293409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4" name="타원 43">
            <a:extLst>
              <a:ext uri="{FF2B5EF4-FFF2-40B4-BE49-F238E27FC236}">
                <a16:creationId xmlns:a16="http://schemas.microsoft.com/office/drawing/2014/main" id="{DECB3B6A-8BD3-A0AE-0A9D-9946090D35CD}"/>
              </a:ext>
            </a:extLst>
          </p:cNvPr>
          <p:cNvSpPr/>
          <p:nvPr/>
        </p:nvSpPr>
        <p:spPr>
          <a:xfrm>
            <a:off x="3335465" y="293409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1.5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EBAE0A15-F12C-D9F7-0DD4-ADC94547B67C}"/>
              </a:ext>
            </a:extLst>
          </p:cNvPr>
          <p:cNvCxnSpPr>
            <a:cxnSpLocks/>
          </p:cNvCxnSpPr>
          <p:nvPr/>
        </p:nvCxnSpPr>
        <p:spPr>
          <a:xfrm>
            <a:off x="4297002" y="2821903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타원 45">
            <a:extLst>
              <a:ext uri="{FF2B5EF4-FFF2-40B4-BE49-F238E27FC236}">
                <a16:creationId xmlns:a16="http://schemas.microsoft.com/office/drawing/2014/main" id="{A391ADAB-462F-B77E-CE47-07FB4BB66B78}"/>
              </a:ext>
            </a:extLst>
          </p:cNvPr>
          <p:cNvSpPr/>
          <p:nvPr/>
        </p:nvSpPr>
        <p:spPr>
          <a:xfrm>
            <a:off x="3998389" y="293200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4.3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26751997-7E11-BB2A-1AF0-4DF6B2B243C4}"/>
              </a:ext>
            </a:extLst>
          </p:cNvPr>
          <p:cNvCxnSpPr>
            <a:cxnSpLocks/>
            <a:endCxn id="59" idx="0"/>
          </p:cNvCxnSpPr>
          <p:nvPr/>
        </p:nvCxnSpPr>
        <p:spPr>
          <a:xfrm flipH="1">
            <a:off x="4954011" y="2673467"/>
            <a:ext cx="120" cy="526073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타원 47">
            <a:extLst>
              <a:ext uri="{FF2B5EF4-FFF2-40B4-BE49-F238E27FC236}">
                <a16:creationId xmlns:a16="http://schemas.microsoft.com/office/drawing/2014/main" id="{0C2A4881-2C91-9BF1-C15E-1A03D85C6D4E}"/>
              </a:ext>
            </a:extLst>
          </p:cNvPr>
          <p:cNvSpPr/>
          <p:nvPr/>
        </p:nvSpPr>
        <p:spPr>
          <a:xfrm>
            <a:off x="4661315" y="293200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01EAD30A-D310-0EAD-BB6F-06E38DB80C90}"/>
              </a:ext>
            </a:extLst>
          </p:cNvPr>
          <p:cNvCxnSpPr>
            <a:cxnSpLocks/>
            <a:endCxn id="52" idx="0"/>
          </p:cNvCxnSpPr>
          <p:nvPr/>
        </p:nvCxnSpPr>
        <p:spPr>
          <a:xfrm>
            <a:off x="334736" y="3623529"/>
            <a:ext cx="0" cy="1608998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타원 49">
            <a:extLst>
              <a:ext uri="{FF2B5EF4-FFF2-40B4-BE49-F238E27FC236}">
                <a16:creationId xmlns:a16="http://schemas.microsoft.com/office/drawing/2014/main" id="{66B01B0E-9D83-10FD-0F30-6409B2F212B2}"/>
              </a:ext>
            </a:extLst>
          </p:cNvPr>
          <p:cNvSpPr/>
          <p:nvPr/>
        </p:nvSpPr>
        <p:spPr>
          <a:xfrm>
            <a:off x="46736" y="475391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6.7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FC29A604-241F-3894-3BAE-2B810D499A7C}"/>
              </a:ext>
            </a:extLst>
          </p:cNvPr>
          <p:cNvCxnSpPr>
            <a:cxnSpLocks/>
          </p:cNvCxnSpPr>
          <p:nvPr/>
        </p:nvCxnSpPr>
        <p:spPr>
          <a:xfrm>
            <a:off x="3627293" y="3615909"/>
            <a:ext cx="0" cy="1274381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모서리가 둥근 직사각형 167">
            <a:extLst>
              <a:ext uri="{FF2B5EF4-FFF2-40B4-BE49-F238E27FC236}">
                <a16:creationId xmlns:a16="http://schemas.microsoft.com/office/drawing/2014/main" id="{657C089B-5949-4838-D9A4-33C6E01F255E}"/>
              </a:ext>
            </a:extLst>
          </p:cNvPr>
          <p:cNvSpPr/>
          <p:nvPr/>
        </p:nvSpPr>
        <p:spPr>
          <a:xfrm>
            <a:off x="148799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3" name="모서리가 둥근 직사각형 167">
            <a:extLst>
              <a:ext uri="{FF2B5EF4-FFF2-40B4-BE49-F238E27FC236}">
                <a16:creationId xmlns:a16="http://schemas.microsoft.com/office/drawing/2014/main" id="{F5132139-0816-264D-32C4-ECA44DE63C18}"/>
              </a:ext>
            </a:extLst>
          </p:cNvPr>
          <p:cNvSpPr/>
          <p:nvPr/>
        </p:nvSpPr>
        <p:spPr>
          <a:xfrm>
            <a:off x="141348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랩스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4" name="모서리가 둥근 직사각형 167">
            <a:extLst>
              <a:ext uri="{FF2B5EF4-FFF2-40B4-BE49-F238E27FC236}">
                <a16:creationId xmlns:a16="http://schemas.microsoft.com/office/drawing/2014/main" id="{A0A41A37-61C1-1954-1BD3-CB783DBD41F1}"/>
              </a:ext>
            </a:extLst>
          </p:cNvPr>
          <p:cNvSpPr/>
          <p:nvPr/>
        </p:nvSpPr>
        <p:spPr>
          <a:xfrm>
            <a:off x="1463270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피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5" name="모서리가 둥근 직사각형 167">
            <a:extLst>
              <a:ext uri="{FF2B5EF4-FFF2-40B4-BE49-F238E27FC236}">
                <a16:creationId xmlns:a16="http://schemas.microsoft.com/office/drawing/2014/main" id="{10D36F31-3640-982D-8DC4-59F55132119D}"/>
              </a:ext>
            </a:extLst>
          </p:cNvPr>
          <p:cNvSpPr/>
          <p:nvPr/>
        </p:nvSpPr>
        <p:spPr>
          <a:xfrm>
            <a:off x="2124231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크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몰</a:t>
            </a:r>
            <a:endParaRPr kumimoji="0" lang="ko-KR" altLang="en-US" sz="900" b="1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6" name="모서리가 둥근 직사각형 167">
            <a:extLst>
              <a:ext uri="{FF2B5EF4-FFF2-40B4-BE49-F238E27FC236}">
                <a16:creationId xmlns:a16="http://schemas.microsoft.com/office/drawing/2014/main" id="{64512B44-7AB9-711E-CC67-72FEC31D4CA4}"/>
              </a:ext>
            </a:extLst>
          </p:cNvPr>
          <p:cNvSpPr/>
          <p:nvPr/>
        </p:nvSpPr>
        <p:spPr>
          <a:xfrm>
            <a:off x="2785192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</a:t>
            </a:r>
            <a:endParaRPr kumimoji="0" lang="en-US" altLang="ko-KR" sz="900" b="1" i="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라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면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세</a:t>
            </a:r>
            <a:endParaRPr lang="en-US" altLang="ko-KR" sz="900" b="1" dirty="0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점</a:t>
            </a:r>
          </a:p>
        </p:txBody>
      </p:sp>
      <p:sp>
        <p:nvSpPr>
          <p:cNvPr id="57" name="모서리가 둥근 직사각형 167">
            <a:extLst>
              <a:ext uri="{FF2B5EF4-FFF2-40B4-BE49-F238E27FC236}">
                <a16:creationId xmlns:a16="http://schemas.microsoft.com/office/drawing/2014/main" id="{8A4EBC88-E84F-7357-C398-9F6BA213B1A8}"/>
              </a:ext>
            </a:extLst>
          </p:cNvPr>
          <p:cNvSpPr/>
          <p:nvPr/>
        </p:nvSpPr>
        <p:spPr>
          <a:xfrm>
            <a:off x="3446153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업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8" name="모서리가 둥근 직사각형 167">
            <a:extLst>
              <a:ext uri="{FF2B5EF4-FFF2-40B4-BE49-F238E27FC236}">
                <a16:creationId xmlns:a16="http://schemas.microsoft.com/office/drawing/2014/main" id="{749A1C80-F303-FF55-CC72-7DF1462C6F0A}"/>
              </a:ext>
            </a:extLst>
          </p:cNvPr>
          <p:cNvSpPr/>
          <p:nvPr/>
        </p:nvSpPr>
        <p:spPr>
          <a:xfrm>
            <a:off x="4107114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창</a:t>
            </a:r>
          </a:p>
        </p:txBody>
      </p:sp>
      <p:sp>
        <p:nvSpPr>
          <p:cNvPr id="59" name="모서리가 둥근 직사각형 167">
            <a:extLst>
              <a:ext uri="{FF2B5EF4-FFF2-40B4-BE49-F238E27FC236}">
                <a16:creationId xmlns:a16="http://schemas.microsoft.com/office/drawing/2014/main" id="{5368903A-01EC-2F3F-466F-6969E3ADF490}"/>
              </a:ext>
            </a:extLst>
          </p:cNvPr>
          <p:cNvSpPr/>
          <p:nvPr/>
        </p:nvSpPr>
        <p:spPr>
          <a:xfrm>
            <a:off x="4768074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츠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6264BC55-F905-E464-574B-0D2E649E30A7}"/>
              </a:ext>
            </a:extLst>
          </p:cNvPr>
          <p:cNvCxnSpPr>
            <a:cxnSpLocks/>
          </p:cNvCxnSpPr>
          <p:nvPr/>
        </p:nvCxnSpPr>
        <p:spPr>
          <a:xfrm>
            <a:off x="7162425" y="4897910"/>
            <a:ext cx="0" cy="350537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타원 60">
            <a:extLst>
              <a:ext uri="{FF2B5EF4-FFF2-40B4-BE49-F238E27FC236}">
                <a16:creationId xmlns:a16="http://schemas.microsoft.com/office/drawing/2014/main" id="{BDD44F47-D0BA-5F12-04AD-7EE2CDD46395}"/>
              </a:ext>
            </a:extLst>
          </p:cNvPr>
          <p:cNvSpPr/>
          <p:nvPr/>
        </p:nvSpPr>
        <p:spPr>
          <a:xfrm>
            <a:off x="6873539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2.1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C0789EAB-D6DA-3A09-93C6-D40C02AE566D}"/>
              </a:ext>
            </a:extLst>
          </p:cNvPr>
          <p:cNvCxnSpPr>
            <a:cxnSpLocks/>
          </p:cNvCxnSpPr>
          <p:nvPr/>
        </p:nvCxnSpPr>
        <p:spPr>
          <a:xfrm>
            <a:off x="2428318" y="4888447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타원 62">
            <a:extLst>
              <a:ext uri="{FF2B5EF4-FFF2-40B4-BE49-F238E27FC236}">
                <a16:creationId xmlns:a16="http://schemas.microsoft.com/office/drawing/2014/main" id="{257749E9-E19E-2075-A49D-0161021DD61A}"/>
              </a:ext>
            </a:extLst>
          </p:cNvPr>
          <p:cNvSpPr/>
          <p:nvPr/>
        </p:nvSpPr>
        <p:spPr>
          <a:xfrm>
            <a:off x="2139432" y="499854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9.9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4" name="모서리가 둥근 직사각형 167">
            <a:extLst>
              <a:ext uri="{FF2B5EF4-FFF2-40B4-BE49-F238E27FC236}">
                <a16:creationId xmlns:a16="http://schemas.microsoft.com/office/drawing/2014/main" id="{D4DFDA0D-9175-4C5F-5A55-3561B046E4E8}"/>
              </a:ext>
            </a:extLst>
          </p:cNvPr>
          <p:cNvSpPr/>
          <p:nvPr/>
        </p:nvSpPr>
        <p:spPr>
          <a:xfrm>
            <a:off x="3586620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CE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5" name="모서리가 둥근 직사각형 167">
            <a:extLst>
              <a:ext uri="{FF2B5EF4-FFF2-40B4-BE49-F238E27FC236}">
                <a16:creationId xmlns:a16="http://schemas.microsoft.com/office/drawing/2014/main" id="{6B2F841F-4733-117E-CB88-9E004646AF42}"/>
              </a:ext>
            </a:extLst>
          </p:cNvPr>
          <p:cNvSpPr/>
          <p:nvPr/>
        </p:nvSpPr>
        <p:spPr>
          <a:xfrm>
            <a:off x="4260573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천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항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배후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지</a:t>
            </a:r>
          </a:p>
        </p:txBody>
      </p:sp>
      <p:sp>
        <p:nvSpPr>
          <p:cNvPr id="66" name="모서리가 둥근 직사각형 167">
            <a:extLst>
              <a:ext uri="{FF2B5EF4-FFF2-40B4-BE49-F238E27FC236}">
                <a16:creationId xmlns:a16="http://schemas.microsoft.com/office/drawing/2014/main" id="{B8BB2904-E235-C1B4-924C-7671D2604374}"/>
              </a:ext>
            </a:extLst>
          </p:cNvPr>
          <p:cNvSpPr/>
          <p:nvPr/>
        </p:nvSpPr>
        <p:spPr>
          <a:xfrm>
            <a:off x="2912667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텔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7" name="모서리가 둥근 직사각형 167">
            <a:extLst>
              <a:ext uri="{FF2B5EF4-FFF2-40B4-BE49-F238E27FC236}">
                <a16:creationId xmlns:a16="http://schemas.microsoft.com/office/drawing/2014/main" id="{6A8B577B-7105-DEE4-C797-8D2D08D9C72F}"/>
              </a:ext>
            </a:extLst>
          </p:cNvPr>
          <p:cNvSpPr/>
          <p:nvPr/>
        </p:nvSpPr>
        <p:spPr>
          <a:xfrm>
            <a:off x="4934526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시흥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울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연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로</a:t>
            </a:r>
          </a:p>
        </p:txBody>
      </p:sp>
      <p:sp>
        <p:nvSpPr>
          <p:cNvPr id="68" name="모서리가 둥근 직사각형 167">
            <a:extLst>
              <a:ext uri="{FF2B5EF4-FFF2-40B4-BE49-F238E27FC236}">
                <a16:creationId xmlns:a16="http://schemas.microsoft.com/office/drawing/2014/main" id="{9BBC1926-DE37-9BD8-2B5A-EEB6F5ADF785}"/>
              </a:ext>
            </a:extLst>
          </p:cNvPr>
          <p:cNvSpPr/>
          <p:nvPr/>
        </p:nvSpPr>
        <p:spPr>
          <a:xfrm>
            <a:off x="5608479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광명</a:t>
            </a:r>
            <a:b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문화 복합</a:t>
            </a:r>
            <a:b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단지 자산</a:t>
            </a:r>
            <a:br>
              <a:rPr kumimoji="0" lang="en-US" altLang="ko-KR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관리</a:t>
            </a:r>
          </a:p>
        </p:txBody>
      </p:sp>
      <p:sp>
        <p:nvSpPr>
          <p:cNvPr id="69" name="모서리가 둥근 직사각형 167">
            <a:extLst>
              <a:ext uri="{FF2B5EF4-FFF2-40B4-BE49-F238E27FC236}">
                <a16:creationId xmlns:a16="http://schemas.microsoft.com/office/drawing/2014/main" id="{10524776-D9DB-9007-E091-60D34ABEC263}"/>
              </a:ext>
            </a:extLst>
          </p:cNvPr>
          <p:cNvSpPr/>
          <p:nvPr/>
        </p:nvSpPr>
        <p:spPr>
          <a:xfrm>
            <a:off x="6282434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  <a:br>
              <a:rPr lang="en-US" altLang="ko-KR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파크 제</a:t>
            </a:r>
            <a:r>
              <a:rPr lang="en-US" altLang="ko-KR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lang="ko-KR" altLang="en-US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 위탁관리 부동산</a:t>
            </a:r>
            <a:br>
              <a:rPr lang="en-US" altLang="ko-KR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투자회사</a:t>
            </a:r>
            <a:endParaRPr kumimoji="0" lang="ko-KR" altLang="en-US" sz="6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BE0EDFA9-BF71-8BC5-AB9A-30BFB772BCF3}"/>
              </a:ext>
            </a:extLst>
          </p:cNvPr>
          <p:cNvSpPr/>
          <p:nvPr/>
        </p:nvSpPr>
        <p:spPr>
          <a:xfrm>
            <a:off x="6956389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HDC</a:t>
            </a:r>
            <a:br>
              <a:rPr kumimoji="0" lang="en-US" altLang="ko-KR" sz="6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</a:br>
            <a:r>
              <a:rPr kumimoji="0" lang="ko-KR" altLang="en-US" sz="6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아이파크 제</a:t>
            </a:r>
            <a:r>
              <a:rPr lang="en-US" altLang="ko-KR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</a:t>
            </a:r>
            <a:r>
              <a:rPr kumimoji="0" lang="ko-KR" altLang="en-US" sz="6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호 위탁관리 부동산</a:t>
            </a:r>
            <a:br>
              <a:rPr kumimoji="0" lang="en-US" altLang="ko-KR" sz="6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</a:br>
            <a:r>
              <a:rPr kumimoji="0" lang="ko-KR" altLang="en-US" sz="6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  <a:cs typeface="+mn-cs"/>
              </a:rPr>
              <a:t>투자회사</a:t>
            </a: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8F7A67EF-6687-4D38-56B0-F81655DA123E}"/>
              </a:ext>
            </a:extLst>
          </p:cNvPr>
          <p:cNvSpPr/>
          <p:nvPr/>
        </p:nvSpPr>
        <p:spPr>
          <a:xfrm>
            <a:off x="2222282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트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3" name="모서리가 둥근 직사각형 167">
            <a:extLst>
              <a:ext uri="{FF2B5EF4-FFF2-40B4-BE49-F238E27FC236}">
                <a16:creationId xmlns:a16="http://schemas.microsoft.com/office/drawing/2014/main" id="{DAAB810D-0179-8977-A58F-3A1F59F260B7}"/>
              </a:ext>
            </a:extLst>
          </p:cNvPr>
          <p:cNvSpPr/>
          <p:nvPr/>
        </p:nvSpPr>
        <p:spPr>
          <a:xfrm>
            <a:off x="7650443" y="5235975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창 김포 고속도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75" name="직선 화살표 연결선 74">
            <a:extLst>
              <a:ext uri="{FF2B5EF4-FFF2-40B4-BE49-F238E27FC236}">
                <a16:creationId xmlns:a16="http://schemas.microsoft.com/office/drawing/2014/main" id="{A7234081-BF14-BEE2-7D4F-C8CE82526718}"/>
              </a:ext>
            </a:extLst>
          </p:cNvPr>
          <p:cNvCxnSpPr>
            <a:cxnSpLocks/>
          </p:cNvCxnSpPr>
          <p:nvPr/>
        </p:nvCxnSpPr>
        <p:spPr>
          <a:xfrm>
            <a:off x="6285273" y="2823253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직선 화살표 연결선 75">
            <a:extLst>
              <a:ext uri="{FF2B5EF4-FFF2-40B4-BE49-F238E27FC236}">
                <a16:creationId xmlns:a16="http://schemas.microsoft.com/office/drawing/2014/main" id="{E6087CA5-F923-93B8-7047-7D6DF5163D65}"/>
              </a:ext>
            </a:extLst>
          </p:cNvPr>
          <p:cNvCxnSpPr>
            <a:cxnSpLocks/>
          </p:cNvCxnSpPr>
          <p:nvPr/>
        </p:nvCxnSpPr>
        <p:spPr>
          <a:xfrm>
            <a:off x="6953434" y="2818886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76">
            <a:extLst>
              <a:ext uri="{FF2B5EF4-FFF2-40B4-BE49-F238E27FC236}">
                <a16:creationId xmlns:a16="http://schemas.microsoft.com/office/drawing/2014/main" id="{65D01DD9-30A4-30A3-1E75-9FBF5725E451}"/>
              </a:ext>
            </a:extLst>
          </p:cNvPr>
          <p:cNvCxnSpPr>
            <a:cxnSpLocks/>
            <a:endCxn id="99" idx="0"/>
          </p:cNvCxnSpPr>
          <p:nvPr/>
        </p:nvCxnSpPr>
        <p:spPr>
          <a:xfrm>
            <a:off x="8272850" y="2823253"/>
            <a:ext cx="0" cy="370824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59621DB4-FD86-DE7F-F83B-9310A8F30631}"/>
              </a:ext>
            </a:extLst>
          </p:cNvPr>
          <p:cNvCxnSpPr>
            <a:cxnSpLocks/>
          </p:cNvCxnSpPr>
          <p:nvPr/>
        </p:nvCxnSpPr>
        <p:spPr>
          <a:xfrm>
            <a:off x="8929014" y="2818532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직선 화살표 연결선 78">
            <a:extLst>
              <a:ext uri="{FF2B5EF4-FFF2-40B4-BE49-F238E27FC236}">
                <a16:creationId xmlns:a16="http://schemas.microsoft.com/office/drawing/2014/main" id="{108A0755-06D0-7FB8-DA63-36150EFAB1F6}"/>
              </a:ext>
            </a:extLst>
          </p:cNvPr>
          <p:cNvCxnSpPr>
            <a:cxnSpLocks/>
          </p:cNvCxnSpPr>
          <p:nvPr/>
        </p:nvCxnSpPr>
        <p:spPr>
          <a:xfrm>
            <a:off x="5608998" y="2823253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타원 79">
            <a:extLst>
              <a:ext uri="{FF2B5EF4-FFF2-40B4-BE49-F238E27FC236}">
                <a16:creationId xmlns:a16="http://schemas.microsoft.com/office/drawing/2014/main" id="{91DE55E8-6207-5C59-E100-7EA9E8FAFF17}"/>
              </a:ext>
            </a:extLst>
          </p:cNvPr>
          <p:cNvSpPr/>
          <p:nvPr/>
        </p:nvSpPr>
        <p:spPr>
          <a:xfrm>
            <a:off x="5322566" y="292863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1" name="타원 80">
            <a:extLst>
              <a:ext uri="{FF2B5EF4-FFF2-40B4-BE49-F238E27FC236}">
                <a16:creationId xmlns:a16="http://schemas.microsoft.com/office/drawing/2014/main" id="{17585A9F-C467-DD64-D96A-2090E8FA936A}"/>
              </a:ext>
            </a:extLst>
          </p:cNvPr>
          <p:cNvSpPr/>
          <p:nvPr/>
        </p:nvSpPr>
        <p:spPr>
          <a:xfrm>
            <a:off x="5985490" y="292863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7.7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2" name="타원 81">
            <a:extLst>
              <a:ext uri="{FF2B5EF4-FFF2-40B4-BE49-F238E27FC236}">
                <a16:creationId xmlns:a16="http://schemas.microsoft.com/office/drawing/2014/main" id="{DE950BEE-4A41-A6F6-A5F9-AFD69CCE0B61}"/>
              </a:ext>
            </a:extLst>
          </p:cNvPr>
          <p:cNvSpPr/>
          <p:nvPr/>
        </p:nvSpPr>
        <p:spPr>
          <a:xfrm>
            <a:off x="6648414" y="292863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7.5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3" name="타원 82">
            <a:extLst>
              <a:ext uri="{FF2B5EF4-FFF2-40B4-BE49-F238E27FC236}">
                <a16:creationId xmlns:a16="http://schemas.microsoft.com/office/drawing/2014/main" id="{15291273-DF26-19B5-48A7-A62B40288CD3}"/>
              </a:ext>
            </a:extLst>
          </p:cNvPr>
          <p:cNvSpPr/>
          <p:nvPr/>
        </p:nvSpPr>
        <p:spPr>
          <a:xfrm>
            <a:off x="7311338" y="292863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4.6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4" name="타원 83">
            <a:extLst>
              <a:ext uri="{FF2B5EF4-FFF2-40B4-BE49-F238E27FC236}">
                <a16:creationId xmlns:a16="http://schemas.microsoft.com/office/drawing/2014/main" id="{697B5372-103E-6297-9AB8-26A5B28A12D9}"/>
              </a:ext>
            </a:extLst>
          </p:cNvPr>
          <p:cNvSpPr/>
          <p:nvPr/>
        </p:nvSpPr>
        <p:spPr>
          <a:xfrm>
            <a:off x="7974262" y="292654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6.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5" name="타원 84">
            <a:extLst>
              <a:ext uri="{FF2B5EF4-FFF2-40B4-BE49-F238E27FC236}">
                <a16:creationId xmlns:a16="http://schemas.microsoft.com/office/drawing/2014/main" id="{D99E8BF3-58C3-D17B-3F73-11A08868B4E1}"/>
              </a:ext>
            </a:extLst>
          </p:cNvPr>
          <p:cNvSpPr/>
          <p:nvPr/>
        </p:nvSpPr>
        <p:spPr>
          <a:xfrm>
            <a:off x="8637186" y="292863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0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6" name="직선 화살표 연결선 85">
            <a:extLst>
              <a:ext uri="{FF2B5EF4-FFF2-40B4-BE49-F238E27FC236}">
                <a16:creationId xmlns:a16="http://schemas.microsoft.com/office/drawing/2014/main" id="{6BF236C3-CBBC-6EFD-0474-7A9080FB57C1}"/>
              </a:ext>
            </a:extLst>
          </p:cNvPr>
          <p:cNvCxnSpPr>
            <a:cxnSpLocks/>
          </p:cNvCxnSpPr>
          <p:nvPr/>
        </p:nvCxnSpPr>
        <p:spPr>
          <a:xfrm>
            <a:off x="9598723" y="2816440"/>
            <a:ext cx="0" cy="3708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타원 87">
            <a:extLst>
              <a:ext uri="{FF2B5EF4-FFF2-40B4-BE49-F238E27FC236}">
                <a16:creationId xmlns:a16="http://schemas.microsoft.com/office/drawing/2014/main" id="{80527A20-0470-F3DD-12EB-2E6E8E3ED6C4}"/>
              </a:ext>
            </a:extLst>
          </p:cNvPr>
          <p:cNvSpPr/>
          <p:nvPr/>
        </p:nvSpPr>
        <p:spPr>
          <a:xfrm>
            <a:off x="9300110" y="292654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0.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4" name="모서리가 둥근 직사각형 167">
            <a:extLst>
              <a:ext uri="{FF2B5EF4-FFF2-40B4-BE49-F238E27FC236}">
                <a16:creationId xmlns:a16="http://schemas.microsoft.com/office/drawing/2014/main" id="{0CC806B8-6646-E11E-AB58-79B9ED0463F7}"/>
              </a:ext>
            </a:extLst>
          </p:cNvPr>
          <p:cNvSpPr/>
          <p:nvPr/>
        </p:nvSpPr>
        <p:spPr>
          <a:xfrm>
            <a:off x="5443069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사</a:t>
            </a:r>
          </a:p>
        </p:txBody>
      </p:sp>
      <p:sp>
        <p:nvSpPr>
          <p:cNvPr id="95" name="모서리가 둥근 직사각형 167">
            <a:extLst>
              <a:ext uri="{FF2B5EF4-FFF2-40B4-BE49-F238E27FC236}">
                <a16:creationId xmlns:a16="http://schemas.microsoft.com/office/drawing/2014/main" id="{CB6F2DEB-B629-77AF-C1D2-2F7904740547}"/>
              </a:ext>
            </a:extLst>
          </p:cNvPr>
          <p:cNvSpPr/>
          <p:nvPr/>
        </p:nvSpPr>
        <p:spPr>
          <a:xfrm>
            <a:off x="6104030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5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민간</a:t>
            </a:r>
            <a:br>
              <a:rPr lang="en-US" altLang="ko-KR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임대</a:t>
            </a:r>
            <a:br>
              <a:rPr lang="en-US" altLang="ko-KR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주택 </a:t>
            </a:r>
            <a:br>
              <a:rPr lang="en-US" altLang="ko-KR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lang="en-US" altLang="ko-KR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lang="ko-KR" altLang="en-US" sz="65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endParaRPr lang="en-US" altLang="ko-KR" sz="65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위탁관리 부동산 투자회사</a:t>
            </a:r>
          </a:p>
        </p:txBody>
      </p:sp>
      <p:sp>
        <p:nvSpPr>
          <p:cNvPr id="97" name="모서리가 둥근 직사각형 167">
            <a:extLst>
              <a:ext uri="{FF2B5EF4-FFF2-40B4-BE49-F238E27FC236}">
                <a16:creationId xmlns:a16="http://schemas.microsoft.com/office/drawing/2014/main" id="{95ADFA90-D61C-2C35-87AD-C4956130005E}"/>
              </a:ext>
            </a:extLst>
          </p:cNvPr>
          <p:cNvSpPr/>
          <p:nvPr/>
        </p:nvSpPr>
        <p:spPr>
          <a:xfrm>
            <a:off x="6764991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크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나</a:t>
            </a:r>
          </a:p>
        </p:txBody>
      </p:sp>
      <p:sp>
        <p:nvSpPr>
          <p:cNvPr id="98" name="모서리가 둥근 직사각형 167">
            <a:extLst>
              <a:ext uri="{FF2B5EF4-FFF2-40B4-BE49-F238E27FC236}">
                <a16:creationId xmlns:a16="http://schemas.microsoft.com/office/drawing/2014/main" id="{6C9F9A0C-F3E6-38B1-EB8C-28E3B526E5D3}"/>
              </a:ext>
            </a:extLst>
          </p:cNvPr>
          <p:cNvSpPr/>
          <p:nvPr/>
        </p:nvSpPr>
        <p:spPr>
          <a:xfrm>
            <a:off x="7425952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통영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코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파워</a:t>
            </a: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BFD0E09D-0489-D186-ADDA-EFA5E1D5B42D}"/>
              </a:ext>
            </a:extLst>
          </p:cNvPr>
          <p:cNvSpPr/>
          <p:nvPr/>
        </p:nvSpPr>
        <p:spPr>
          <a:xfrm>
            <a:off x="8086913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북항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브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</a:t>
            </a:r>
          </a:p>
        </p:txBody>
      </p:sp>
      <p:sp>
        <p:nvSpPr>
          <p:cNvPr id="100" name="모서리가 둥근 직사각형 167">
            <a:extLst>
              <a:ext uri="{FF2B5EF4-FFF2-40B4-BE49-F238E27FC236}">
                <a16:creationId xmlns:a16="http://schemas.microsoft.com/office/drawing/2014/main" id="{97494374-1312-BA3E-9FBD-AD9531D1702E}"/>
              </a:ext>
            </a:extLst>
          </p:cNvPr>
          <p:cNvSpPr/>
          <p:nvPr/>
        </p:nvSpPr>
        <p:spPr>
          <a:xfrm>
            <a:off x="8747874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산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7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CONT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터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널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1" name="모서리가 둥근 직사각형 167">
            <a:extLst>
              <a:ext uri="{FF2B5EF4-FFF2-40B4-BE49-F238E27FC236}">
                <a16:creationId xmlns:a16="http://schemas.microsoft.com/office/drawing/2014/main" id="{DB98A883-66ED-16E3-A9E5-C83A97919401}"/>
              </a:ext>
            </a:extLst>
          </p:cNvPr>
          <p:cNvSpPr/>
          <p:nvPr/>
        </p:nvSpPr>
        <p:spPr>
          <a:xfrm>
            <a:off x="9408835" y="319407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울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춘천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고속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로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2" name="직선 화살표 연결선 101">
            <a:extLst>
              <a:ext uri="{FF2B5EF4-FFF2-40B4-BE49-F238E27FC236}">
                <a16:creationId xmlns:a16="http://schemas.microsoft.com/office/drawing/2014/main" id="{F2A7325C-D4B5-6D8B-FD1C-7DE305CF3C47}"/>
              </a:ext>
            </a:extLst>
          </p:cNvPr>
          <p:cNvCxnSpPr>
            <a:cxnSpLocks/>
            <a:endCxn id="105" idx="0"/>
          </p:cNvCxnSpPr>
          <p:nvPr/>
        </p:nvCxnSpPr>
        <p:spPr>
          <a:xfrm>
            <a:off x="981578" y="3623529"/>
            <a:ext cx="6668" cy="1608998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타원 102">
            <a:extLst>
              <a:ext uri="{FF2B5EF4-FFF2-40B4-BE49-F238E27FC236}">
                <a16:creationId xmlns:a16="http://schemas.microsoft.com/office/drawing/2014/main" id="{5DBA4940-FB2C-FD71-A63F-0A4A62D7A969}"/>
              </a:ext>
            </a:extLst>
          </p:cNvPr>
          <p:cNvSpPr/>
          <p:nvPr/>
        </p:nvSpPr>
        <p:spPr>
          <a:xfrm>
            <a:off x="693578" y="475391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4.1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4" name="모서리가 둥근 직사각형 167">
            <a:extLst>
              <a:ext uri="{FF2B5EF4-FFF2-40B4-BE49-F238E27FC236}">
                <a16:creationId xmlns:a16="http://schemas.microsoft.com/office/drawing/2014/main" id="{66BB9351-79FA-A054-E3E4-1BC56DC52B32}"/>
              </a:ext>
            </a:extLst>
          </p:cNvPr>
          <p:cNvSpPr/>
          <p:nvPr/>
        </p:nvSpPr>
        <p:spPr>
          <a:xfrm>
            <a:off x="802309" y="319954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앤</a:t>
            </a:r>
            <a:endParaRPr lang="en-US" altLang="ko-KR" sz="900" b="1">
              <a:solidFill>
                <a:prstClr val="white"/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콘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05" name="모서리가 둥근 직사각형 167">
            <a:extLst>
              <a:ext uri="{FF2B5EF4-FFF2-40B4-BE49-F238E27FC236}">
                <a16:creationId xmlns:a16="http://schemas.microsoft.com/office/drawing/2014/main" id="{4E23DF18-CE79-42E2-F7E2-95C1657A8EAC}"/>
              </a:ext>
            </a:extLst>
          </p:cNvPr>
          <p:cNvSpPr/>
          <p:nvPr/>
        </p:nvSpPr>
        <p:spPr>
          <a:xfrm>
            <a:off x="802309" y="523252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마스턴 </a:t>
            </a:r>
            <a:r>
              <a:rPr lang="ko-KR" altLang="en-US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lang="en-US" altLang="ko-KR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13</a:t>
            </a:r>
            <a:r>
              <a:rPr lang="ko-KR" altLang="en-US" sz="6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 </a:t>
            </a:r>
            <a:r>
              <a:rPr lang="ko-KR" altLang="en-US" sz="7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로지스</a:t>
            </a:r>
            <a:r>
              <a:rPr lang="ko-KR" altLang="en-US" sz="7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ko-KR" altLang="en-US" sz="7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포인트서운</a:t>
            </a:r>
            <a:endParaRPr lang="en-US" altLang="ko-KR" sz="7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</a:t>
            </a:r>
            <a:r>
              <a:rPr lang="en-US" altLang="ko-KR" sz="7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V</a:t>
            </a:r>
            <a:endParaRPr kumimoji="0" lang="en-US" altLang="ko-KR" sz="7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6" name="직선 화살표 연결선 105">
            <a:extLst>
              <a:ext uri="{FF2B5EF4-FFF2-40B4-BE49-F238E27FC236}">
                <a16:creationId xmlns:a16="http://schemas.microsoft.com/office/drawing/2014/main" id="{FDF433A4-B192-70DD-79D4-FAF13A00CD3C}"/>
              </a:ext>
            </a:extLst>
          </p:cNvPr>
          <p:cNvCxnSpPr>
            <a:cxnSpLocks/>
          </p:cNvCxnSpPr>
          <p:nvPr/>
        </p:nvCxnSpPr>
        <p:spPr>
          <a:xfrm>
            <a:off x="7837266" y="4886943"/>
            <a:ext cx="0" cy="36000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타원 106">
            <a:extLst>
              <a:ext uri="{FF2B5EF4-FFF2-40B4-BE49-F238E27FC236}">
                <a16:creationId xmlns:a16="http://schemas.microsoft.com/office/drawing/2014/main" id="{CEFD7A67-87AD-2F42-833F-2850A1C66509}"/>
              </a:ext>
            </a:extLst>
          </p:cNvPr>
          <p:cNvSpPr/>
          <p:nvPr/>
        </p:nvSpPr>
        <p:spPr>
          <a:xfrm>
            <a:off x="7548380" y="4997043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err="1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08" name="직선 화살표 연결선 107">
            <a:extLst>
              <a:ext uri="{FF2B5EF4-FFF2-40B4-BE49-F238E27FC236}">
                <a16:creationId xmlns:a16="http://schemas.microsoft.com/office/drawing/2014/main" id="{3352BB72-21E0-4A18-EB3E-61E982D6F87F}"/>
              </a:ext>
            </a:extLst>
          </p:cNvPr>
          <p:cNvCxnSpPr>
            <a:cxnSpLocks/>
            <a:endCxn id="110" idx="0"/>
          </p:cNvCxnSpPr>
          <p:nvPr/>
        </p:nvCxnSpPr>
        <p:spPr>
          <a:xfrm>
            <a:off x="1475959" y="4068203"/>
            <a:ext cx="0" cy="342404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59B1F994-4CE6-EF57-2515-73AED9166F49}"/>
              </a:ext>
            </a:extLst>
          </p:cNvPr>
          <p:cNvCxnSpPr>
            <a:cxnSpLocks/>
          </p:cNvCxnSpPr>
          <p:nvPr/>
        </p:nvCxnSpPr>
        <p:spPr>
          <a:xfrm>
            <a:off x="1810882" y="4067582"/>
            <a:ext cx="0" cy="343025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모서리가 둥근 직사각형 167">
            <a:extLst>
              <a:ext uri="{FF2B5EF4-FFF2-40B4-BE49-F238E27FC236}">
                <a16:creationId xmlns:a16="http://schemas.microsoft.com/office/drawing/2014/main" id="{842E83FB-3E0F-2272-F181-0F1C3A8C44E2}"/>
              </a:ext>
            </a:extLst>
          </p:cNvPr>
          <p:cNvSpPr/>
          <p:nvPr/>
        </p:nvSpPr>
        <p:spPr>
          <a:xfrm>
            <a:off x="1290022" y="441060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 </a:t>
            </a: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폴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리</a:t>
            </a:r>
            <a:endParaRPr kumimoji="0" lang="en-US" altLang="ko-KR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올</a:t>
            </a:r>
            <a:endParaRPr kumimoji="0" lang="en-US" altLang="ko-KR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1" name="모서리가 둥근 직사각형 167">
            <a:extLst>
              <a:ext uri="{FF2B5EF4-FFF2-40B4-BE49-F238E27FC236}">
                <a16:creationId xmlns:a16="http://schemas.microsoft.com/office/drawing/2014/main" id="{1488D0CD-9BB6-8D3F-28B1-798CB0E3B6DA}"/>
              </a:ext>
            </a:extLst>
          </p:cNvPr>
          <p:cNvSpPr/>
          <p:nvPr/>
        </p:nvSpPr>
        <p:spPr>
          <a:xfrm>
            <a:off x="1692335" y="4410607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씨제이</a:t>
            </a:r>
            <a:r>
              <a:rPr lang="ko-KR" altLang="en-US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</a:t>
            </a:r>
            <a:r>
              <a:rPr lang="en-US" altLang="ko-KR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DC </a:t>
            </a:r>
            <a:r>
              <a:rPr lang="ko-KR" altLang="en-US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</a:t>
            </a:r>
            <a:endParaRPr lang="en-US" altLang="ko-KR" sz="8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오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솔</a:t>
            </a:r>
            <a:endParaRPr kumimoji="0" lang="en-US" altLang="ko-KR" sz="8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12" name="직선 화살표 연결선 111">
            <a:extLst>
              <a:ext uri="{FF2B5EF4-FFF2-40B4-BE49-F238E27FC236}">
                <a16:creationId xmlns:a16="http://schemas.microsoft.com/office/drawing/2014/main" id="{B3169046-14AD-8948-7199-52E88ABD476B}"/>
              </a:ext>
            </a:extLst>
          </p:cNvPr>
          <p:cNvCxnSpPr>
            <a:cxnSpLocks/>
            <a:endCxn id="113" idx="0"/>
          </p:cNvCxnSpPr>
          <p:nvPr/>
        </p:nvCxnSpPr>
        <p:spPr>
          <a:xfrm flipH="1">
            <a:off x="5625577" y="4067582"/>
            <a:ext cx="5893" cy="281352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모서리가 둥근 직사각형 167">
            <a:extLst>
              <a:ext uri="{FF2B5EF4-FFF2-40B4-BE49-F238E27FC236}">
                <a16:creationId xmlns:a16="http://schemas.microsoft.com/office/drawing/2014/main" id="{68DD0D29-E4F8-C2D6-2A7D-759C778B89A8}"/>
              </a:ext>
            </a:extLst>
          </p:cNvPr>
          <p:cNvSpPr/>
          <p:nvPr/>
        </p:nvSpPr>
        <p:spPr>
          <a:xfrm>
            <a:off x="5439640" y="4348934"/>
            <a:ext cx="371874" cy="463537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미</a:t>
            </a:r>
            <a:r>
              <a:rPr kumimoji="0" lang="ko-KR" altLang="en-US" sz="800" b="1" i="0" u="none" strike="noStrike" kern="1200" cap="none" spc="0" normalizeH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래</a:t>
            </a:r>
            <a:endParaRPr kumimoji="0" lang="en-US" altLang="ko-KR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비</a:t>
            </a: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</a:t>
            </a: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  <a:endParaRPr kumimoji="0" lang="en-US" altLang="ko-KR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4" name="타원 113">
            <a:extLst>
              <a:ext uri="{FF2B5EF4-FFF2-40B4-BE49-F238E27FC236}">
                <a16:creationId xmlns:a16="http://schemas.microsoft.com/office/drawing/2014/main" id="{425F93E1-827D-D31C-11CC-5E1E9DD9E6DD}"/>
              </a:ext>
            </a:extLst>
          </p:cNvPr>
          <p:cNvSpPr/>
          <p:nvPr/>
        </p:nvSpPr>
        <p:spPr>
          <a:xfrm>
            <a:off x="1181300" y="415612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0.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5" name="타원 114">
            <a:extLst>
              <a:ext uri="{FF2B5EF4-FFF2-40B4-BE49-F238E27FC236}">
                <a16:creationId xmlns:a16="http://schemas.microsoft.com/office/drawing/2014/main" id="{5E1146EC-59F6-E645-605C-0F5177D025C3}"/>
              </a:ext>
            </a:extLst>
          </p:cNvPr>
          <p:cNvSpPr/>
          <p:nvPr/>
        </p:nvSpPr>
        <p:spPr>
          <a:xfrm>
            <a:off x="1599893" y="415612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1.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6" name="타원 115">
            <a:extLst>
              <a:ext uri="{FF2B5EF4-FFF2-40B4-BE49-F238E27FC236}">
                <a16:creationId xmlns:a16="http://schemas.microsoft.com/office/drawing/2014/main" id="{2AC589B8-73F9-534E-FE89-705E0FD38017}"/>
              </a:ext>
            </a:extLst>
          </p:cNvPr>
          <p:cNvSpPr/>
          <p:nvPr/>
        </p:nvSpPr>
        <p:spPr>
          <a:xfrm>
            <a:off x="5341868" y="410383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4.5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92182F85-2E5B-1022-D3B5-2D6C10EE4A04}"/>
              </a:ext>
            </a:extLst>
          </p:cNvPr>
          <p:cNvSpPr/>
          <p:nvPr/>
        </p:nvSpPr>
        <p:spPr>
          <a:xfrm>
            <a:off x="7844788" y="1688162"/>
            <a:ext cx="1560779" cy="1028110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7" name="모서리가 둥근 직사각형 167">
            <a:extLst>
              <a:ext uri="{FF2B5EF4-FFF2-40B4-BE49-F238E27FC236}">
                <a16:creationId xmlns:a16="http://schemas.microsoft.com/office/drawing/2014/main" id="{7E94EDDB-9892-777D-AC7A-B5C5DA4790EF}"/>
              </a:ext>
            </a:extLst>
          </p:cNvPr>
          <p:cNvSpPr/>
          <p:nvPr/>
        </p:nvSpPr>
        <p:spPr>
          <a:xfrm>
            <a:off x="7928756" y="1925505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C66DD73F-547C-E995-056B-3A4B132C7AD5}"/>
              </a:ext>
            </a:extLst>
          </p:cNvPr>
          <p:cNvSpPr/>
          <p:nvPr/>
        </p:nvSpPr>
        <p:spPr>
          <a:xfrm>
            <a:off x="7928756" y="2180254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BDB68902-DEFB-E95C-D613-58FD63C6CD6E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99D12128-DE31-F255-26FD-6C432EF5C607}"/>
              </a:ext>
            </a:extLst>
          </p:cNvPr>
          <p:cNvSpPr/>
          <p:nvPr/>
        </p:nvSpPr>
        <p:spPr>
          <a:xfrm>
            <a:off x="7928756" y="2440632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FD2395C6-C9CE-A405-89B0-EC6B906BD92B}"/>
              </a:ext>
            </a:extLst>
          </p:cNvPr>
          <p:cNvSpPr/>
          <p:nvPr/>
        </p:nvSpPr>
        <p:spPr>
          <a:xfrm>
            <a:off x="8293213" y="1924747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3" name="모서리가 둥근 직사각형 167">
            <a:extLst>
              <a:ext uri="{FF2B5EF4-FFF2-40B4-BE49-F238E27FC236}">
                <a16:creationId xmlns:a16="http://schemas.microsoft.com/office/drawing/2014/main" id="{F868FD94-C963-3A04-D26C-BCC6CC463641}"/>
              </a:ext>
            </a:extLst>
          </p:cNvPr>
          <p:cNvSpPr/>
          <p:nvPr/>
        </p:nvSpPr>
        <p:spPr>
          <a:xfrm>
            <a:off x="8293212" y="2176081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31B9D89E-D495-2AE2-C84A-C8EEE7735CB8}"/>
              </a:ext>
            </a:extLst>
          </p:cNvPr>
          <p:cNvSpPr/>
          <p:nvPr/>
        </p:nvSpPr>
        <p:spPr>
          <a:xfrm>
            <a:off x="8293213" y="2436435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81224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kumimoji="0" lang="ko-K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자금조달 필요성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801824F-C316-B19F-D1BE-4F8CC42AEB75}"/>
              </a:ext>
            </a:extLst>
          </p:cNvPr>
          <p:cNvSpPr/>
          <p:nvPr/>
        </p:nvSpPr>
        <p:spPr>
          <a:xfrm>
            <a:off x="488950" y="1724907"/>
            <a:ext cx="826503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AEECD132-FC8F-8787-7870-376871268EA4}"/>
              </a:ext>
            </a:extLst>
          </p:cNvPr>
          <p:cNvSpPr/>
          <p:nvPr/>
        </p:nvSpPr>
        <p:spPr>
          <a:xfrm>
            <a:off x="1379622" y="1724907"/>
            <a:ext cx="5111572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 건설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만에 재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권 밖으로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임대주택 사업 부진에 성장 주춤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4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근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연속 매출이 큰 폭으로 줄어든 데 이어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2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에는 영업적자로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. 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en-US" altLang="ko-KR" sz="900" b="1" u="sng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2</a:t>
            </a:r>
            <a:r>
              <a:rPr lang="ko-KR" altLang="en-US" sz="900" b="1" u="sng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분양수익이 </a:t>
            </a:r>
            <a:r>
              <a:rPr lang="en-US" altLang="ko-KR" sz="900" b="1" u="sng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2%</a:t>
            </a:r>
            <a:r>
              <a:rPr lang="ko-KR" altLang="en-US" sz="900" b="1" u="sng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량 감소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부동산 경기악화 등으로 주택시장이 타격을 입은 지난해 자산총액이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1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360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으로 꺾였고 올해 자산총액은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1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70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으로 조금 더 줄었다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래 신사업 불투명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“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4)</a:t>
            </a: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      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산 추락에도 먹거리 발굴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다각화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자리 걸음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 (’23.05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사업 다각화 대신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이중근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회장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초고액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배당</a:t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임대주택 위주 사업 체제를 벗어나지 못하고 있는 만큼 최근 지속되는 주택 시장 침체 여파에 직격탄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10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 가까이 신사업 투자가 없었던 데다 건설경기 침체와 레저사업 부진 등이 겹치면서 최근 부영그룹의 자산 총액은 큰 폭으로 줄었고 재계 순위도 하락세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16C0F064-FA0C-166C-8CE5-A9A8074359AF}"/>
              </a:ext>
            </a:extLst>
          </p:cNvPr>
          <p:cNvSpPr/>
          <p:nvPr/>
        </p:nvSpPr>
        <p:spPr>
          <a:xfrm>
            <a:off x="6555363" y="1724907"/>
            <a:ext cx="2861687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임대주택 사업부진으로 분양수익 급감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적자 전환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고액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배당으로 미래 신사업 투자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X, 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다각화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X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임대주택 위주 사업체제인 부영그룹이 주택시장 침체기를 어떻게 극복할 것인지가 핵심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D6DEED76-CFA5-BC39-174E-BAED52402A0B}"/>
              </a:ext>
            </a:extLst>
          </p:cNvPr>
          <p:cNvSpPr/>
          <p:nvPr/>
        </p:nvSpPr>
        <p:spPr>
          <a:xfrm>
            <a:off x="488950" y="3928656"/>
            <a:ext cx="826503" cy="2092731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2057EE3-FC98-FF50-F1F1-A939D25DC3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7" t="29102" r="29000" b="37511"/>
          <a:stretch/>
        </p:blipFill>
        <p:spPr bwMode="auto">
          <a:xfrm>
            <a:off x="536347" y="2380551"/>
            <a:ext cx="748546" cy="282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게임뷰 모바일 사이트, 꼼꼼하게 비상을 준비한 넷마블, 2022년 상반기 글로벌 흥행 속도 더한다">
            <a:extLst>
              <a:ext uri="{FF2B5EF4-FFF2-40B4-BE49-F238E27FC236}">
                <a16:creationId xmlns:a16="http://schemas.microsoft.com/office/drawing/2014/main" id="{987482C4-71DB-060E-13E9-C6DCED37D4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6" t="8346" r="25155" b="9816"/>
          <a:stretch/>
        </p:blipFill>
        <p:spPr bwMode="auto">
          <a:xfrm>
            <a:off x="571732" y="4218346"/>
            <a:ext cx="689512" cy="63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2CC2882-9E74-D1C4-5BDB-FCCB4B2B6EE8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7C0B6C8-FD11-9BC0-295F-48A639FDBCEE}"/>
              </a:ext>
            </a:extLst>
          </p:cNvPr>
          <p:cNvSpPr/>
          <p:nvPr/>
        </p:nvSpPr>
        <p:spPr>
          <a:xfrm>
            <a:off x="1379622" y="3928656"/>
            <a:ext cx="5111572" cy="2092731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게임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핀엑스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수대금 부담에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허덕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2.11)</a:t>
            </a:r>
            <a:endParaRPr lang="en-US" altLang="ko-KR" sz="105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게임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이브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 매각 검토하나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구조 개선 고민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3) / </a:t>
            </a: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      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2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영업손실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2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..6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연속 적자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8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반기 신작 부재와 기존 게임의 매출 하향화로 인해 부진한 성적 기록</a:t>
            </a:r>
            <a:endParaRPr lang="en-US" altLang="ko-KR" sz="10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둔화로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 </a:t>
            </a:r>
            <a:r>
              <a:rPr lang="ko-KR" altLang="en-US" sz="1000" b="1" u="sng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금창출력이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약화한 가운데 고금리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환율 환경이 이어지자 비핵심자산 매각을 비롯한 다양한 재무구조 개선책 고민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endParaRPr lang="en-US" altLang="ko-KR" sz="105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게임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160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회사채 만기 대응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목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8)  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5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악화에 신용등급 </a:t>
            </a:r>
            <a:r>
              <a:rPr lang="ko-KR" altLang="en-US" sz="105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방</a:t>
            </a:r>
            <a:r>
              <a:rPr lang="ko-KR" altLang="en-US" sz="105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압력 지속</a:t>
            </a:r>
            <a:r>
              <a:rPr lang="en-US" altLang="ko-KR" sz="105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모채 시장 복귀 부담</a:t>
            </a:r>
            <a:br>
              <a:rPr kumimoji="0" lang="en-US" altLang="ko-KR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지난해부터 수익성이 크게 꺾이면서 신용등급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하방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압력도 높아져 차환을 위한 공모조달은 기대하기 어려운 처지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궁극적으로는 넷마블이 보유한 타법인 지분 매각이 주요한 유동성 확보 방안이 될 것</a:t>
            </a:r>
            <a:endParaRPr kumimoji="0" lang="en-US" altLang="ko-KR" sz="1000" b="1" i="0" u="sng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42D33E7-CE17-0F0B-5DA6-E026A5C515FC}"/>
              </a:ext>
            </a:extLst>
          </p:cNvPr>
          <p:cNvSpPr/>
          <p:nvPr/>
        </p:nvSpPr>
        <p:spPr>
          <a:xfrm>
            <a:off x="6555363" y="3928656"/>
            <a:ext cx="2861687" cy="2092731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넷마블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웨이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핀엑스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이은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부채 부담 가중된 상황에서 영업 현금 </a:t>
            </a:r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창출력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약화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구조 개선 위해 자금 조달 루트 다변화 및 보유 자회사 지분 매각 검토 중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5048567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HDC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산업개발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업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축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위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래도시 플랫폼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민간도시 및 대단지를 개발하고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병원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피스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텔 등 건설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광주 ‘학동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구역’ 재개발 참사와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광주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정아이아크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신축공사에서 붕괴사고 발생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3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자체주택 사업 매출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13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으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천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8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의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의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준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속되는 건설경기 둔화와 하도급 원가 상승분의 영향 등으로 원가율 증가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붕괴사고 발생 이후 시공능력평가에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권 밖으로 밀렸으며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해 상반기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 건설사 중 단 한 건의 도시정비사업도 수주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산업개발 신용등급이 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+’(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향검토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서 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’(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정적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으로 하향조정</a:t>
            </a:r>
            <a:endParaRPr lang="en-US" altLang="ko-KR" sz="9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붕괴된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화정아이파크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아파트 철거에 돌입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철거 비용 및 재건축으로 약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377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이 소요되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사비가 증가함에 따라 재무적인 부담이 더 늘어날 가능성 有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 국토부에서 영업정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또는 건설업 정지 행정처분 요청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재판결과에 따라 서울시 행정처분 있을 예정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산업개발</a:t>
            </a:r>
          </a:p>
        </p:txBody>
      </p:sp>
      <p:pic>
        <p:nvPicPr>
          <p:cNvPr id="14340" name="Picture 4" descr="CI/BI | HDC현대산업개발">
            <a:extLst>
              <a:ext uri="{FF2B5EF4-FFF2-40B4-BE49-F238E27FC236}">
                <a16:creationId xmlns:a16="http://schemas.microsoft.com/office/drawing/2014/main" id="{7BBB3DB1-FA4E-E662-1932-94EB763592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3" t="23014" r="7776" b="19680"/>
          <a:stretch/>
        </p:blipFill>
        <p:spPr bwMode="auto">
          <a:xfrm>
            <a:off x="540360" y="2328302"/>
            <a:ext cx="1524636" cy="404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차트 6">
            <a:extLst>
              <a:ext uri="{FF2B5EF4-FFF2-40B4-BE49-F238E27FC236}">
                <a16:creationId xmlns:a16="http://schemas.microsoft.com/office/drawing/2014/main" id="{A06E36A8-4C1F-2E56-2F39-97412908D0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0274512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차트 11">
            <a:extLst>
              <a:ext uri="{FF2B5EF4-FFF2-40B4-BE49-F238E27FC236}">
                <a16:creationId xmlns:a16="http://schemas.microsoft.com/office/drawing/2014/main" id="{2F5C07BA-1ECF-4033-C1C6-F6ED15DBF1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1247586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39575633-18CA-CE6B-2462-ED142BAEA536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C1C4DF-1588-18DE-37EA-9F73E8DF88A6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4344D5-8725-883C-73C3-538EF7B26AA6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1D4012-D299-0C0C-6A4C-F1BB5197D531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19" name="차트 18">
            <a:extLst>
              <a:ext uri="{FF2B5EF4-FFF2-40B4-BE49-F238E27FC236}">
                <a16:creationId xmlns:a16="http://schemas.microsoft.com/office/drawing/2014/main" id="{CE8E66D5-5010-4873-06AB-7D6B8ED8E8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0521545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8F22145C-B5C4-3A47-A0D7-59B40BB98947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9366848-8CE1-56BF-F1C3-81FF20246632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525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HDC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P, HDC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랩스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6" y="1440000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pic>
        <p:nvPicPr>
          <p:cNvPr id="16388" name="Picture 4" descr="HDC현대EP">
            <a:extLst>
              <a:ext uri="{FF2B5EF4-FFF2-40B4-BE49-F238E27FC236}">
                <a16:creationId xmlns:a16="http://schemas.microsoft.com/office/drawing/2014/main" id="{6FA8E942-9460-2504-E153-7C06E7145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611" y="2158323"/>
            <a:ext cx="1517245" cy="7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BC279F-D7AA-C20A-2FE4-524427825D8D}"/>
              </a:ext>
            </a:extLst>
          </p:cNvPr>
          <p:cNvSpPr txBox="1"/>
          <p:nvPr/>
        </p:nvSpPr>
        <p:spPr>
          <a:xfrm>
            <a:off x="2087857" y="1837651"/>
            <a:ext cx="277148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첨단 엔지니어링 플라스틱 재료를 제조하며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동차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자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생활용품 등 다양한 산업분야에서 성장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 </a:t>
            </a:r>
            <a:r>
              <a:rPr lang="ko-KR" altLang="en-US" sz="900" b="1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국내 자동차분야 </a:t>
            </a:r>
            <a:r>
              <a:rPr lang="ko-KR" altLang="en-US" sz="900" b="1" i="0" err="1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복합폴리프로필렌</a:t>
            </a:r>
            <a:r>
              <a:rPr lang="ko-KR" altLang="en-US" sz="900" b="1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시장점유율 </a:t>
            </a:r>
            <a:r>
              <a:rPr lang="en-US" altLang="ko-KR" sz="900" b="1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solidFill>
                  <a:srgbClr val="333333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를 차지</a:t>
            </a:r>
            <a:endParaRPr lang="en-US" altLang="ko-KR" sz="900" b="1" i="0">
              <a:solidFill>
                <a:srgbClr val="333333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O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문은 자동차 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내외장재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소재 등으로 쓰이는 복합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P·PE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생산하고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PS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문은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IPS(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냉장고 내상 시트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, GPPS(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축용 단열재 등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, EPS(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열재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·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완충 포장재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생산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E3DA101E-07AE-FA0F-1CAB-33F8A1CBD64C}"/>
              </a:ext>
            </a:extLst>
          </p:cNvPr>
          <p:cNvSpPr/>
          <p:nvPr/>
        </p:nvSpPr>
        <p:spPr>
          <a:xfrm>
            <a:off x="488950" y="1813560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8238AE5-DDF5-5E8D-75BB-713AC58B9CFC}"/>
              </a:ext>
            </a:extLst>
          </p:cNvPr>
          <p:cNvSpPr/>
          <p:nvPr/>
        </p:nvSpPr>
        <p:spPr>
          <a:xfrm>
            <a:off x="5046665" y="1443233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6F97E6A-1650-1D20-AF01-4ABC5E606D37}"/>
              </a:ext>
            </a:extLst>
          </p:cNvPr>
          <p:cNvSpPr/>
          <p:nvPr/>
        </p:nvSpPr>
        <p:spPr>
          <a:xfrm>
            <a:off x="6645571" y="1443233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2A1BEFFD-B22E-F3B5-4C6D-698A5DBFF70A}"/>
              </a:ext>
            </a:extLst>
          </p:cNvPr>
          <p:cNvSpPr/>
          <p:nvPr/>
        </p:nvSpPr>
        <p:spPr>
          <a:xfrm>
            <a:off x="5046662" y="1812162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3E522B-A8E8-B643-1E97-2339585DDB36}"/>
              </a:ext>
            </a:extLst>
          </p:cNvPr>
          <p:cNvSpPr txBox="1"/>
          <p:nvPr/>
        </p:nvSpPr>
        <p:spPr>
          <a:xfrm>
            <a:off x="5414115" y="1706067"/>
            <a:ext cx="86400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랩스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788347" y="1707465"/>
            <a:ext cx="949205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대</a:t>
            </a: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P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2DC15F-E28D-E381-A4EF-0441A4E86CBF}"/>
              </a:ext>
            </a:extLst>
          </p:cNvPr>
          <p:cNvSpPr txBox="1"/>
          <p:nvPr/>
        </p:nvSpPr>
        <p:spPr>
          <a:xfrm>
            <a:off x="6649854" y="1831076"/>
            <a:ext cx="277148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콘트롤스가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서비스를 흡수합병해 탄생한 기업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존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콘트롤스는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건설사를 주요 고객으로 삼아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T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공을 주로 진행했으나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서비스를 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흡수합병하면서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부동산서비스업으로 사 영역 확장</a:t>
            </a:r>
            <a:endParaRPr kumimoji="1" lang="en-US" altLang="ko-KR" sz="9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kumimoji="1" lang="ko-KR" altLang="en-US" sz="9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랩스의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업은 홈서비스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마트빌딩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IBS), SOC, M&amp;E, </a:t>
            </a:r>
            <a:r>
              <a:rPr kumimoji="1" lang="ko-KR" altLang="en-US" sz="9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얼티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테리어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경 등 </a:t>
            </a:r>
            <a:r>
              <a:rPr kumimoji="1"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kumimoji="1" lang="ko-KR" altLang="en-US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 부문</a:t>
            </a:r>
          </a:p>
        </p:txBody>
      </p:sp>
      <p:pic>
        <p:nvPicPr>
          <p:cNvPr id="16390" name="Picture 6" descr="에이치디씨랩스(주) 2023년 기업정보 | 사원수, 회사소개, 근무환경, 복리후생 등 - 사람인">
            <a:extLst>
              <a:ext uri="{FF2B5EF4-FFF2-40B4-BE49-F238E27FC236}">
                <a16:creationId xmlns:a16="http://schemas.microsoft.com/office/drawing/2014/main" id="{8D33CB07-3512-4F6B-BB47-5D8C656D55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296" y="2414432"/>
            <a:ext cx="1453369" cy="306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F1A3A4AC-DE31-BB3B-D5CC-DDC94A442107}"/>
              </a:ext>
            </a:extLst>
          </p:cNvPr>
          <p:cNvSpPr txBox="1"/>
          <p:nvPr/>
        </p:nvSpPr>
        <p:spPr>
          <a:xfrm>
            <a:off x="5070218" y="3554410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43" name="차트 42">
            <a:extLst>
              <a:ext uri="{FF2B5EF4-FFF2-40B4-BE49-F238E27FC236}">
                <a16:creationId xmlns:a16="http://schemas.microsoft.com/office/drawing/2014/main" id="{701E204A-4E30-EBA6-DB35-ABC50A7D69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9187105"/>
              </p:ext>
            </p:extLst>
          </p:nvPr>
        </p:nvGraphicFramePr>
        <p:xfrm>
          <a:off x="373826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985657FE-19CD-5EB1-B74A-15515E3DA6F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495836-E42C-D71D-8EA4-13CFC170401C}"/>
              </a:ext>
            </a:extLst>
          </p:cNvPr>
          <p:cNvSpPr txBox="1"/>
          <p:nvPr/>
        </p:nvSpPr>
        <p:spPr>
          <a:xfrm>
            <a:off x="2896472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8B8EFC-EBC2-C633-EE86-427261F86EDD}"/>
              </a:ext>
            </a:extLst>
          </p:cNvPr>
          <p:cNvSpPr txBox="1"/>
          <p:nvPr/>
        </p:nvSpPr>
        <p:spPr>
          <a:xfrm>
            <a:off x="2868356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50" name="차트 49">
            <a:extLst>
              <a:ext uri="{FF2B5EF4-FFF2-40B4-BE49-F238E27FC236}">
                <a16:creationId xmlns:a16="http://schemas.microsoft.com/office/drawing/2014/main" id="{49D9EA0D-48E0-A3A0-CAAF-038C2FF2A8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2536842"/>
              </p:ext>
            </p:extLst>
          </p:nvPr>
        </p:nvGraphicFramePr>
        <p:xfrm>
          <a:off x="4963382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1" name="TextBox 50">
            <a:extLst>
              <a:ext uri="{FF2B5EF4-FFF2-40B4-BE49-F238E27FC236}">
                <a16:creationId xmlns:a16="http://schemas.microsoft.com/office/drawing/2014/main" id="{C142CBB2-06EE-CF34-40C9-EC131416F7E9}"/>
              </a:ext>
            </a:extLst>
          </p:cNvPr>
          <p:cNvSpPr txBox="1"/>
          <p:nvPr/>
        </p:nvSpPr>
        <p:spPr>
          <a:xfrm>
            <a:off x="5078505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이익률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B81C5F-1717-EE11-A237-92E5797166B1}"/>
              </a:ext>
            </a:extLst>
          </p:cNvPr>
          <p:cNvSpPr txBox="1"/>
          <p:nvPr/>
        </p:nvSpPr>
        <p:spPr>
          <a:xfrm>
            <a:off x="5079709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AB9ADD-1D7D-2198-EF45-1B42FF4B77CE}"/>
              </a:ext>
            </a:extLst>
          </p:cNvPr>
          <p:cNvSpPr txBox="1"/>
          <p:nvPr/>
        </p:nvSpPr>
        <p:spPr>
          <a:xfrm>
            <a:off x="7486028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94B760-0369-25A9-0F08-8957B0CF555B}"/>
              </a:ext>
            </a:extLst>
          </p:cNvPr>
          <p:cNvSpPr txBox="1"/>
          <p:nvPr/>
        </p:nvSpPr>
        <p:spPr>
          <a:xfrm>
            <a:off x="7457912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2508601-458C-7D19-6FCF-191A9470B3A8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564CC1F-9F5D-502A-D60C-A083FF6036CA}"/>
              </a:ext>
            </a:extLst>
          </p:cNvPr>
          <p:cNvSpPr txBox="1"/>
          <p:nvPr/>
        </p:nvSpPr>
        <p:spPr>
          <a:xfrm>
            <a:off x="404833" y="3522966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167FF5-10FA-4C3E-5CC9-8C4495D64CE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60" name="차트 59">
            <a:extLst>
              <a:ext uri="{FF2B5EF4-FFF2-40B4-BE49-F238E27FC236}">
                <a16:creationId xmlns:a16="http://schemas.microsoft.com/office/drawing/2014/main" id="{FCA239EC-83AA-66A1-33B4-B510D1BFCC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4641148"/>
              </p:ext>
            </p:extLst>
          </p:nvPr>
        </p:nvGraphicFramePr>
        <p:xfrm>
          <a:off x="488947" y="3557278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1" name="차트 40">
            <a:extLst>
              <a:ext uri="{FF2B5EF4-FFF2-40B4-BE49-F238E27FC236}">
                <a16:creationId xmlns:a16="http://schemas.microsoft.com/office/drawing/2014/main" id="{B1FED9BB-BA32-A25F-7186-90251A122F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033572"/>
              </p:ext>
            </p:extLst>
          </p:nvPr>
        </p:nvGraphicFramePr>
        <p:xfrm>
          <a:off x="2780143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3" name="차트 62">
            <a:extLst>
              <a:ext uri="{FF2B5EF4-FFF2-40B4-BE49-F238E27FC236}">
                <a16:creationId xmlns:a16="http://schemas.microsoft.com/office/drawing/2014/main" id="{3FC541C7-519A-A38C-4EE5-86933485A3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4307718"/>
              </p:ext>
            </p:extLst>
          </p:nvPr>
        </p:nvGraphicFramePr>
        <p:xfrm>
          <a:off x="5046378" y="3519403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9" name="차트 38">
            <a:extLst>
              <a:ext uri="{FF2B5EF4-FFF2-40B4-BE49-F238E27FC236}">
                <a16:creationId xmlns:a16="http://schemas.microsoft.com/office/drawing/2014/main" id="{1A2BDD92-0E6F-EA0B-7B8B-308858909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9282122"/>
              </p:ext>
            </p:extLst>
          </p:nvPr>
        </p:nvGraphicFramePr>
        <p:xfrm>
          <a:off x="7369699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3112940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텔신라와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합작해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을 설립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여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5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 서울 용산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파크몰에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아이파크면세점을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점</a:t>
            </a:r>
            <a:br>
              <a:rPr kumimoji="1"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1"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kumimoji="1"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과는 별도의 지점으로 분류됨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코로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인해 관광객이 줄면서 면세업계 전반적으로 실적이 크게 하락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공항면세점이 아닌 시내면세점</a:t>
            </a:r>
            <a:b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코로나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9 </a:t>
            </a:r>
            <a:r>
              <a:rPr lang="ko-KR" altLang="en-US" sz="900" b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엔데믹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환에도 수혜가 크지는 않을 것으로 전망됨</a:t>
            </a:r>
            <a:endParaRPr lang="en-US" altLang="ko-KR" sz="900" b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텔신라는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에 투자한 금액을 전액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손상차손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처리하고 시내면세점보다 공항면세점에 집중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이 지난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6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의 순손실을 내면서 장부금액에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 이하로 감소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호텔신라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두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말 기준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의 지분법 적용을 중단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나 호텔신라의 추가 출자가 불가피하지만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까지 성사 가능성은 불투명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계 관계자에 따르면 사실상 시장 회복이 어려운 가운데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이 사업을 정상 가동하기 위해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수혈이 필수적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813C63-4BFA-51A8-8A4A-D192A6D43E62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61C336-1C9F-EC57-6E28-45B584A0D7C8}"/>
              </a:ext>
            </a:extLst>
          </p:cNvPr>
          <p:cNvSpPr txBox="1"/>
          <p:nvPr/>
        </p:nvSpPr>
        <p:spPr>
          <a:xfrm>
            <a:off x="2596231" y="5280197"/>
            <a:ext cx="2214978" cy="218449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85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D542AC83-C934-B624-D844-2B91E2DA737A}"/>
              </a:ext>
            </a:extLst>
          </p:cNvPr>
          <p:cNvCxnSpPr>
            <a:cxnSpLocks/>
          </p:cNvCxnSpPr>
          <p:nvPr/>
        </p:nvCxnSpPr>
        <p:spPr>
          <a:xfrm>
            <a:off x="594360" y="5504335"/>
            <a:ext cx="4152900" cy="0"/>
          </a:xfrm>
          <a:prstGeom prst="line">
            <a:avLst/>
          </a:prstGeom>
          <a:ln w="15875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4FC41D99-E571-5627-FD38-D3A0AD0345E5}"/>
              </a:ext>
            </a:extLst>
          </p:cNvPr>
          <p:cNvCxnSpPr/>
          <p:nvPr/>
        </p:nvCxnSpPr>
        <p:spPr>
          <a:xfrm>
            <a:off x="4811209" y="5494251"/>
            <a:ext cx="0" cy="266700"/>
          </a:xfrm>
          <a:prstGeom prst="straightConnector1">
            <a:avLst/>
          </a:prstGeom>
          <a:ln w="12700">
            <a:solidFill>
              <a:srgbClr val="C0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차트 20">
            <a:extLst>
              <a:ext uri="{FF2B5EF4-FFF2-40B4-BE49-F238E27FC236}">
                <a16:creationId xmlns:a16="http://schemas.microsoft.com/office/drawing/2014/main" id="{F48C0469-A77B-2577-B96F-C2D998171B2A}"/>
              </a:ext>
            </a:extLst>
          </p:cNvPr>
          <p:cNvGraphicFramePr/>
          <p:nvPr/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3314" name="Picture 2" descr="신라면세점 - 나무위키">
            <a:extLst>
              <a:ext uri="{FF2B5EF4-FFF2-40B4-BE49-F238E27FC236}">
                <a16:creationId xmlns:a16="http://schemas.microsoft.com/office/drawing/2014/main" id="{A987CCC8-0491-F38A-388D-4813066AB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67" y="2222469"/>
            <a:ext cx="1547889" cy="664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598D20D2-5A07-922F-0B94-03A1D7AFB2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6541968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590E2540-4DE2-7084-DE47-F74059333997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9C703A-0C41-4D0E-8219-E97543F509A7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39DE113-F54E-22EC-01F5-658C358C8934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2" name="차트 21">
            <a:extLst>
              <a:ext uri="{FF2B5EF4-FFF2-40B4-BE49-F238E27FC236}">
                <a16:creationId xmlns:a16="http://schemas.microsoft.com/office/drawing/2014/main" id="{BCED0346-545C-55BD-CE95-6FA1FD5881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5264378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4E78849A-A8E1-4245-7115-B46CB470C4C3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955898E-730F-41A0-926D-F145898C9668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7825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신영그룹</a:t>
            </a:r>
          </a:p>
        </p:txBody>
      </p:sp>
    </p:spTree>
    <p:extLst>
      <p:ext uri="{BB962C8B-B14F-4D97-AF65-F5344CB8AC3E}">
        <p14:creationId xmlns:p14="http://schemas.microsoft.com/office/powerpoint/2010/main" val="428132174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 </a:t>
            </a: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근거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PF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시장 경색으로 인한 실적 악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조달환경 위축된 상황으로 자체자금 수혈을 위한 유동성 확보가 필요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신영이 계열사로부터 차입을 늘리고 있으나 계열사도 영업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/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재무상황이 좋지 않음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추가적으로 매출이 급감한 대농에 대한 관리 방향 고려 필요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49" name="직선 연결선 148">
            <a:extLst>
              <a:ext uri="{FF2B5EF4-FFF2-40B4-BE49-F238E27FC236}">
                <a16:creationId xmlns:a16="http://schemas.microsoft.com/office/drawing/2014/main" id="{D1612AEF-2163-D425-B1E7-8F1555C6CFA1}"/>
              </a:ext>
            </a:extLst>
          </p:cNvPr>
          <p:cNvCxnSpPr>
            <a:cxnSpLocks/>
          </p:cNvCxnSpPr>
          <p:nvPr/>
        </p:nvCxnSpPr>
        <p:spPr>
          <a:xfrm>
            <a:off x="503453" y="3531705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직사각형 149">
            <a:extLst>
              <a:ext uri="{FF2B5EF4-FFF2-40B4-BE49-F238E27FC236}">
                <a16:creationId xmlns:a16="http://schemas.microsoft.com/office/drawing/2014/main" id="{DB0AE65B-3D35-2E6F-5F0E-3DCFAFB5AF4D}"/>
              </a:ext>
            </a:extLst>
          </p:cNvPr>
          <p:cNvSpPr/>
          <p:nvPr/>
        </p:nvSpPr>
        <p:spPr>
          <a:xfrm>
            <a:off x="4492421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1" name="직사각형 150">
            <a:extLst>
              <a:ext uri="{FF2B5EF4-FFF2-40B4-BE49-F238E27FC236}">
                <a16:creationId xmlns:a16="http://schemas.microsoft.com/office/drawing/2014/main" id="{69E210D5-8899-067F-F992-BE1F43003B81}"/>
              </a:ext>
            </a:extLst>
          </p:cNvPr>
          <p:cNvSpPr/>
          <p:nvPr/>
        </p:nvSpPr>
        <p:spPr>
          <a:xfrm>
            <a:off x="4492421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2" name="직사각형 151">
            <a:extLst>
              <a:ext uri="{FF2B5EF4-FFF2-40B4-BE49-F238E27FC236}">
                <a16:creationId xmlns:a16="http://schemas.microsoft.com/office/drawing/2014/main" id="{3F82BC73-E18E-6B7B-860E-68461BD285E6}"/>
              </a:ext>
            </a:extLst>
          </p:cNvPr>
          <p:cNvSpPr/>
          <p:nvPr/>
        </p:nvSpPr>
        <p:spPr>
          <a:xfrm>
            <a:off x="4492421" y="282692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3" name="직사각형 152">
            <a:extLst>
              <a:ext uri="{FF2B5EF4-FFF2-40B4-BE49-F238E27FC236}">
                <a16:creationId xmlns:a16="http://schemas.microsoft.com/office/drawing/2014/main" id="{8EA4319E-0D07-769E-C24D-467453356232}"/>
              </a:ext>
            </a:extLst>
          </p:cNvPr>
          <p:cNvSpPr/>
          <p:nvPr/>
        </p:nvSpPr>
        <p:spPr>
          <a:xfrm>
            <a:off x="4492421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4" name="직사각형 153">
            <a:extLst>
              <a:ext uri="{FF2B5EF4-FFF2-40B4-BE49-F238E27FC236}">
                <a16:creationId xmlns:a16="http://schemas.microsoft.com/office/drawing/2014/main" id="{7DC0B346-74D7-CD75-D40C-DCFC548A5863}"/>
              </a:ext>
            </a:extLst>
          </p:cNvPr>
          <p:cNvSpPr/>
          <p:nvPr/>
        </p:nvSpPr>
        <p:spPr>
          <a:xfrm>
            <a:off x="4492421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5" name="직사각형 154">
            <a:extLst>
              <a:ext uri="{FF2B5EF4-FFF2-40B4-BE49-F238E27FC236}">
                <a16:creationId xmlns:a16="http://schemas.microsoft.com/office/drawing/2014/main" id="{0D2F6888-933F-393E-0ED1-558C8E1F2917}"/>
              </a:ext>
            </a:extLst>
          </p:cNvPr>
          <p:cNvSpPr/>
          <p:nvPr/>
        </p:nvSpPr>
        <p:spPr>
          <a:xfrm>
            <a:off x="6907453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6" name="직사각형 155">
            <a:extLst>
              <a:ext uri="{FF2B5EF4-FFF2-40B4-BE49-F238E27FC236}">
                <a16:creationId xmlns:a16="http://schemas.microsoft.com/office/drawing/2014/main" id="{D75D5094-7D73-0C56-FABC-BBE778E6F3DE}"/>
              </a:ext>
            </a:extLst>
          </p:cNvPr>
          <p:cNvSpPr/>
          <p:nvPr/>
        </p:nvSpPr>
        <p:spPr>
          <a:xfrm>
            <a:off x="6907453" y="264171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7" name="직사각형 156">
            <a:extLst>
              <a:ext uri="{FF2B5EF4-FFF2-40B4-BE49-F238E27FC236}">
                <a16:creationId xmlns:a16="http://schemas.microsoft.com/office/drawing/2014/main" id="{9EC49E5E-4F8D-1FD8-7EA6-AD8CAD59002A}"/>
              </a:ext>
            </a:extLst>
          </p:cNvPr>
          <p:cNvSpPr/>
          <p:nvPr/>
        </p:nvSpPr>
        <p:spPr>
          <a:xfrm>
            <a:off x="6907453" y="282692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8" name="직사각형 157">
            <a:extLst>
              <a:ext uri="{FF2B5EF4-FFF2-40B4-BE49-F238E27FC236}">
                <a16:creationId xmlns:a16="http://schemas.microsoft.com/office/drawing/2014/main" id="{0AC38B8D-52A3-3237-053C-87AFCC161C3C}"/>
              </a:ext>
            </a:extLst>
          </p:cNvPr>
          <p:cNvSpPr/>
          <p:nvPr/>
        </p:nvSpPr>
        <p:spPr>
          <a:xfrm>
            <a:off x="6907453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9" name="직사각형 158">
            <a:extLst>
              <a:ext uri="{FF2B5EF4-FFF2-40B4-BE49-F238E27FC236}">
                <a16:creationId xmlns:a16="http://schemas.microsoft.com/office/drawing/2014/main" id="{5DF09C29-F698-6980-FEDD-2EBCF726397E}"/>
              </a:ext>
            </a:extLst>
          </p:cNvPr>
          <p:cNvSpPr/>
          <p:nvPr/>
        </p:nvSpPr>
        <p:spPr>
          <a:xfrm>
            <a:off x="6907453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0" name="직사각형 159">
            <a:extLst>
              <a:ext uri="{FF2B5EF4-FFF2-40B4-BE49-F238E27FC236}">
                <a16:creationId xmlns:a16="http://schemas.microsoft.com/office/drawing/2014/main" id="{436DE99B-EE7A-3980-A8C8-E6E761B7B14C}"/>
              </a:ext>
            </a:extLst>
          </p:cNvPr>
          <p:cNvSpPr/>
          <p:nvPr/>
        </p:nvSpPr>
        <p:spPr>
          <a:xfrm>
            <a:off x="9322485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1" name="직사각형 160">
            <a:extLst>
              <a:ext uri="{FF2B5EF4-FFF2-40B4-BE49-F238E27FC236}">
                <a16:creationId xmlns:a16="http://schemas.microsoft.com/office/drawing/2014/main" id="{1AE85B8E-BDFF-D130-D3C3-7A0EE95DCBD1}"/>
              </a:ext>
            </a:extLst>
          </p:cNvPr>
          <p:cNvSpPr/>
          <p:nvPr/>
        </p:nvSpPr>
        <p:spPr>
          <a:xfrm>
            <a:off x="9322485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2" name="직사각형 161">
            <a:extLst>
              <a:ext uri="{FF2B5EF4-FFF2-40B4-BE49-F238E27FC236}">
                <a16:creationId xmlns:a16="http://schemas.microsoft.com/office/drawing/2014/main" id="{2028409B-025B-50BC-64A3-789D45B5B0CE}"/>
              </a:ext>
            </a:extLst>
          </p:cNvPr>
          <p:cNvSpPr/>
          <p:nvPr/>
        </p:nvSpPr>
        <p:spPr>
          <a:xfrm>
            <a:off x="9322485" y="282692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3" name="직사각형 162">
            <a:extLst>
              <a:ext uri="{FF2B5EF4-FFF2-40B4-BE49-F238E27FC236}">
                <a16:creationId xmlns:a16="http://schemas.microsoft.com/office/drawing/2014/main" id="{EF83BAF4-2362-EF66-7220-80146423B787}"/>
              </a:ext>
            </a:extLst>
          </p:cNvPr>
          <p:cNvSpPr/>
          <p:nvPr/>
        </p:nvSpPr>
        <p:spPr>
          <a:xfrm>
            <a:off x="9322485" y="301212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4" name="직사각형 163">
            <a:extLst>
              <a:ext uri="{FF2B5EF4-FFF2-40B4-BE49-F238E27FC236}">
                <a16:creationId xmlns:a16="http://schemas.microsoft.com/office/drawing/2014/main" id="{63F8E69A-5847-E9A3-4A63-D4D626231718}"/>
              </a:ext>
            </a:extLst>
          </p:cNvPr>
          <p:cNvSpPr/>
          <p:nvPr/>
        </p:nvSpPr>
        <p:spPr>
          <a:xfrm>
            <a:off x="9322485" y="319732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BF29C61-5051-4D16-1A4F-84AD04986E37}"/>
              </a:ext>
            </a:extLst>
          </p:cNvPr>
          <p:cNvSpPr txBox="1"/>
          <p:nvPr/>
        </p:nvSpPr>
        <p:spPr>
          <a:xfrm>
            <a:off x="2420276" y="241240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적자전환하여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업이익률 </a:t>
            </a:r>
            <a:b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-)53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기록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’2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-)24.5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기록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프로젝트파이낸싱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PF)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시장 경색 등 악재가 겹치면서 실적 악화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25A03813-DE3C-38D3-3052-46CE4D0B9978}"/>
              </a:ext>
            </a:extLst>
          </p:cNvPr>
          <p:cNvSpPr txBox="1"/>
          <p:nvPr/>
        </p:nvSpPr>
        <p:spPr>
          <a:xfrm>
            <a:off x="4789290" y="2406125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조달환경이 위축된 상황이라 딜을 완수하기 위해 자체자금 수혈 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계열사로부터 차입한 금액은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자기자본의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2.66%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여의도엠비씨부지복합개발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V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에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,67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보증 중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6C5E9D15-E50C-9671-3C00-EA98088B62FF}"/>
              </a:ext>
            </a:extLst>
          </p:cNvPr>
          <p:cNvSpPr txBox="1"/>
          <p:nvPr/>
        </p:nvSpPr>
        <p:spPr>
          <a:xfrm>
            <a:off x="7231622" y="241774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동산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디벨로퍼의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특성상</a:t>
            </a:r>
            <a:r>
              <a:rPr lang="en-US" altLang="ko-KR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사업 추진 및 확장을 위해서는</a:t>
            </a:r>
            <a:r>
              <a:rPr lang="ko-KR" altLang="en-US" sz="900" b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지속적인 용지 매입이 필요</a:t>
            </a:r>
          </a:p>
        </p:txBody>
      </p:sp>
      <p:cxnSp>
        <p:nvCxnSpPr>
          <p:cNvPr id="168" name="직선 연결선 167">
            <a:extLst>
              <a:ext uri="{FF2B5EF4-FFF2-40B4-BE49-F238E27FC236}">
                <a16:creationId xmlns:a16="http://schemas.microsoft.com/office/drawing/2014/main" id="{3C47B2D0-ABD9-D52C-67CF-121EB5B4DF4C}"/>
              </a:ext>
            </a:extLst>
          </p:cNvPr>
          <p:cNvCxnSpPr>
            <a:cxnSpLocks/>
          </p:cNvCxnSpPr>
          <p:nvPr/>
        </p:nvCxnSpPr>
        <p:spPr>
          <a:xfrm>
            <a:off x="503453" y="4844837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직사각형 168">
            <a:extLst>
              <a:ext uri="{FF2B5EF4-FFF2-40B4-BE49-F238E27FC236}">
                <a16:creationId xmlns:a16="http://schemas.microsoft.com/office/drawing/2014/main" id="{F8D6552E-148B-31B1-03FB-A3F56476E65F}"/>
              </a:ext>
            </a:extLst>
          </p:cNvPr>
          <p:cNvSpPr/>
          <p:nvPr/>
        </p:nvSpPr>
        <p:spPr>
          <a:xfrm>
            <a:off x="4492421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0" name="직사각형 169">
            <a:extLst>
              <a:ext uri="{FF2B5EF4-FFF2-40B4-BE49-F238E27FC236}">
                <a16:creationId xmlns:a16="http://schemas.microsoft.com/office/drawing/2014/main" id="{524EF0CD-8CCC-FEC1-BB7D-D9244D682CE3}"/>
              </a:ext>
            </a:extLst>
          </p:cNvPr>
          <p:cNvSpPr/>
          <p:nvPr/>
        </p:nvSpPr>
        <p:spPr>
          <a:xfrm>
            <a:off x="4492421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1" name="직사각형 170">
            <a:extLst>
              <a:ext uri="{FF2B5EF4-FFF2-40B4-BE49-F238E27FC236}">
                <a16:creationId xmlns:a16="http://schemas.microsoft.com/office/drawing/2014/main" id="{33ADB8D4-1849-32A6-6549-AEFF5156715E}"/>
              </a:ext>
            </a:extLst>
          </p:cNvPr>
          <p:cNvSpPr/>
          <p:nvPr/>
        </p:nvSpPr>
        <p:spPr>
          <a:xfrm>
            <a:off x="4492421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2" name="직사각형 171">
            <a:extLst>
              <a:ext uri="{FF2B5EF4-FFF2-40B4-BE49-F238E27FC236}">
                <a16:creationId xmlns:a16="http://schemas.microsoft.com/office/drawing/2014/main" id="{E8992A2A-91DF-ADB7-C7A3-E2F61B270AA7}"/>
              </a:ext>
            </a:extLst>
          </p:cNvPr>
          <p:cNvSpPr/>
          <p:nvPr/>
        </p:nvSpPr>
        <p:spPr>
          <a:xfrm>
            <a:off x="4492421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3" name="직사각형 172">
            <a:extLst>
              <a:ext uri="{FF2B5EF4-FFF2-40B4-BE49-F238E27FC236}">
                <a16:creationId xmlns:a16="http://schemas.microsoft.com/office/drawing/2014/main" id="{91338679-8B00-EB6F-8856-4303B1FA9ECD}"/>
              </a:ext>
            </a:extLst>
          </p:cNvPr>
          <p:cNvSpPr/>
          <p:nvPr/>
        </p:nvSpPr>
        <p:spPr>
          <a:xfrm>
            <a:off x="4492421" y="451046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4" name="직사각형 173">
            <a:extLst>
              <a:ext uri="{FF2B5EF4-FFF2-40B4-BE49-F238E27FC236}">
                <a16:creationId xmlns:a16="http://schemas.microsoft.com/office/drawing/2014/main" id="{AA9CA9FA-EBB8-446E-E2FE-A8412C12AB9E}"/>
              </a:ext>
            </a:extLst>
          </p:cNvPr>
          <p:cNvSpPr/>
          <p:nvPr/>
        </p:nvSpPr>
        <p:spPr>
          <a:xfrm>
            <a:off x="6907453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5" name="직사각형 174">
            <a:extLst>
              <a:ext uri="{FF2B5EF4-FFF2-40B4-BE49-F238E27FC236}">
                <a16:creationId xmlns:a16="http://schemas.microsoft.com/office/drawing/2014/main" id="{237183E8-2A02-7DF4-0D6F-1E5DB90AB0FD}"/>
              </a:ext>
            </a:extLst>
          </p:cNvPr>
          <p:cNvSpPr/>
          <p:nvPr/>
        </p:nvSpPr>
        <p:spPr>
          <a:xfrm>
            <a:off x="6907453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6" name="직사각형 175">
            <a:extLst>
              <a:ext uri="{FF2B5EF4-FFF2-40B4-BE49-F238E27FC236}">
                <a16:creationId xmlns:a16="http://schemas.microsoft.com/office/drawing/2014/main" id="{C2A1B0E0-0027-AE28-32B3-FD6D837F0CDF}"/>
              </a:ext>
            </a:extLst>
          </p:cNvPr>
          <p:cNvSpPr/>
          <p:nvPr/>
        </p:nvSpPr>
        <p:spPr>
          <a:xfrm>
            <a:off x="6907453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7" name="직사각형 176">
            <a:extLst>
              <a:ext uri="{FF2B5EF4-FFF2-40B4-BE49-F238E27FC236}">
                <a16:creationId xmlns:a16="http://schemas.microsoft.com/office/drawing/2014/main" id="{386D64EE-7A63-B403-9C4E-53A58F6E8CAF}"/>
              </a:ext>
            </a:extLst>
          </p:cNvPr>
          <p:cNvSpPr/>
          <p:nvPr/>
        </p:nvSpPr>
        <p:spPr>
          <a:xfrm>
            <a:off x="6907453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8" name="직사각형 177">
            <a:extLst>
              <a:ext uri="{FF2B5EF4-FFF2-40B4-BE49-F238E27FC236}">
                <a16:creationId xmlns:a16="http://schemas.microsoft.com/office/drawing/2014/main" id="{FA7A7111-491E-605D-BF82-D97EF0769255}"/>
              </a:ext>
            </a:extLst>
          </p:cNvPr>
          <p:cNvSpPr/>
          <p:nvPr/>
        </p:nvSpPr>
        <p:spPr>
          <a:xfrm>
            <a:off x="6907453" y="451046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9" name="직사각형 178">
            <a:extLst>
              <a:ext uri="{FF2B5EF4-FFF2-40B4-BE49-F238E27FC236}">
                <a16:creationId xmlns:a16="http://schemas.microsoft.com/office/drawing/2014/main" id="{5FF79E0B-3E9B-252E-031A-AA84381BA89E}"/>
              </a:ext>
            </a:extLst>
          </p:cNvPr>
          <p:cNvSpPr/>
          <p:nvPr/>
        </p:nvSpPr>
        <p:spPr>
          <a:xfrm>
            <a:off x="9322485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0" name="직사각형 179">
            <a:extLst>
              <a:ext uri="{FF2B5EF4-FFF2-40B4-BE49-F238E27FC236}">
                <a16:creationId xmlns:a16="http://schemas.microsoft.com/office/drawing/2014/main" id="{CA916D5A-00DB-8886-3459-42F18A2E169C}"/>
              </a:ext>
            </a:extLst>
          </p:cNvPr>
          <p:cNvSpPr/>
          <p:nvPr/>
        </p:nvSpPr>
        <p:spPr>
          <a:xfrm>
            <a:off x="9322485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1" name="직사각형 180">
            <a:extLst>
              <a:ext uri="{FF2B5EF4-FFF2-40B4-BE49-F238E27FC236}">
                <a16:creationId xmlns:a16="http://schemas.microsoft.com/office/drawing/2014/main" id="{4D5B9512-EA9E-C7D0-02F1-CA93F818AC50}"/>
              </a:ext>
            </a:extLst>
          </p:cNvPr>
          <p:cNvSpPr/>
          <p:nvPr/>
        </p:nvSpPr>
        <p:spPr>
          <a:xfrm>
            <a:off x="9322485" y="414005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2" name="직사각형 181">
            <a:extLst>
              <a:ext uri="{FF2B5EF4-FFF2-40B4-BE49-F238E27FC236}">
                <a16:creationId xmlns:a16="http://schemas.microsoft.com/office/drawing/2014/main" id="{C05F22E1-9D9C-90BA-472D-851467706E71}"/>
              </a:ext>
            </a:extLst>
          </p:cNvPr>
          <p:cNvSpPr/>
          <p:nvPr/>
        </p:nvSpPr>
        <p:spPr>
          <a:xfrm>
            <a:off x="9322485" y="432525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3" name="직사각형 182">
            <a:extLst>
              <a:ext uri="{FF2B5EF4-FFF2-40B4-BE49-F238E27FC236}">
                <a16:creationId xmlns:a16="http://schemas.microsoft.com/office/drawing/2014/main" id="{FF0EC117-F6E5-33DC-EAAC-931B97096A07}"/>
              </a:ext>
            </a:extLst>
          </p:cNvPr>
          <p:cNvSpPr/>
          <p:nvPr/>
        </p:nvSpPr>
        <p:spPr>
          <a:xfrm>
            <a:off x="9322485" y="451046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BBC27935-9237-8098-379C-EB3FDF91226C}"/>
              </a:ext>
            </a:extLst>
          </p:cNvPr>
          <p:cNvSpPr txBox="1"/>
          <p:nvPr/>
        </p:nvSpPr>
        <p:spPr>
          <a:xfrm>
            <a:off x="2420276" y="37255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더 높은 수익성 확보를 위해 수주사업 중심의 사업모델을 자체개발사업으로 전환 </a:t>
            </a:r>
            <a:r>
              <a:rPr lang="en-US" altLang="ko-KR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en-US" altLang="ko-KR" sz="900" b="1" i="0" u="sng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‘23</a:t>
            </a:r>
            <a:r>
              <a:rPr lang="ko-KR" altLang="en-US" sz="900" b="1" i="0" u="sng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년 상반기 흑자전환</a:t>
            </a:r>
            <a:endParaRPr lang="en-US" altLang="ko-KR" sz="900" b="1" i="0" u="sng" kern="0" dirty="0">
              <a:solidFill>
                <a:schemeClr val="bg2">
                  <a:lumMod val="25000"/>
                </a:schemeClr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F850050C-78E5-3132-8546-9751274C482B}"/>
              </a:ext>
            </a:extLst>
          </p:cNvPr>
          <p:cNvSpPr txBox="1"/>
          <p:nvPr/>
        </p:nvSpPr>
        <p:spPr>
          <a:xfrm>
            <a:off x="4789290" y="371925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이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90%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높은 편이나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‘23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상반기 흑자전환을 하면서 </a:t>
            </a:r>
            <a:r>
              <a:rPr lang="ko-KR" altLang="en-US" sz="900" kern="0" dirty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울이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.3 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도달</a:t>
            </a:r>
            <a:endParaRPr lang="en-US" altLang="ko-KR" sz="900" kern="0" dirty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입부채 대비 보유하고 있는 현금 및 현금성자산의 비중이 높음 </a:t>
            </a:r>
            <a:endParaRPr lang="en-US" altLang="ko-KR" sz="900" kern="0" dirty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41DC79E4-E17F-D34B-94B4-7E90C0863716}"/>
              </a:ext>
            </a:extLst>
          </p:cNvPr>
          <p:cNvSpPr txBox="1"/>
          <p:nvPr/>
        </p:nvSpPr>
        <p:spPr>
          <a:xfrm>
            <a:off x="7231622" y="37308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자체사업 용지 매입 등으로 자금이 계속 필요해 재무적 부담</a:t>
            </a:r>
            <a:endParaRPr lang="en-US" altLang="ko-KR" sz="900" b="1" u="sng" kern="0" dirty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87" name="직선 연결선 186">
            <a:extLst>
              <a:ext uri="{FF2B5EF4-FFF2-40B4-BE49-F238E27FC236}">
                <a16:creationId xmlns:a16="http://schemas.microsoft.com/office/drawing/2014/main" id="{A8829F51-572C-B0C6-99C6-95AAB612FF37}"/>
              </a:ext>
            </a:extLst>
          </p:cNvPr>
          <p:cNvCxnSpPr>
            <a:cxnSpLocks/>
          </p:cNvCxnSpPr>
          <p:nvPr/>
        </p:nvCxnSpPr>
        <p:spPr>
          <a:xfrm>
            <a:off x="503453" y="6142952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직사각형 187">
            <a:extLst>
              <a:ext uri="{FF2B5EF4-FFF2-40B4-BE49-F238E27FC236}">
                <a16:creationId xmlns:a16="http://schemas.microsoft.com/office/drawing/2014/main" id="{1DD12FC9-CB25-9FA5-2D26-698909516B79}"/>
              </a:ext>
            </a:extLst>
          </p:cNvPr>
          <p:cNvSpPr/>
          <p:nvPr/>
        </p:nvSpPr>
        <p:spPr>
          <a:xfrm>
            <a:off x="4492421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9" name="직사각형 188">
            <a:extLst>
              <a:ext uri="{FF2B5EF4-FFF2-40B4-BE49-F238E27FC236}">
                <a16:creationId xmlns:a16="http://schemas.microsoft.com/office/drawing/2014/main" id="{3084DC81-B513-8CD2-8E4D-BC038B1C8BD6}"/>
              </a:ext>
            </a:extLst>
          </p:cNvPr>
          <p:cNvSpPr/>
          <p:nvPr/>
        </p:nvSpPr>
        <p:spPr>
          <a:xfrm>
            <a:off x="4492421" y="525296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0" name="직사각형 189">
            <a:extLst>
              <a:ext uri="{FF2B5EF4-FFF2-40B4-BE49-F238E27FC236}">
                <a16:creationId xmlns:a16="http://schemas.microsoft.com/office/drawing/2014/main" id="{2399BC81-27F0-892A-C7A7-97F3EDD43909}"/>
              </a:ext>
            </a:extLst>
          </p:cNvPr>
          <p:cNvSpPr/>
          <p:nvPr/>
        </p:nvSpPr>
        <p:spPr>
          <a:xfrm>
            <a:off x="4492421" y="543816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1" name="직사각형 190">
            <a:extLst>
              <a:ext uri="{FF2B5EF4-FFF2-40B4-BE49-F238E27FC236}">
                <a16:creationId xmlns:a16="http://schemas.microsoft.com/office/drawing/2014/main" id="{7E617767-420D-148E-D897-5A502E9A982E}"/>
              </a:ext>
            </a:extLst>
          </p:cNvPr>
          <p:cNvSpPr/>
          <p:nvPr/>
        </p:nvSpPr>
        <p:spPr>
          <a:xfrm>
            <a:off x="4492421" y="562337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2" name="직사각형 191">
            <a:extLst>
              <a:ext uri="{FF2B5EF4-FFF2-40B4-BE49-F238E27FC236}">
                <a16:creationId xmlns:a16="http://schemas.microsoft.com/office/drawing/2014/main" id="{62455E36-9DA2-D11E-F1AA-BF94CB9E6879}"/>
              </a:ext>
            </a:extLst>
          </p:cNvPr>
          <p:cNvSpPr/>
          <p:nvPr/>
        </p:nvSpPr>
        <p:spPr>
          <a:xfrm>
            <a:off x="4492421" y="580857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3" name="직사각형 192">
            <a:extLst>
              <a:ext uri="{FF2B5EF4-FFF2-40B4-BE49-F238E27FC236}">
                <a16:creationId xmlns:a16="http://schemas.microsoft.com/office/drawing/2014/main" id="{D10DF48C-A889-9B4B-522C-B513E06B9813}"/>
              </a:ext>
            </a:extLst>
          </p:cNvPr>
          <p:cNvSpPr/>
          <p:nvPr/>
        </p:nvSpPr>
        <p:spPr>
          <a:xfrm>
            <a:off x="6907453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4" name="직사각형 193">
            <a:extLst>
              <a:ext uri="{FF2B5EF4-FFF2-40B4-BE49-F238E27FC236}">
                <a16:creationId xmlns:a16="http://schemas.microsoft.com/office/drawing/2014/main" id="{EB4E16E4-AA15-D71F-7F69-DAB5289F0777}"/>
              </a:ext>
            </a:extLst>
          </p:cNvPr>
          <p:cNvSpPr/>
          <p:nvPr/>
        </p:nvSpPr>
        <p:spPr>
          <a:xfrm>
            <a:off x="6907453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5" name="직사각형 194">
            <a:extLst>
              <a:ext uri="{FF2B5EF4-FFF2-40B4-BE49-F238E27FC236}">
                <a16:creationId xmlns:a16="http://schemas.microsoft.com/office/drawing/2014/main" id="{CC9B67E3-2124-5348-6A9C-0F50F1631B9F}"/>
              </a:ext>
            </a:extLst>
          </p:cNvPr>
          <p:cNvSpPr/>
          <p:nvPr/>
        </p:nvSpPr>
        <p:spPr>
          <a:xfrm>
            <a:off x="6907453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6" name="직사각형 195">
            <a:extLst>
              <a:ext uri="{FF2B5EF4-FFF2-40B4-BE49-F238E27FC236}">
                <a16:creationId xmlns:a16="http://schemas.microsoft.com/office/drawing/2014/main" id="{07981CE6-BA19-A4F6-9C17-0AA801B965D8}"/>
              </a:ext>
            </a:extLst>
          </p:cNvPr>
          <p:cNvSpPr/>
          <p:nvPr/>
        </p:nvSpPr>
        <p:spPr>
          <a:xfrm>
            <a:off x="6907453" y="5623372"/>
            <a:ext cx="267855" cy="128969"/>
          </a:xfrm>
          <a:prstGeom prst="rect">
            <a:avLst/>
          </a:prstGeom>
          <a:noFill/>
          <a:ln w="6350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7" name="직사각형 196">
            <a:extLst>
              <a:ext uri="{FF2B5EF4-FFF2-40B4-BE49-F238E27FC236}">
                <a16:creationId xmlns:a16="http://schemas.microsoft.com/office/drawing/2014/main" id="{1C68F0FE-7894-2933-0A91-665D3C4657D2}"/>
              </a:ext>
            </a:extLst>
          </p:cNvPr>
          <p:cNvSpPr/>
          <p:nvPr/>
        </p:nvSpPr>
        <p:spPr>
          <a:xfrm>
            <a:off x="6907453" y="580857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rgbClr val="1E49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8" name="직사각형 197">
            <a:extLst>
              <a:ext uri="{FF2B5EF4-FFF2-40B4-BE49-F238E27FC236}">
                <a16:creationId xmlns:a16="http://schemas.microsoft.com/office/drawing/2014/main" id="{A261173D-AF96-BA31-E4D1-BB9C30F98A26}"/>
              </a:ext>
            </a:extLst>
          </p:cNvPr>
          <p:cNvSpPr/>
          <p:nvPr/>
        </p:nvSpPr>
        <p:spPr>
          <a:xfrm>
            <a:off x="9322485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9" name="직사각형 198">
            <a:extLst>
              <a:ext uri="{FF2B5EF4-FFF2-40B4-BE49-F238E27FC236}">
                <a16:creationId xmlns:a16="http://schemas.microsoft.com/office/drawing/2014/main" id="{812412FA-3190-8333-AFED-0CE031F92D88}"/>
              </a:ext>
            </a:extLst>
          </p:cNvPr>
          <p:cNvSpPr/>
          <p:nvPr/>
        </p:nvSpPr>
        <p:spPr>
          <a:xfrm>
            <a:off x="9322485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0" name="직사각형 199">
            <a:extLst>
              <a:ext uri="{FF2B5EF4-FFF2-40B4-BE49-F238E27FC236}">
                <a16:creationId xmlns:a16="http://schemas.microsoft.com/office/drawing/2014/main" id="{0659F2B6-D76F-E78A-2A73-235F2FDE7225}"/>
              </a:ext>
            </a:extLst>
          </p:cNvPr>
          <p:cNvSpPr/>
          <p:nvPr/>
        </p:nvSpPr>
        <p:spPr>
          <a:xfrm>
            <a:off x="9322485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1" name="직사각형 200">
            <a:extLst>
              <a:ext uri="{FF2B5EF4-FFF2-40B4-BE49-F238E27FC236}">
                <a16:creationId xmlns:a16="http://schemas.microsoft.com/office/drawing/2014/main" id="{BA6F0CFC-517B-A8F6-7FF1-50BFD834DC03}"/>
              </a:ext>
            </a:extLst>
          </p:cNvPr>
          <p:cNvSpPr/>
          <p:nvPr/>
        </p:nvSpPr>
        <p:spPr>
          <a:xfrm>
            <a:off x="9322485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2" name="직사각형 201">
            <a:extLst>
              <a:ext uri="{FF2B5EF4-FFF2-40B4-BE49-F238E27FC236}">
                <a16:creationId xmlns:a16="http://schemas.microsoft.com/office/drawing/2014/main" id="{3D3ED4C6-B36A-C790-B694-7B7959C7493F}"/>
              </a:ext>
            </a:extLst>
          </p:cNvPr>
          <p:cNvSpPr/>
          <p:nvPr/>
        </p:nvSpPr>
        <p:spPr>
          <a:xfrm>
            <a:off x="9322485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08B304BC-4D48-25F6-3CCA-192E0070A52B}"/>
              </a:ext>
            </a:extLst>
          </p:cNvPr>
          <p:cNvSpPr txBox="1"/>
          <p:nvPr/>
        </p:nvSpPr>
        <p:spPr>
          <a:xfrm>
            <a:off x="2420276" y="502364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면방부문 대규모 적자 속에서 대농의 현금흐름이 악화</a:t>
            </a:r>
            <a:endParaRPr lang="en-US" altLang="ko-KR" sz="900" kern="0" dirty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매출액 수준이 급락</a:t>
            </a:r>
            <a:br>
              <a:rPr lang="en-US" altLang="ko-KR" sz="900" b="1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b="1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‘21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년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3,715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억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, ‘22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년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1,791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억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, ‘23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년 상반기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192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억</a:t>
            </a:r>
            <a:endParaRPr lang="ko-KR" altLang="en-US" sz="900" kern="0" dirty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177A404A-C2B5-BE80-1CD4-17D36BCA340A}"/>
              </a:ext>
            </a:extLst>
          </p:cNvPr>
          <p:cNvSpPr txBox="1"/>
          <p:nvPr/>
        </p:nvSpPr>
        <p:spPr>
          <a:xfrm>
            <a:off x="4789290" y="50173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이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-)5.2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을 하회</a:t>
            </a:r>
            <a:endParaRPr lang="en-US" altLang="ko-KR" sz="900" kern="0" dirty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은 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39.2%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낮은 수준이며</a:t>
            </a:r>
            <a:r>
              <a:rPr lang="en-US" altLang="ko-KR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 dirty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차입부채 대비 보유하고 있는 현금 및 현금성자산의 비중이 높음 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211DEDC3-32E1-EF6A-33EC-AD0AB4B1050A}"/>
              </a:ext>
            </a:extLst>
          </p:cNvPr>
          <p:cNvSpPr txBox="1"/>
          <p:nvPr/>
        </p:nvSpPr>
        <p:spPr>
          <a:xfrm>
            <a:off x="7231622" y="502898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DB3EFF46-9781-69DA-72AC-87CB9D23EB70}"/>
              </a:ext>
            </a:extLst>
          </p:cNvPr>
          <p:cNvSpPr txBox="1"/>
          <p:nvPr/>
        </p:nvSpPr>
        <p:spPr>
          <a:xfrm>
            <a:off x="488948" y="62025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pic>
        <p:nvPicPr>
          <p:cNvPr id="17410" name="Picture 2" descr="대농 - 나무위키">
            <a:extLst>
              <a:ext uri="{FF2B5EF4-FFF2-40B4-BE49-F238E27FC236}">
                <a16:creationId xmlns:a16="http://schemas.microsoft.com/office/drawing/2014/main" id="{E60DAFF1-BC76-E7A6-B140-1CB349D20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15" y="5172605"/>
            <a:ext cx="1903882" cy="607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" name="Picture 2" descr="CEOSCOREDAILY">
            <a:extLst>
              <a:ext uri="{FF2B5EF4-FFF2-40B4-BE49-F238E27FC236}">
                <a16:creationId xmlns:a16="http://schemas.microsoft.com/office/drawing/2014/main" id="{92A758FA-0B6D-ED56-33D4-FE08216FB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81" y="2547311"/>
            <a:ext cx="1778932" cy="558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" name="Picture 2" descr="신영씨앤디">
            <a:extLst>
              <a:ext uri="{FF2B5EF4-FFF2-40B4-BE49-F238E27FC236}">
                <a16:creationId xmlns:a16="http://schemas.microsoft.com/office/drawing/2014/main" id="{12F4775D-936C-2D74-6D95-1FDE89FFC8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77" t="28279" r="14934" b="15426"/>
          <a:stretch/>
        </p:blipFill>
        <p:spPr bwMode="auto">
          <a:xfrm>
            <a:off x="576487" y="3807490"/>
            <a:ext cx="1741626" cy="748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54914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신영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41472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신영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정춘보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강남구 영동대로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17, </a:t>
                      </a: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아셈타워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4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층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89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7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9,248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40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98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 및 개발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임대차 </a:t>
            </a:r>
            <a:b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투자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금융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신영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768170"/>
              </p:ext>
            </p:extLst>
          </p:nvPr>
        </p:nvGraphicFramePr>
        <p:xfrm>
          <a:off x="504000" y="4392344"/>
          <a:ext cx="4291199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974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965933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965933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965933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,5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,4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5.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9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9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.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80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24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.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,28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30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.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신영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섬유업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B3549132-2A1D-3224-B1B0-77A7AE3A0001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64FA96B0-6B1D-ADA0-7052-A2921C2F682A}"/>
              </a:ext>
            </a:extLst>
          </p:cNvPr>
          <p:cNvSpPr/>
          <p:nvPr/>
        </p:nvSpPr>
        <p:spPr>
          <a:xfrm>
            <a:off x="5076000" y="2549291"/>
            <a:ext cx="1044001" cy="1454133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407AE7B-3B1A-FD48-C2C6-23792E4F5FDD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에셋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7DA746E9-2A4E-12BD-2427-202293178FC2}"/>
              </a:ext>
            </a:extLst>
          </p:cNvPr>
          <p:cNvSpPr/>
          <p:nvPr/>
        </p:nvSpPr>
        <p:spPr>
          <a:xfrm>
            <a:off x="6162200" y="2549291"/>
            <a:ext cx="1044001" cy="972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013690B7-3DE3-0CCE-5A1C-46B61EEF0B46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브라이튼자산운용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ECF3BEBC-2C8A-834C-5943-628667E714B5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48" name="직사각형 47">
            <a:extLst>
              <a:ext uri="{FF2B5EF4-FFF2-40B4-BE49-F238E27FC236}">
                <a16:creationId xmlns:a16="http://schemas.microsoft.com/office/drawing/2014/main" id="{E13BD4C6-0757-53D5-6EA8-4A6A91AFF5AC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농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A680B769-C3F7-8CE3-513B-6E8D6757A491}"/>
              </a:ext>
            </a:extLst>
          </p:cNvPr>
          <p:cNvSpPr/>
          <p:nvPr/>
        </p:nvSpPr>
        <p:spPr>
          <a:xfrm>
            <a:off x="8328788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9A93AAE6-6B3C-A2C9-D05F-B546A8F865E3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스엘플랫폼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3200FC2C-B093-5429-5B23-DE1E7D67F4BB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플러스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B56157AD-04BD-B235-83BE-E058E544CA88}"/>
              </a:ext>
            </a:extLst>
          </p:cNvPr>
          <p:cNvSpPr/>
          <p:nvPr/>
        </p:nvSpPr>
        <p:spPr>
          <a:xfrm>
            <a:off x="5125647" y="3536914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씨앤디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289794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DB802F1E-EC3E-96E3-6434-6C566CDB0FE7}"/>
              </a:ext>
            </a:extLst>
          </p:cNvPr>
          <p:cNvCxnSpPr>
            <a:cxnSpLocks/>
          </p:cNvCxnSpPr>
          <p:nvPr/>
        </p:nvCxnSpPr>
        <p:spPr>
          <a:xfrm flipH="1">
            <a:off x="682905" y="3085085"/>
            <a:ext cx="832" cy="1761932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화살표 연결선 13">
            <a:extLst>
              <a:ext uri="{FF2B5EF4-FFF2-40B4-BE49-F238E27FC236}">
                <a16:creationId xmlns:a16="http://schemas.microsoft.com/office/drawing/2014/main" id="{4A0D6E60-8534-297C-9C0B-8A274DCC407B}"/>
              </a:ext>
            </a:extLst>
          </p:cNvPr>
          <p:cNvCxnSpPr>
            <a:cxnSpLocks/>
          </p:cNvCxnSpPr>
          <p:nvPr/>
        </p:nvCxnSpPr>
        <p:spPr>
          <a:xfrm>
            <a:off x="1896739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5DF9A125-92FB-DC45-8957-B32FA9255D63}"/>
              </a:ext>
            </a:extLst>
          </p:cNvPr>
          <p:cNvSpPr/>
          <p:nvPr/>
        </p:nvSpPr>
        <p:spPr>
          <a:xfrm>
            <a:off x="3541276" y="174082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신영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7E5901A0-FBE0-6374-74F1-013EDC8FC120}"/>
              </a:ext>
            </a:extLst>
          </p:cNvPr>
          <p:cNvCxnSpPr>
            <a:cxnSpLocks/>
          </p:cNvCxnSpPr>
          <p:nvPr/>
        </p:nvCxnSpPr>
        <p:spPr>
          <a:xfrm flipH="1">
            <a:off x="563209" y="2214764"/>
            <a:ext cx="6879449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63379548-35AB-CA8A-8D83-35F33CAEEFAD}"/>
              </a:ext>
            </a:extLst>
          </p:cNvPr>
          <p:cNvCxnSpPr>
            <a:cxnSpLocks/>
          </p:cNvCxnSpPr>
          <p:nvPr/>
        </p:nvCxnSpPr>
        <p:spPr>
          <a:xfrm>
            <a:off x="3272043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27ED44DA-CEE9-32A9-DC7D-2426DD060FE2}"/>
              </a:ext>
            </a:extLst>
          </p:cNvPr>
          <p:cNvCxnSpPr>
            <a:cxnSpLocks/>
          </p:cNvCxnSpPr>
          <p:nvPr/>
        </p:nvCxnSpPr>
        <p:spPr>
          <a:xfrm>
            <a:off x="563209" y="221476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>
            <a:extLst>
              <a:ext uri="{FF2B5EF4-FFF2-40B4-BE49-F238E27FC236}">
                <a16:creationId xmlns:a16="http://schemas.microsoft.com/office/drawing/2014/main" id="{96B101CE-AA2E-B35B-6CFC-7E195DF51812}"/>
              </a:ext>
            </a:extLst>
          </p:cNvPr>
          <p:cNvSpPr/>
          <p:nvPr/>
        </p:nvSpPr>
        <p:spPr>
          <a:xfrm>
            <a:off x="276777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8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0" name="타원 19">
            <a:extLst>
              <a:ext uri="{FF2B5EF4-FFF2-40B4-BE49-F238E27FC236}">
                <a16:creationId xmlns:a16="http://schemas.microsoft.com/office/drawing/2014/main" id="{1850DAC9-9ECD-2D2B-9EBD-02C3CCD4BBF9}"/>
              </a:ext>
            </a:extLst>
          </p:cNvPr>
          <p:cNvSpPr/>
          <p:nvPr/>
        </p:nvSpPr>
        <p:spPr>
          <a:xfrm>
            <a:off x="1606192" y="23687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7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FF3761EF-B7B8-4273-694D-02B9DF3F6D7F}"/>
              </a:ext>
            </a:extLst>
          </p:cNvPr>
          <p:cNvSpPr/>
          <p:nvPr/>
        </p:nvSpPr>
        <p:spPr>
          <a:xfrm>
            <a:off x="2977381" y="236670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6.7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5349EF5C-05E3-AF75-095D-966719BB3F6A}"/>
              </a:ext>
            </a:extLst>
          </p:cNvPr>
          <p:cNvSpPr/>
          <p:nvPr/>
        </p:nvSpPr>
        <p:spPr>
          <a:xfrm>
            <a:off x="2768043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한남동</a:t>
            </a:r>
            <a:br>
              <a:rPr lang="en-US" altLang="ko-KR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개발</a:t>
            </a:r>
            <a:r>
              <a:rPr lang="en-US" altLang="ko-KR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3" name="모서리가 둥근 직사각형 167">
            <a:extLst>
              <a:ext uri="{FF2B5EF4-FFF2-40B4-BE49-F238E27FC236}">
                <a16:creationId xmlns:a16="http://schemas.microsoft.com/office/drawing/2014/main" id="{87EF8A36-9C42-A4FF-CC3D-701977A7C921}"/>
              </a:ext>
            </a:extLst>
          </p:cNvPr>
          <p:cNvSpPr/>
          <p:nvPr/>
        </p:nvSpPr>
        <p:spPr>
          <a:xfrm>
            <a:off x="59209" y="2725085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농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297FE901-DC20-3F9F-A61B-A846A5191A58}"/>
              </a:ext>
            </a:extLst>
          </p:cNvPr>
          <p:cNvSpPr/>
          <p:nvPr/>
        </p:nvSpPr>
        <p:spPr>
          <a:xfrm>
            <a:off x="1392739" y="2725355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씨앤디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A97856FA-37B6-D8D4-EA30-6CB7BBAF5119}"/>
              </a:ext>
            </a:extLst>
          </p:cNvPr>
          <p:cNvCxnSpPr>
            <a:cxnSpLocks/>
          </p:cNvCxnSpPr>
          <p:nvPr/>
        </p:nvCxnSpPr>
        <p:spPr>
          <a:xfrm>
            <a:off x="4748215" y="221490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타원 26">
            <a:extLst>
              <a:ext uri="{FF2B5EF4-FFF2-40B4-BE49-F238E27FC236}">
                <a16:creationId xmlns:a16="http://schemas.microsoft.com/office/drawing/2014/main" id="{C80C8F65-17E7-83F5-2CCC-5CBCC4194C61}"/>
              </a:ext>
            </a:extLst>
          </p:cNvPr>
          <p:cNvSpPr/>
          <p:nvPr/>
        </p:nvSpPr>
        <p:spPr>
          <a:xfrm>
            <a:off x="4453553" y="236683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4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모서리가 둥근 직사각형 167">
            <a:extLst>
              <a:ext uri="{FF2B5EF4-FFF2-40B4-BE49-F238E27FC236}">
                <a16:creationId xmlns:a16="http://schemas.microsoft.com/office/drawing/2014/main" id="{2B8EEFFB-D2A1-D784-7D7D-81B11A4F298D}"/>
              </a:ext>
            </a:extLst>
          </p:cNvPr>
          <p:cNvSpPr/>
          <p:nvPr/>
        </p:nvSpPr>
        <p:spPr>
          <a:xfrm>
            <a:off x="4244215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휴먼스홀딩스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차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C4ECAE34-00AB-37E6-2F48-23F2003B477F}"/>
              </a:ext>
            </a:extLst>
          </p:cNvPr>
          <p:cNvCxnSpPr>
            <a:cxnSpLocks/>
          </p:cNvCxnSpPr>
          <p:nvPr/>
        </p:nvCxnSpPr>
        <p:spPr>
          <a:xfrm>
            <a:off x="5977316" y="221490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타원 86">
            <a:extLst>
              <a:ext uri="{FF2B5EF4-FFF2-40B4-BE49-F238E27FC236}">
                <a16:creationId xmlns:a16="http://schemas.microsoft.com/office/drawing/2014/main" id="{3A027B92-1AE1-54FA-5CC6-BD9CCDEFEE12}"/>
              </a:ext>
            </a:extLst>
          </p:cNvPr>
          <p:cNvSpPr/>
          <p:nvPr/>
        </p:nvSpPr>
        <p:spPr>
          <a:xfrm>
            <a:off x="5682654" y="236683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4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63BBCF55-7D50-2453-2425-12CC88D03B46}"/>
              </a:ext>
            </a:extLst>
          </p:cNvPr>
          <p:cNvSpPr/>
          <p:nvPr/>
        </p:nvSpPr>
        <p:spPr>
          <a:xfrm>
            <a:off x="5473316" y="2725493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청주 테크노폴리스</a:t>
            </a: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3ED2EBBD-09D8-6D0E-C4FD-BB2DE051E9F2}"/>
              </a:ext>
            </a:extLst>
          </p:cNvPr>
          <p:cNvSpPr/>
          <p:nvPr/>
        </p:nvSpPr>
        <p:spPr>
          <a:xfrm>
            <a:off x="8257082" y="5841388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브라이튼자산운용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91" name="직선 화살표 연결선 90">
            <a:extLst>
              <a:ext uri="{FF2B5EF4-FFF2-40B4-BE49-F238E27FC236}">
                <a16:creationId xmlns:a16="http://schemas.microsoft.com/office/drawing/2014/main" id="{A921A615-5947-6233-8023-FA53C7E2A0D9}"/>
              </a:ext>
            </a:extLst>
          </p:cNvPr>
          <p:cNvCxnSpPr>
            <a:cxnSpLocks/>
            <a:stCxn id="15" idx="2"/>
          </p:cNvCxnSpPr>
          <p:nvPr/>
        </p:nvCxnSpPr>
        <p:spPr>
          <a:xfrm flipH="1">
            <a:off x="4044145" y="2100825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8F9504A7-FAB1-1080-D878-E0607D9DEAA9}"/>
              </a:ext>
            </a:extLst>
          </p:cNvPr>
          <p:cNvSpPr/>
          <p:nvPr/>
        </p:nvSpPr>
        <p:spPr>
          <a:xfrm>
            <a:off x="5473316" y="3112212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용인스마트물류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3" name="모서리가 둥근 직사각형 167">
            <a:extLst>
              <a:ext uri="{FF2B5EF4-FFF2-40B4-BE49-F238E27FC236}">
                <a16:creationId xmlns:a16="http://schemas.microsoft.com/office/drawing/2014/main" id="{0427FB34-08B9-838C-C65C-E80766B2FF92}"/>
              </a:ext>
            </a:extLst>
          </p:cNvPr>
          <p:cNvSpPr/>
          <p:nvPr/>
        </p:nvSpPr>
        <p:spPr>
          <a:xfrm>
            <a:off x="5473316" y="3498931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여의도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BC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지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복합개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C61B57C0-F15F-3239-C225-EAE9805F209F}"/>
              </a:ext>
            </a:extLst>
          </p:cNvPr>
          <p:cNvSpPr/>
          <p:nvPr/>
        </p:nvSpPr>
        <p:spPr>
          <a:xfrm>
            <a:off x="5473316" y="3885650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청주테크노폴리스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산관리</a:t>
            </a:r>
          </a:p>
        </p:txBody>
      </p:sp>
      <p:sp>
        <p:nvSpPr>
          <p:cNvPr id="117" name="모서리가 둥근 직사각형 167">
            <a:extLst>
              <a:ext uri="{FF2B5EF4-FFF2-40B4-BE49-F238E27FC236}">
                <a16:creationId xmlns:a16="http://schemas.microsoft.com/office/drawing/2014/main" id="{8BBE9246-EB33-B1A8-318A-D231072A4D6B}"/>
              </a:ext>
            </a:extLst>
          </p:cNvPr>
          <p:cNvSpPr/>
          <p:nvPr/>
        </p:nvSpPr>
        <p:spPr>
          <a:xfrm>
            <a:off x="5473316" y="4276810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에셋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8" name="모서리가 둥근 직사각형 167">
            <a:extLst>
              <a:ext uri="{FF2B5EF4-FFF2-40B4-BE49-F238E27FC236}">
                <a16:creationId xmlns:a16="http://schemas.microsoft.com/office/drawing/2014/main" id="{9B56EF7E-AD80-EA7C-A930-5FA6EB678A95}"/>
              </a:ext>
            </a:extLst>
          </p:cNvPr>
          <p:cNvSpPr/>
          <p:nvPr/>
        </p:nvSpPr>
        <p:spPr>
          <a:xfrm>
            <a:off x="5473316" y="4667970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L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플랫폼</a:t>
            </a:r>
          </a:p>
        </p:txBody>
      </p: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154FE81C-42A2-32D5-5C48-9E882698A682}"/>
              </a:ext>
            </a:extLst>
          </p:cNvPr>
          <p:cNvCxnSpPr>
            <a:cxnSpLocks/>
          </p:cNvCxnSpPr>
          <p:nvPr/>
        </p:nvCxnSpPr>
        <p:spPr>
          <a:xfrm flipH="1">
            <a:off x="7441456" y="2214494"/>
            <a:ext cx="6962" cy="2632523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3BC43DE6-ED7D-31D2-C941-9942D6C6D9B0}"/>
              </a:ext>
            </a:extLst>
          </p:cNvPr>
          <p:cNvCxnSpPr>
            <a:cxnSpLocks/>
          </p:cNvCxnSpPr>
          <p:nvPr/>
        </p:nvCxnSpPr>
        <p:spPr>
          <a:xfrm flipH="1">
            <a:off x="6487769" y="3285399"/>
            <a:ext cx="95368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타원 120">
            <a:extLst>
              <a:ext uri="{FF2B5EF4-FFF2-40B4-BE49-F238E27FC236}">
                <a16:creationId xmlns:a16="http://schemas.microsoft.com/office/drawing/2014/main" id="{4D5AAF4A-8C2A-2EDE-B9D7-879E08374C07}"/>
              </a:ext>
            </a:extLst>
          </p:cNvPr>
          <p:cNvSpPr/>
          <p:nvPr/>
        </p:nvSpPr>
        <p:spPr>
          <a:xfrm>
            <a:off x="6644799" y="319539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2.4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D35BEF1C-F176-7E6A-93A1-AFFEA7ED2640}"/>
              </a:ext>
            </a:extLst>
          </p:cNvPr>
          <p:cNvCxnSpPr>
            <a:cxnSpLocks/>
          </p:cNvCxnSpPr>
          <p:nvPr/>
        </p:nvCxnSpPr>
        <p:spPr>
          <a:xfrm flipH="1">
            <a:off x="6487769" y="3692529"/>
            <a:ext cx="95368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타원 122">
            <a:extLst>
              <a:ext uri="{FF2B5EF4-FFF2-40B4-BE49-F238E27FC236}">
                <a16:creationId xmlns:a16="http://schemas.microsoft.com/office/drawing/2014/main" id="{FA6FFFFA-0E8F-FD75-E122-F6EB26B8B1E0}"/>
              </a:ext>
            </a:extLst>
          </p:cNvPr>
          <p:cNvSpPr/>
          <p:nvPr/>
        </p:nvSpPr>
        <p:spPr>
          <a:xfrm>
            <a:off x="6644799" y="360252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1.4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4" name="직선 화살표 연결선 123">
            <a:extLst>
              <a:ext uri="{FF2B5EF4-FFF2-40B4-BE49-F238E27FC236}">
                <a16:creationId xmlns:a16="http://schemas.microsoft.com/office/drawing/2014/main" id="{3C0E55A3-F143-346C-F6A8-2CB1C96B003F}"/>
              </a:ext>
            </a:extLst>
          </p:cNvPr>
          <p:cNvCxnSpPr>
            <a:cxnSpLocks/>
          </p:cNvCxnSpPr>
          <p:nvPr/>
        </p:nvCxnSpPr>
        <p:spPr>
          <a:xfrm flipH="1">
            <a:off x="6482009" y="4056706"/>
            <a:ext cx="960649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타원 124">
            <a:extLst>
              <a:ext uri="{FF2B5EF4-FFF2-40B4-BE49-F238E27FC236}">
                <a16:creationId xmlns:a16="http://schemas.microsoft.com/office/drawing/2014/main" id="{556DCE9E-2592-FE2C-A714-5F799B5B6939}"/>
              </a:ext>
            </a:extLst>
          </p:cNvPr>
          <p:cNvSpPr/>
          <p:nvPr/>
        </p:nvSpPr>
        <p:spPr>
          <a:xfrm>
            <a:off x="6639039" y="396670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0096ED0F-9D52-23CC-B7B0-B60449AA7B88}"/>
              </a:ext>
            </a:extLst>
          </p:cNvPr>
          <p:cNvCxnSpPr>
            <a:cxnSpLocks/>
          </p:cNvCxnSpPr>
          <p:nvPr/>
        </p:nvCxnSpPr>
        <p:spPr>
          <a:xfrm flipH="1">
            <a:off x="6482009" y="4446033"/>
            <a:ext cx="960649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타원 126">
            <a:extLst>
              <a:ext uri="{FF2B5EF4-FFF2-40B4-BE49-F238E27FC236}">
                <a16:creationId xmlns:a16="http://schemas.microsoft.com/office/drawing/2014/main" id="{5B951190-E8A6-D651-921C-0791CB5B49E3}"/>
              </a:ext>
            </a:extLst>
          </p:cNvPr>
          <p:cNvSpPr/>
          <p:nvPr/>
        </p:nvSpPr>
        <p:spPr>
          <a:xfrm>
            <a:off x="6639039" y="435603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1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8" name="직선 화살표 연결선 127">
            <a:extLst>
              <a:ext uri="{FF2B5EF4-FFF2-40B4-BE49-F238E27FC236}">
                <a16:creationId xmlns:a16="http://schemas.microsoft.com/office/drawing/2014/main" id="{7F7921E1-E1D1-D745-D852-781438E29B6E}"/>
              </a:ext>
            </a:extLst>
          </p:cNvPr>
          <p:cNvCxnSpPr>
            <a:cxnSpLocks/>
          </p:cNvCxnSpPr>
          <p:nvPr/>
        </p:nvCxnSpPr>
        <p:spPr>
          <a:xfrm flipH="1">
            <a:off x="6482009" y="4847017"/>
            <a:ext cx="960649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타원 128">
            <a:extLst>
              <a:ext uri="{FF2B5EF4-FFF2-40B4-BE49-F238E27FC236}">
                <a16:creationId xmlns:a16="http://schemas.microsoft.com/office/drawing/2014/main" id="{E66EF9D9-4199-6303-F4FC-1C3E98C330DE}"/>
              </a:ext>
            </a:extLst>
          </p:cNvPr>
          <p:cNvSpPr/>
          <p:nvPr/>
        </p:nvSpPr>
        <p:spPr>
          <a:xfrm>
            <a:off x="6639039" y="475701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1.6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30" name="직선 화살표 연결선 129">
            <a:extLst>
              <a:ext uri="{FF2B5EF4-FFF2-40B4-BE49-F238E27FC236}">
                <a16:creationId xmlns:a16="http://schemas.microsoft.com/office/drawing/2014/main" id="{BD5B4B16-6F32-C7B7-FE38-18F49EC9504E}"/>
              </a:ext>
            </a:extLst>
          </p:cNvPr>
          <p:cNvCxnSpPr>
            <a:cxnSpLocks/>
            <a:endCxn id="133" idx="2"/>
          </p:cNvCxnSpPr>
          <p:nvPr/>
        </p:nvCxnSpPr>
        <p:spPr>
          <a:xfrm flipH="1">
            <a:off x="563209" y="3085175"/>
            <a:ext cx="12775" cy="1106284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타원 130">
            <a:extLst>
              <a:ext uri="{FF2B5EF4-FFF2-40B4-BE49-F238E27FC236}">
                <a16:creationId xmlns:a16="http://schemas.microsoft.com/office/drawing/2014/main" id="{4EEA0D73-893D-5B59-4DCD-091B3D1664D4}"/>
              </a:ext>
            </a:extLst>
          </p:cNvPr>
          <p:cNvSpPr/>
          <p:nvPr/>
        </p:nvSpPr>
        <p:spPr>
          <a:xfrm>
            <a:off x="300497" y="319527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2" name="모서리가 둥근 직사각형 167">
            <a:extLst>
              <a:ext uri="{FF2B5EF4-FFF2-40B4-BE49-F238E27FC236}">
                <a16:creationId xmlns:a16="http://schemas.microsoft.com/office/drawing/2014/main" id="{26B1D5B9-98C8-3B8D-09D7-85340EB559E3}"/>
              </a:ext>
            </a:extLst>
          </p:cNvPr>
          <p:cNvSpPr/>
          <p:nvPr/>
        </p:nvSpPr>
        <p:spPr>
          <a:xfrm>
            <a:off x="59209" y="3456972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대농텍스타일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33" name="모서리가 둥근 직사각형 167">
            <a:extLst>
              <a:ext uri="{FF2B5EF4-FFF2-40B4-BE49-F238E27FC236}">
                <a16:creationId xmlns:a16="http://schemas.microsoft.com/office/drawing/2014/main" id="{E6886747-9881-80A3-C4FD-682405DC8C1A}"/>
              </a:ext>
            </a:extLst>
          </p:cNvPr>
          <p:cNvSpPr/>
          <p:nvPr/>
        </p:nvSpPr>
        <p:spPr>
          <a:xfrm>
            <a:off x="59209" y="3831459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올웨이즈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34" name="타원 133">
            <a:extLst>
              <a:ext uri="{FF2B5EF4-FFF2-40B4-BE49-F238E27FC236}">
                <a16:creationId xmlns:a16="http://schemas.microsoft.com/office/drawing/2014/main" id="{2FBF56C6-7BAF-2461-371E-07784DE2F43C}"/>
              </a:ext>
            </a:extLst>
          </p:cNvPr>
          <p:cNvSpPr/>
          <p:nvPr/>
        </p:nvSpPr>
        <p:spPr>
          <a:xfrm>
            <a:off x="394905" y="452966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5.7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5" name="모서리가 둥근 직사각형 167">
            <a:extLst>
              <a:ext uri="{FF2B5EF4-FFF2-40B4-BE49-F238E27FC236}">
                <a16:creationId xmlns:a16="http://schemas.microsoft.com/office/drawing/2014/main" id="{DC624643-03D3-EFED-8A91-5E69A8D7ACF5}"/>
              </a:ext>
            </a:extLst>
          </p:cNvPr>
          <p:cNvSpPr/>
          <p:nvPr/>
        </p:nvSpPr>
        <p:spPr>
          <a:xfrm>
            <a:off x="574994" y="4847017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아산탕정개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36" name="직선 화살표 연결선 135">
            <a:extLst>
              <a:ext uri="{FF2B5EF4-FFF2-40B4-BE49-F238E27FC236}">
                <a16:creationId xmlns:a16="http://schemas.microsoft.com/office/drawing/2014/main" id="{78CEF387-12EB-7D88-DF94-095B6E423B88}"/>
              </a:ext>
            </a:extLst>
          </p:cNvPr>
          <p:cNvCxnSpPr>
            <a:cxnSpLocks/>
          </p:cNvCxnSpPr>
          <p:nvPr/>
        </p:nvCxnSpPr>
        <p:spPr>
          <a:xfrm>
            <a:off x="2538756" y="2212672"/>
            <a:ext cx="0" cy="142430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타원 136">
            <a:extLst>
              <a:ext uri="{FF2B5EF4-FFF2-40B4-BE49-F238E27FC236}">
                <a16:creationId xmlns:a16="http://schemas.microsoft.com/office/drawing/2014/main" id="{85AA3870-C1EF-96FC-59E7-2A1E2C8AE08F}"/>
              </a:ext>
            </a:extLst>
          </p:cNvPr>
          <p:cNvSpPr/>
          <p:nvPr/>
        </p:nvSpPr>
        <p:spPr>
          <a:xfrm>
            <a:off x="2230970" y="332014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3.1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38" name="직선 화살표 연결선 137">
            <a:extLst>
              <a:ext uri="{FF2B5EF4-FFF2-40B4-BE49-F238E27FC236}">
                <a16:creationId xmlns:a16="http://schemas.microsoft.com/office/drawing/2014/main" id="{1FF92D23-7103-6523-2314-10523DFD6B96}"/>
              </a:ext>
            </a:extLst>
          </p:cNvPr>
          <p:cNvCxnSpPr>
            <a:cxnSpLocks/>
          </p:cNvCxnSpPr>
          <p:nvPr/>
        </p:nvCxnSpPr>
        <p:spPr>
          <a:xfrm>
            <a:off x="1213397" y="2216207"/>
            <a:ext cx="0" cy="263081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타원 138">
            <a:extLst>
              <a:ext uri="{FF2B5EF4-FFF2-40B4-BE49-F238E27FC236}">
                <a16:creationId xmlns:a16="http://schemas.microsoft.com/office/drawing/2014/main" id="{EAAA602B-DE9C-839C-D7AD-1F57108BCC02}"/>
              </a:ext>
            </a:extLst>
          </p:cNvPr>
          <p:cNvSpPr/>
          <p:nvPr/>
        </p:nvSpPr>
        <p:spPr>
          <a:xfrm>
            <a:off x="907397" y="448075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40" name="직선 화살표 연결선 139">
            <a:extLst>
              <a:ext uri="{FF2B5EF4-FFF2-40B4-BE49-F238E27FC236}">
                <a16:creationId xmlns:a16="http://schemas.microsoft.com/office/drawing/2014/main" id="{60A1DA06-FCA5-AD2B-30AB-9140ACA49A72}"/>
              </a:ext>
            </a:extLst>
          </p:cNvPr>
          <p:cNvCxnSpPr>
            <a:cxnSpLocks/>
          </p:cNvCxnSpPr>
          <p:nvPr/>
        </p:nvCxnSpPr>
        <p:spPr>
          <a:xfrm>
            <a:off x="1934030" y="3085175"/>
            <a:ext cx="0" cy="593756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타원 140">
            <a:extLst>
              <a:ext uri="{FF2B5EF4-FFF2-40B4-BE49-F238E27FC236}">
                <a16:creationId xmlns:a16="http://schemas.microsoft.com/office/drawing/2014/main" id="{0428E658-1D99-BE5F-CF14-1C919B49156F}"/>
              </a:ext>
            </a:extLst>
          </p:cNvPr>
          <p:cNvSpPr/>
          <p:nvPr/>
        </p:nvSpPr>
        <p:spPr>
          <a:xfrm>
            <a:off x="1658543" y="346839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6.9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2" name="모서리가 둥근 직사각형 167">
            <a:extLst>
              <a:ext uri="{FF2B5EF4-FFF2-40B4-BE49-F238E27FC236}">
                <a16:creationId xmlns:a16="http://schemas.microsoft.com/office/drawing/2014/main" id="{4F06BEEF-CB29-805C-A5CD-0F91B1ACF7B4}"/>
              </a:ext>
            </a:extLst>
          </p:cNvPr>
          <p:cNvSpPr/>
          <p:nvPr/>
        </p:nvSpPr>
        <p:spPr>
          <a:xfrm>
            <a:off x="1723790" y="3651459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RA</a:t>
            </a:r>
            <a:r>
              <a:rPr lang="ko-KR" alt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제</a:t>
            </a:r>
            <a:r>
              <a:rPr lang="en-US" altLang="ko-KR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</a:t>
            </a:r>
            <a:r>
              <a:rPr lang="ko-KR" alt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위탁관리 </a:t>
            </a: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동산투자회사</a:t>
            </a:r>
            <a:endParaRPr kumimoji="0" lang="ko-KR" alt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43" name="모서리가 둥근 직사각형 167">
            <a:extLst>
              <a:ext uri="{FF2B5EF4-FFF2-40B4-BE49-F238E27FC236}">
                <a16:creationId xmlns:a16="http://schemas.microsoft.com/office/drawing/2014/main" id="{1D4468C0-3810-5985-68EB-1D1D8DDAC61C}"/>
              </a:ext>
            </a:extLst>
          </p:cNvPr>
          <p:cNvSpPr/>
          <p:nvPr/>
        </p:nvSpPr>
        <p:spPr>
          <a:xfrm>
            <a:off x="8251777" y="5405461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대농개발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44" name="직선 화살표 연결선 143">
            <a:extLst>
              <a:ext uri="{FF2B5EF4-FFF2-40B4-BE49-F238E27FC236}">
                <a16:creationId xmlns:a16="http://schemas.microsoft.com/office/drawing/2014/main" id="{3A487CD3-EC3C-C932-2E76-56B0E5DF1B64}"/>
              </a:ext>
            </a:extLst>
          </p:cNvPr>
          <p:cNvCxnSpPr>
            <a:cxnSpLocks/>
          </p:cNvCxnSpPr>
          <p:nvPr/>
        </p:nvCxnSpPr>
        <p:spPr>
          <a:xfrm>
            <a:off x="4044144" y="2212672"/>
            <a:ext cx="0" cy="263434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타원 144">
            <a:extLst>
              <a:ext uri="{FF2B5EF4-FFF2-40B4-BE49-F238E27FC236}">
                <a16:creationId xmlns:a16="http://schemas.microsoft.com/office/drawing/2014/main" id="{478C14AE-18BC-46DA-1088-FAE8A2DD7238}"/>
              </a:ext>
            </a:extLst>
          </p:cNvPr>
          <p:cNvSpPr/>
          <p:nvPr/>
        </p:nvSpPr>
        <p:spPr>
          <a:xfrm>
            <a:off x="3736358" y="448866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C90C197D-2174-C9C7-DAEB-9D1E4824F1F5}"/>
              </a:ext>
            </a:extLst>
          </p:cNvPr>
          <p:cNvSpPr/>
          <p:nvPr/>
        </p:nvSpPr>
        <p:spPr>
          <a:xfrm>
            <a:off x="2641390" y="4850590"/>
            <a:ext cx="2739689" cy="1101807"/>
          </a:xfrm>
          <a:prstGeom prst="rect">
            <a:avLst/>
          </a:prstGeom>
          <a:solidFill>
            <a:srgbClr val="F2F2F2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cxnSp>
        <p:nvCxnSpPr>
          <p:cNvPr id="147" name="직선 화살표 연결선 146">
            <a:extLst>
              <a:ext uri="{FF2B5EF4-FFF2-40B4-BE49-F238E27FC236}">
                <a16:creationId xmlns:a16="http://schemas.microsoft.com/office/drawing/2014/main" id="{9592A8AC-C2CF-3943-6A02-085AAD8CCDEE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1067209" y="2905085"/>
            <a:ext cx="325530" cy="27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타원 147">
            <a:extLst>
              <a:ext uri="{FF2B5EF4-FFF2-40B4-BE49-F238E27FC236}">
                <a16:creationId xmlns:a16="http://schemas.microsoft.com/office/drawing/2014/main" id="{9F98C072-104E-AF5A-780D-47B376261136}"/>
              </a:ext>
            </a:extLst>
          </p:cNvPr>
          <p:cNvSpPr/>
          <p:nvPr/>
        </p:nvSpPr>
        <p:spPr>
          <a:xfrm>
            <a:off x="919379" y="255979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6.9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49" name="직선 화살표 연결선 148">
            <a:extLst>
              <a:ext uri="{FF2B5EF4-FFF2-40B4-BE49-F238E27FC236}">
                <a16:creationId xmlns:a16="http://schemas.microsoft.com/office/drawing/2014/main" id="{AC9EDB6C-B9A2-4353-5E41-957C6E179BB6}"/>
              </a:ext>
            </a:extLst>
          </p:cNvPr>
          <p:cNvCxnSpPr>
            <a:cxnSpLocks/>
            <a:stCxn id="118" idx="2"/>
          </p:cNvCxnSpPr>
          <p:nvPr/>
        </p:nvCxnSpPr>
        <p:spPr>
          <a:xfrm flipH="1">
            <a:off x="5972594" y="5027970"/>
            <a:ext cx="4722" cy="251872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타원 149">
            <a:extLst>
              <a:ext uri="{FF2B5EF4-FFF2-40B4-BE49-F238E27FC236}">
                <a16:creationId xmlns:a16="http://schemas.microsoft.com/office/drawing/2014/main" id="{9808E180-42EF-1487-DE9A-2BE1304C891F}"/>
              </a:ext>
            </a:extLst>
          </p:cNvPr>
          <p:cNvSpPr/>
          <p:nvPr/>
        </p:nvSpPr>
        <p:spPr>
          <a:xfrm>
            <a:off x="5684594" y="508587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4" name="모서리가 둥근 직사각형 167">
            <a:extLst>
              <a:ext uri="{FF2B5EF4-FFF2-40B4-BE49-F238E27FC236}">
                <a16:creationId xmlns:a16="http://schemas.microsoft.com/office/drawing/2014/main" id="{E12EC8C3-C189-747E-AA07-D137C649B073}"/>
              </a:ext>
            </a:extLst>
          </p:cNvPr>
          <p:cNvSpPr/>
          <p:nvPr/>
        </p:nvSpPr>
        <p:spPr>
          <a:xfrm>
            <a:off x="5473316" y="5290261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홈스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동산중개법인</a:t>
            </a:r>
          </a:p>
        </p:txBody>
      </p:sp>
      <p:cxnSp>
        <p:nvCxnSpPr>
          <p:cNvPr id="156" name="직선 화살표 연결선 155">
            <a:extLst>
              <a:ext uri="{FF2B5EF4-FFF2-40B4-BE49-F238E27FC236}">
                <a16:creationId xmlns:a16="http://schemas.microsoft.com/office/drawing/2014/main" id="{DE175B65-B0A9-5033-638A-B41228461262}"/>
              </a:ext>
            </a:extLst>
          </p:cNvPr>
          <p:cNvCxnSpPr>
            <a:cxnSpLocks/>
            <a:endCxn id="161" idx="1"/>
          </p:cNvCxnSpPr>
          <p:nvPr/>
        </p:nvCxnSpPr>
        <p:spPr>
          <a:xfrm>
            <a:off x="7442658" y="4667970"/>
            <a:ext cx="747611" cy="69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타원 156">
            <a:extLst>
              <a:ext uri="{FF2B5EF4-FFF2-40B4-BE49-F238E27FC236}">
                <a16:creationId xmlns:a16="http://schemas.microsoft.com/office/drawing/2014/main" id="{F355BA3F-DB61-C63F-E8F9-DE2B10E9AC2C}"/>
              </a:ext>
            </a:extLst>
          </p:cNvPr>
          <p:cNvSpPr/>
          <p:nvPr/>
        </p:nvSpPr>
        <p:spPr>
          <a:xfrm>
            <a:off x="7507298" y="4583474"/>
            <a:ext cx="504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58" name="직선 화살표 연결선 157">
            <a:extLst>
              <a:ext uri="{FF2B5EF4-FFF2-40B4-BE49-F238E27FC236}">
                <a16:creationId xmlns:a16="http://schemas.microsoft.com/office/drawing/2014/main" id="{1CA2A14E-B499-DEB0-B4AD-FF1BDE14AF3B}"/>
              </a:ext>
            </a:extLst>
          </p:cNvPr>
          <p:cNvCxnSpPr>
            <a:cxnSpLocks/>
          </p:cNvCxnSpPr>
          <p:nvPr/>
        </p:nvCxnSpPr>
        <p:spPr>
          <a:xfrm>
            <a:off x="7442658" y="4242775"/>
            <a:ext cx="672642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타원 158">
            <a:extLst>
              <a:ext uri="{FF2B5EF4-FFF2-40B4-BE49-F238E27FC236}">
                <a16:creationId xmlns:a16="http://schemas.microsoft.com/office/drawing/2014/main" id="{CE84328D-E5E0-2761-2DC2-386DAD845C72}"/>
              </a:ext>
            </a:extLst>
          </p:cNvPr>
          <p:cNvSpPr/>
          <p:nvPr/>
        </p:nvSpPr>
        <p:spPr>
          <a:xfrm>
            <a:off x="7500522" y="4158279"/>
            <a:ext cx="504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8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60" name="모서리가 둥근 직사각형 167">
            <a:extLst>
              <a:ext uri="{FF2B5EF4-FFF2-40B4-BE49-F238E27FC236}">
                <a16:creationId xmlns:a16="http://schemas.microsoft.com/office/drawing/2014/main" id="{D5580E7D-4C70-F06D-8853-3005D2BD9878}"/>
              </a:ext>
            </a:extLst>
          </p:cNvPr>
          <p:cNvSpPr/>
          <p:nvPr/>
        </p:nvSpPr>
        <p:spPr>
          <a:xfrm>
            <a:off x="8115300" y="4062775"/>
            <a:ext cx="601792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3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</a:p>
        </p:txBody>
      </p:sp>
      <p:sp>
        <p:nvSpPr>
          <p:cNvPr id="161" name="모서리가 둥근 직사각형 167">
            <a:extLst>
              <a:ext uri="{FF2B5EF4-FFF2-40B4-BE49-F238E27FC236}">
                <a16:creationId xmlns:a16="http://schemas.microsoft.com/office/drawing/2014/main" id="{8DBFDB89-6FA7-C755-8C61-6E4DA7C8DB5D}"/>
              </a:ext>
            </a:extLst>
          </p:cNvPr>
          <p:cNvSpPr/>
          <p:nvPr/>
        </p:nvSpPr>
        <p:spPr>
          <a:xfrm>
            <a:off x="8190269" y="4488662"/>
            <a:ext cx="873956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올데이터센터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5" name="Text Placeholder 7">
            <a:extLst>
              <a:ext uri="{FF2B5EF4-FFF2-40B4-BE49-F238E27FC236}">
                <a16:creationId xmlns:a16="http://schemas.microsoft.com/office/drawing/2014/main" id="{BE7CA557-10CD-A68B-8AD3-9093793BFF86}"/>
              </a:ext>
            </a:extLst>
          </p:cNvPr>
          <p:cNvSpPr txBox="1">
            <a:spLocks/>
          </p:cNvSpPr>
          <p:nvPr/>
        </p:nvSpPr>
        <p:spPr>
          <a:xfrm>
            <a:off x="2649011" y="4862588"/>
            <a:ext cx="1440000" cy="8874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Y</a:t>
            </a: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도시개발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중부개발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BT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남부개발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시티디밸로퍼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홈스더블유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6" name="Text Placeholder 7">
            <a:extLst>
              <a:ext uri="{FF2B5EF4-FFF2-40B4-BE49-F238E27FC236}">
                <a16:creationId xmlns:a16="http://schemas.microsoft.com/office/drawing/2014/main" id="{961353AF-DF68-E0AC-DC12-C7F89493CA9F}"/>
              </a:ext>
            </a:extLst>
          </p:cNvPr>
          <p:cNvSpPr txBox="1">
            <a:spLocks/>
          </p:cNvSpPr>
          <p:nvPr/>
        </p:nvSpPr>
        <p:spPr>
          <a:xfrm>
            <a:off x="4018854" y="4865062"/>
            <a:ext cx="1440000" cy="8874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남부개발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SY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부개발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RA</a:t>
            </a: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위탁관리부동산투자회사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중부개발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46" name="직선 화살표 연결선 45">
            <a:extLst>
              <a:ext uri="{FF2B5EF4-FFF2-40B4-BE49-F238E27FC236}">
                <a16:creationId xmlns:a16="http://schemas.microsoft.com/office/drawing/2014/main" id="{7B8B5103-5F83-83AE-7FA2-E0D9EC31C5CB}"/>
              </a:ext>
            </a:extLst>
          </p:cNvPr>
          <p:cNvCxnSpPr>
            <a:cxnSpLocks/>
          </p:cNvCxnSpPr>
          <p:nvPr/>
        </p:nvCxnSpPr>
        <p:spPr>
          <a:xfrm>
            <a:off x="8965219" y="3540390"/>
            <a:ext cx="0" cy="940367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타원 46">
            <a:extLst>
              <a:ext uri="{FF2B5EF4-FFF2-40B4-BE49-F238E27FC236}">
                <a16:creationId xmlns:a16="http://schemas.microsoft.com/office/drawing/2014/main" id="{857CD248-F0C8-A43C-DC31-C632FB9468FE}"/>
              </a:ext>
            </a:extLst>
          </p:cNvPr>
          <p:cNvSpPr/>
          <p:nvPr/>
        </p:nvSpPr>
        <p:spPr>
          <a:xfrm>
            <a:off x="8670557" y="371632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9" name="모서리가 둥근 직사각형 167">
            <a:extLst>
              <a:ext uri="{FF2B5EF4-FFF2-40B4-BE49-F238E27FC236}">
                <a16:creationId xmlns:a16="http://schemas.microsoft.com/office/drawing/2014/main" id="{023A0553-5DE9-F2FE-E89F-C575D99B5C06}"/>
              </a:ext>
            </a:extLst>
          </p:cNvPr>
          <p:cNvSpPr/>
          <p:nvPr/>
        </p:nvSpPr>
        <p:spPr>
          <a:xfrm>
            <a:off x="9163366" y="4781223"/>
            <a:ext cx="65776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FV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제</a:t>
            </a:r>
            <a:r>
              <a:rPr lang="en-US" altLang="ko-KR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1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F3145AA3-FB13-48C0-B1B8-611BC3740430}"/>
              </a:ext>
            </a:extLst>
          </p:cNvPr>
          <p:cNvCxnSpPr>
            <a:cxnSpLocks/>
          </p:cNvCxnSpPr>
          <p:nvPr/>
        </p:nvCxnSpPr>
        <p:spPr>
          <a:xfrm>
            <a:off x="8484931" y="3567513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D95360B5-0E38-0DEC-FCB4-5B9519E4C485}"/>
              </a:ext>
            </a:extLst>
          </p:cNvPr>
          <p:cNvSpPr/>
          <p:nvPr/>
        </p:nvSpPr>
        <p:spPr>
          <a:xfrm>
            <a:off x="8190269" y="371944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.67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95D2E42A-9E35-16F6-D63F-B8540B45418E}"/>
              </a:ext>
            </a:extLst>
          </p:cNvPr>
          <p:cNvCxnSpPr>
            <a:cxnSpLocks/>
          </p:cNvCxnSpPr>
          <p:nvPr/>
        </p:nvCxnSpPr>
        <p:spPr>
          <a:xfrm>
            <a:off x="6476594" y="4967469"/>
            <a:ext cx="269788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419C6A76-F8CE-7832-F3B7-736D2629EA23}"/>
              </a:ext>
            </a:extLst>
          </p:cNvPr>
          <p:cNvSpPr/>
          <p:nvPr/>
        </p:nvSpPr>
        <p:spPr>
          <a:xfrm>
            <a:off x="7516436" y="4882973"/>
            <a:ext cx="504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55" name="모서리가 둥근 직사각형 167">
            <a:extLst>
              <a:ext uri="{FF2B5EF4-FFF2-40B4-BE49-F238E27FC236}">
                <a16:creationId xmlns:a16="http://schemas.microsoft.com/office/drawing/2014/main" id="{F2E17DB8-0A2A-609C-4CB6-0F14481863BD}"/>
              </a:ext>
            </a:extLst>
          </p:cNvPr>
          <p:cNvSpPr/>
          <p:nvPr/>
        </p:nvSpPr>
        <p:spPr>
          <a:xfrm>
            <a:off x="8399194" y="3202736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플러스</a:t>
            </a:r>
          </a:p>
        </p:txBody>
      </p: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58C3BC16-E73E-7997-F01A-5FADB19673D2}"/>
              </a:ext>
            </a:extLst>
          </p:cNvPr>
          <p:cNvCxnSpPr>
            <a:cxnSpLocks/>
          </p:cNvCxnSpPr>
          <p:nvPr/>
        </p:nvCxnSpPr>
        <p:spPr>
          <a:xfrm>
            <a:off x="9283412" y="3561038"/>
            <a:ext cx="0" cy="1202436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타원 64">
            <a:extLst>
              <a:ext uri="{FF2B5EF4-FFF2-40B4-BE49-F238E27FC236}">
                <a16:creationId xmlns:a16="http://schemas.microsoft.com/office/drawing/2014/main" id="{8D7086E1-0FD1-855B-A785-211D3514F735}"/>
              </a:ext>
            </a:extLst>
          </p:cNvPr>
          <p:cNvSpPr/>
          <p:nvPr/>
        </p:nvSpPr>
        <p:spPr>
          <a:xfrm>
            <a:off x="9039406" y="419455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B8545306-9E47-F279-DD52-7C94FBBDE43B}"/>
              </a:ext>
            </a:extLst>
          </p:cNvPr>
          <p:cNvSpPr/>
          <p:nvPr/>
        </p:nvSpPr>
        <p:spPr>
          <a:xfrm>
            <a:off x="7844788" y="1688162"/>
            <a:ext cx="1560779" cy="1028110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8" name="모서리가 둥근 직사각형 167">
            <a:extLst>
              <a:ext uri="{FF2B5EF4-FFF2-40B4-BE49-F238E27FC236}">
                <a16:creationId xmlns:a16="http://schemas.microsoft.com/office/drawing/2014/main" id="{57644DF9-3C7D-70F4-2812-5213D9B15A10}"/>
              </a:ext>
            </a:extLst>
          </p:cNvPr>
          <p:cNvSpPr/>
          <p:nvPr/>
        </p:nvSpPr>
        <p:spPr>
          <a:xfrm>
            <a:off x="7928756" y="1925505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모서리가 둥근 직사각형 167">
            <a:extLst>
              <a:ext uri="{FF2B5EF4-FFF2-40B4-BE49-F238E27FC236}">
                <a16:creationId xmlns:a16="http://schemas.microsoft.com/office/drawing/2014/main" id="{4283C8B7-0778-CB61-68A6-8845BDC09BBD}"/>
              </a:ext>
            </a:extLst>
          </p:cNvPr>
          <p:cNvSpPr/>
          <p:nvPr/>
        </p:nvSpPr>
        <p:spPr>
          <a:xfrm>
            <a:off x="7928756" y="2180254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6D6CE6D2-615F-EFA9-9A52-C04B811DDFF7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BB068272-6682-2197-0B99-003A346F288B}"/>
              </a:ext>
            </a:extLst>
          </p:cNvPr>
          <p:cNvSpPr/>
          <p:nvPr/>
        </p:nvSpPr>
        <p:spPr>
          <a:xfrm>
            <a:off x="7928756" y="2440632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3" name="모서리가 둥근 직사각형 167">
            <a:extLst>
              <a:ext uri="{FF2B5EF4-FFF2-40B4-BE49-F238E27FC236}">
                <a16:creationId xmlns:a16="http://schemas.microsoft.com/office/drawing/2014/main" id="{38355B5D-544D-A9BA-4387-767059EEB550}"/>
              </a:ext>
            </a:extLst>
          </p:cNvPr>
          <p:cNvSpPr/>
          <p:nvPr/>
        </p:nvSpPr>
        <p:spPr>
          <a:xfrm>
            <a:off x="8293213" y="1924747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5" name="모서리가 둥근 직사각형 167">
            <a:extLst>
              <a:ext uri="{FF2B5EF4-FFF2-40B4-BE49-F238E27FC236}">
                <a16:creationId xmlns:a16="http://schemas.microsoft.com/office/drawing/2014/main" id="{CC117464-3238-CADD-00D6-2FDE265CB0AA}"/>
              </a:ext>
            </a:extLst>
          </p:cNvPr>
          <p:cNvSpPr/>
          <p:nvPr/>
        </p:nvSpPr>
        <p:spPr>
          <a:xfrm>
            <a:off x="8293212" y="2176081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6" name="모서리가 둥근 직사각형 167">
            <a:extLst>
              <a:ext uri="{FF2B5EF4-FFF2-40B4-BE49-F238E27FC236}">
                <a16:creationId xmlns:a16="http://schemas.microsoft.com/office/drawing/2014/main" id="{8182AD40-CA40-72E1-A1C0-93CB63C04B5B}"/>
              </a:ext>
            </a:extLst>
          </p:cNvPr>
          <p:cNvSpPr/>
          <p:nvPr/>
        </p:nvSpPr>
        <p:spPr>
          <a:xfrm>
            <a:off x="8293213" y="2436435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941640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 부동산 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디벨로퍼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체 주택개발 사업이 주력 사업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나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트폴리오 확장을 위해 임대주택 사업수행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당신도시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서울 공덕동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충북 청주에서  다수의 굵직한 프로젝트 성공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시장 경기 침체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프로젝트파이낸싱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PF)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장 경색 등 악재가 겹치면서 실적 악화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리 인상과 원자재 가격 상승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분양 증가 등으로 개발사업 여건이 악화한 상황 속에서 수익성 개선을 위해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트폴리오 다각화를 추진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춘보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신영에서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무경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신영플러스로 중심 축 이동 中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달환경이 위축된 상황이라 딜을 완수하기 위해 자체자금 수혈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주 전남방직공장 부지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브릿지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대출이 이뤄지기 전까지 필요한 사업비를 자체자금으로 해결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31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확보를 위해 계열사로부터 차입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신영이 계열사로부터 차입한 금액은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’2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년 자기자본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(3851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억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96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만원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)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의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22.66%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의도엠비씨부지복합개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,67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보증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780535" y="1707465"/>
            <a:ext cx="997954" cy="178413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</a:t>
            </a: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2266021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1391190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1047482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4098" name="Picture 2" descr="CEOSCOREDAILY">
            <a:extLst>
              <a:ext uri="{FF2B5EF4-FFF2-40B4-BE49-F238E27FC236}">
                <a16:creationId xmlns:a16="http://schemas.microsoft.com/office/drawing/2014/main" id="{EEF13413-33E2-7E62-CA27-0280E3EDE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2299347"/>
            <a:ext cx="1598906" cy="50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08934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씨앤디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건설이 </a:t>
            </a:r>
            <a:r>
              <a:rPr lang="ko-KR" altLang="en-US" sz="900" i="0" dirty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씨앤디로</a:t>
            </a: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사명변경</a:t>
            </a:r>
            <a:endParaRPr lang="en-US" altLang="ko-KR" sz="900" i="0" dirty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더 높은 수익성 확보를 위해 </a:t>
            </a: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주사업 중심의 사업모델을 자체개발사업 중심으로 전환하고 있음</a:t>
            </a:r>
            <a:endParaRPr lang="en-US" altLang="ko-KR" sz="900" i="0" dirty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자체개발사업으로 전환하는 과정에서 외부 수주경쟁을 축소하여 실적감소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후 자체사업 추진으로 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고선전비</a:t>
            </a:r>
            <a:r>
              <a:rPr lang="en-US" altLang="ko-KR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접대비</a:t>
            </a:r>
            <a:r>
              <a:rPr lang="en-US" altLang="ko-KR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소모품비 등이 급증하며 </a:t>
            </a:r>
            <a:r>
              <a:rPr lang="ko-KR" altLang="en-US" sz="900" i="0" dirty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매비와관리비가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대폭 증가하였으나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분양수익 규모가 그보다↑</a:t>
            </a:r>
            <a:endParaRPr lang="en-US" altLang="ko-KR" sz="900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상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기말 현재 당사가 피소된 소송 </a:t>
            </a:r>
            <a:r>
              <a:rPr lang="en-US" altLang="ko-KR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1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</a:t>
            </a:r>
            <a:r>
              <a:rPr lang="en-US" altLang="ko-KR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dirty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소송가액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7</a:t>
            </a:r>
            <a:r>
              <a:rPr lang="ko-KR" altLang="en-US" sz="900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이 계류 중</a:t>
            </a:r>
            <a:endParaRPr lang="en-US" altLang="ko-KR" sz="900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씨앤디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1297158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8758485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8441139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6386" name="Picture 2" descr="신영씨앤디">
            <a:extLst>
              <a:ext uri="{FF2B5EF4-FFF2-40B4-BE49-F238E27FC236}">
                <a16:creationId xmlns:a16="http://schemas.microsoft.com/office/drawing/2014/main" id="{ACCA9494-9DBC-A70F-C9BC-8725C24B83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77" t="28279" r="14934" b="15426"/>
          <a:stretch/>
        </p:blipFill>
        <p:spPr bwMode="auto">
          <a:xfrm>
            <a:off x="536575" y="2236429"/>
            <a:ext cx="1548001" cy="665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979841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주요 계열사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24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청주테크노폴리스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6" y="1440000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BC279F-D7AA-C20A-2FE4-524427825D8D}"/>
              </a:ext>
            </a:extLst>
          </p:cNvPr>
          <p:cNvSpPr txBox="1"/>
          <p:nvPr/>
        </p:nvSpPr>
        <p:spPr>
          <a:xfrm>
            <a:off x="488950" y="1837651"/>
            <a:ext cx="4370387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플러스 산하 주요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규모 프로젝트로 총 분양수익이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127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 이르는 울산 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웰시티자이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·2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지 </a:t>
            </a:r>
            <a:r>
              <a:rPr kumimoji="1" lang="ko-KR" altLang="en-US" sz="90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발사업이이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있으며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‘20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,687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구의 물량을 모두 분양</a:t>
            </a: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E3DA101E-07AE-FA0F-1CAB-33F8A1CBD64C}"/>
              </a:ext>
            </a:extLst>
          </p:cNvPr>
          <p:cNvSpPr/>
          <p:nvPr/>
        </p:nvSpPr>
        <p:spPr>
          <a:xfrm>
            <a:off x="488950" y="1813560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8238AE5-DDF5-5E8D-75BB-713AC58B9CFC}"/>
              </a:ext>
            </a:extLst>
          </p:cNvPr>
          <p:cNvSpPr/>
          <p:nvPr/>
        </p:nvSpPr>
        <p:spPr>
          <a:xfrm>
            <a:off x="5046665" y="1443233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6F97E6A-1650-1D20-AF01-4ABC5E606D37}"/>
              </a:ext>
            </a:extLst>
          </p:cNvPr>
          <p:cNvSpPr/>
          <p:nvPr/>
        </p:nvSpPr>
        <p:spPr>
          <a:xfrm>
            <a:off x="6645571" y="1443233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2A1BEFFD-B22E-F3B5-4C6D-698A5DBFF70A}"/>
              </a:ext>
            </a:extLst>
          </p:cNvPr>
          <p:cNvSpPr/>
          <p:nvPr/>
        </p:nvSpPr>
        <p:spPr>
          <a:xfrm>
            <a:off x="5046662" y="1812162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3E522B-A8E8-B643-1E97-2339585DDB36}"/>
              </a:ext>
            </a:extLst>
          </p:cNvPr>
          <p:cNvSpPr txBox="1"/>
          <p:nvPr/>
        </p:nvSpPr>
        <p:spPr>
          <a:xfrm>
            <a:off x="5196978" y="1706067"/>
            <a:ext cx="1180550" cy="29153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청주테크노폴리스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38648" y="1707465"/>
            <a:ext cx="1295226" cy="211962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피에프브이제</a:t>
            </a: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2DC15F-E28D-E381-A4EF-0441A4E86CBF}"/>
              </a:ext>
            </a:extLst>
          </p:cNvPr>
          <p:cNvSpPr txBox="1"/>
          <p:nvPr/>
        </p:nvSpPr>
        <p:spPr>
          <a:xfrm>
            <a:off x="5046663" y="1831076"/>
            <a:ext cx="4374671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업ㆍ근린생활ㆍ준주거ㆍ노유자ㆍ주차시설로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’24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준공 목표로 추진될 예정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총 사업비가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84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 달하는 대규모 사업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도심형 첨단복합산업단지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청주테크노폴리스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발 사업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S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블록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경우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화재 출토 등으로 인허가가 지연되고 있는 상황</a:t>
            </a:r>
            <a:endParaRPr kumimoji="1" lang="ko-KR" altLang="en-US" sz="9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1A3A4AC-DE31-BB3B-D5CC-DDC94A442107}"/>
              </a:ext>
            </a:extLst>
          </p:cNvPr>
          <p:cNvSpPr txBox="1"/>
          <p:nvPr/>
        </p:nvSpPr>
        <p:spPr>
          <a:xfrm>
            <a:off x="5070218" y="3554410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43" name="차트 42">
            <a:extLst>
              <a:ext uri="{FF2B5EF4-FFF2-40B4-BE49-F238E27FC236}">
                <a16:creationId xmlns:a16="http://schemas.microsoft.com/office/drawing/2014/main" id="{701E204A-4E30-EBA6-DB35-ABC50A7D69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5762016"/>
              </p:ext>
            </p:extLst>
          </p:nvPr>
        </p:nvGraphicFramePr>
        <p:xfrm>
          <a:off x="373826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985657FE-19CD-5EB1-B74A-15515E3DA6F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495836-E42C-D71D-8EA4-13CFC170401C}"/>
              </a:ext>
            </a:extLst>
          </p:cNvPr>
          <p:cNvSpPr txBox="1"/>
          <p:nvPr/>
        </p:nvSpPr>
        <p:spPr>
          <a:xfrm>
            <a:off x="2896472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8B8EFC-EBC2-C633-EE86-427261F86EDD}"/>
              </a:ext>
            </a:extLst>
          </p:cNvPr>
          <p:cNvSpPr txBox="1"/>
          <p:nvPr/>
        </p:nvSpPr>
        <p:spPr>
          <a:xfrm>
            <a:off x="2868356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50" name="차트 49">
            <a:extLst>
              <a:ext uri="{FF2B5EF4-FFF2-40B4-BE49-F238E27FC236}">
                <a16:creationId xmlns:a16="http://schemas.microsoft.com/office/drawing/2014/main" id="{49D9EA0D-48E0-A3A0-CAAF-038C2FF2A8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8757378"/>
              </p:ext>
            </p:extLst>
          </p:nvPr>
        </p:nvGraphicFramePr>
        <p:xfrm>
          <a:off x="4963382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1" name="TextBox 50">
            <a:extLst>
              <a:ext uri="{FF2B5EF4-FFF2-40B4-BE49-F238E27FC236}">
                <a16:creationId xmlns:a16="http://schemas.microsoft.com/office/drawing/2014/main" id="{C142CBB2-06EE-CF34-40C9-EC131416F7E9}"/>
              </a:ext>
            </a:extLst>
          </p:cNvPr>
          <p:cNvSpPr txBox="1"/>
          <p:nvPr/>
        </p:nvSpPr>
        <p:spPr>
          <a:xfrm>
            <a:off x="5078505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이익률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B81C5F-1717-EE11-A237-92E5797166B1}"/>
              </a:ext>
            </a:extLst>
          </p:cNvPr>
          <p:cNvSpPr txBox="1"/>
          <p:nvPr/>
        </p:nvSpPr>
        <p:spPr>
          <a:xfrm>
            <a:off x="5079709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AB9ADD-1D7D-2198-EF45-1B42FF4B77CE}"/>
              </a:ext>
            </a:extLst>
          </p:cNvPr>
          <p:cNvSpPr txBox="1"/>
          <p:nvPr/>
        </p:nvSpPr>
        <p:spPr>
          <a:xfrm>
            <a:off x="7486028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94B760-0369-25A9-0F08-8957B0CF555B}"/>
              </a:ext>
            </a:extLst>
          </p:cNvPr>
          <p:cNvSpPr txBox="1"/>
          <p:nvPr/>
        </p:nvSpPr>
        <p:spPr>
          <a:xfrm>
            <a:off x="7457912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2508601-458C-7D19-6FCF-191A9470B3A8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564CC1F-9F5D-502A-D60C-A083FF6036CA}"/>
              </a:ext>
            </a:extLst>
          </p:cNvPr>
          <p:cNvSpPr txBox="1"/>
          <p:nvPr/>
        </p:nvSpPr>
        <p:spPr>
          <a:xfrm>
            <a:off x="404833" y="3522966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167FF5-10FA-4C3E-5CC9-8C4495D64CE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60" name="차트 59">
            <a:extLst>
              <a:ext uri="{FF2B5EF4-FFF2-40B4-BE49-F238E27FC236}">
                <a16:creationId xmlns:a16="http://schemas.microsoft.com/office/drawing/2014/main" id="{FCA239EC-83AA-66A1-33B4-B510D1BFCC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5428427"/>
              </p:ext>
            </p:extLst>
          </p:nvPr>
        </p:nvGraphicFramePr>
        <p:xfrm>
          <a:off x="488947" y="3557278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1" name="차트 40">
            <a:extLst>
              <a:ext uri="{FF2B5EF4-FFF2-40B4-BE49-F238E27FC236}">
                <a16:creationId xmlns:a16="http://schemas.microsoft.com/office/drawing/2014/main" id="{B1FED9BB-BA32-A25F-7186-90251A122F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7181998"/>
              </p:ext>
            </p:extLst>
          </p:nvPr>
        </p:nvGraphicFramePr>
        <p:xfrm>
          <a:off x="2780143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3" name="차트 62">
            <a:extLst>
              <a:ext uri="{FF2B5EF4-FFF2-40B4-BE49-F238E27FC236}">
                <a16:creationId xmlns:a16="http://schemas.microsoft.com/office/drawing/2014/main" id="{3FC541C7-519A-A38C-4EE5-86933485A3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4116258"/>
              </p:ext>
            </p:extLst>
          </p:nvPr>
        </p:nvGraphicFramePr>
        <p:xfrm>
          <a:off x="5046378" y="3519403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9" name="차트 38">
            <a:extLst>
              <a:ext uri="{FF2B5EF4-FFF2-40B4-BE49-F238E27FC236}">
                <a16:creationId xmlns:a16="http://schemas.microsoft.com/office/drawing/2014/main" id="{1A2BDD92-0E6F-EA0B-7B8B-308858909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2833024"/>
              </p:ext>
            </p:extLst>
          </p:nvPr>
        </p:nvGraphicFramePr>
        <p:xfrm>
          <a:off x="7369699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51F2FC0B-A73C-B2EE-3F78-876597A8CBA8}"/>
              </a:ext>
            </a:extLst>
          </p:cNvPr>
          <p:cNvCxnSpPr>
            <a:cxnSpLocks/>
          </p:cNvCxnSpPr>
          <p:nvPr/>
        </p:nvCxnSpPr>
        <p:spPr>
          <a:xfrm>
            <a:off x="3343274" y="5943600"/>
            <a:ext cx="521171" cy="0"/>
          </a:xfrm>
          <a:prstGeom prst="straightConnector1">
            <a:avLst/>
          </a:prstGeom>
          <a:ln w="3175">
            <a:solidFill>
              <a:srgbClr val="C0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8880617-13C7-79E3-FC5B-D9648B68070A}"/>
              </a:ext>
            </a:extLst>
          </p:cNvPr>
          <p:cNvSpPr txBox="1"/>
          <p:nvPr/>
        </p:nvSpPr>
        <p:spPr>
          <a:xfrm>
            <a:off x="3338556" y="5941968"/>
            <a:ext cx="762001" cy="1588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800" b="1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본잠식</a:t>
            </a:r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3D5A8FB8-FE80-F500-7C04-F2C123E20DE2}"/>
              </a:ext>
            </a:extLst>
          </p:cNvPr>
          <p:cNvCxnSpPr>
            <a:cxnSpLocks/>
          </p:cNvCxnSpPr>
          <p:nvPr/>
        </p:nvCxnSpPr>
        <p:spPr>
          <a:xfrm>
            <a:off x="8041202" y="5943600"/>
            <a:ext cx="1365992" cy="0"/>
          </a:xfrm>
          <a:prstGeom prst="straightConnector1">
            <a:avLst/>
          </a:prstGeom>
          <a:ln w="3175">
            <a:solidFill>
              <a:srgbClr val="C0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7C99B64-E026-9D5B-3138-EF3FA91090CF}"/>
              </a:ext>
            </a:extLst>
          </p:cNvPr>
          <p:cNvSpPr txBox="1"/>
          <p:nvPr/>
        </p:nvSpPr>
        <p:spPr>
          <a:xfrm>
            <a:off x="8497061" y="5941968"/>
            <a:ext cx="762001" cy="1588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800" b="1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본잠식</a:t>
            </a:r>
          </a:p>
        </p:txBody>
      </p:sp>
    </p:spTree>
    <p:extLst>
      <p:ext uri="{BB962C8B-B14F-4D97-AF65-F5344CB8AC3E}">
        <p14:creationId xmlns:p14="http://schemas.microsoft.com/office/powerpoint/2010/main" val="24895123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kumimoji="0" lang="ko-K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자금조달 필요성</a:t>
            </a:r>
            <a:r>
              <a:rPr kumimoji="0" lang="ko-KR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 </a:t>
            </a:r>
            <a:r>
              <a:rPr kumimoji="0" lang="en-US" altLang="ko-KR" sz="24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– </a:t>
            </a:r>
            <a:r>
              <a:rPr kumimoji="0" lang="ko-KR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응방안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6ED1E5F-2C1C-6297-463C-B2A8363C04C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graphicFrame>
        <p:nvGraphicFramePr>
          <p:cNvPr id="4" name="표 17">
            <a:extLst>
              <a:ext uri="{FF2B5EF4-FFF2-40B4-BE49-F238E27FC236}">
                <a16:creationId xmlns:a16="http://schemas.microsoft.com/office/drawing/2014/main" id="{D169E0D0-1DE4-1DB7-E3BE-2EED60C7912E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DF7C85B9-84DD-558B-A0E5-406BEF9DE0ED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E31D0E3E-CCFF-26A7-62A2-F158A0A33314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12" name="직사각형 11">
            <a:extLst>
              <a:ext uri="{FF2B5EF4-FFF2-40B4-BE49-F238E27FC236}">
                <a16:creationId xmlns:a16="http://schemas.microsoft.com/office/drawing/2014/main" id="{415BA2B9-6BCD-6B30-2961-0A4DCECBD7A2}"/>
              </a:ext>
            </a:extLst>
          </p:cNvPr>
          <p:cNvSpPr/>
          <p:nvPr/>
        </p:nvSpPr>
        <p:spPr>
          <a:xfrm>
            <a:off x="488950" y="1724400"/>
            <a:ext cx="826503" cy="34572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</a:t>
            </a:r>
            <a:endParaRPr lang="ko-KR" altLang="en-US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8D224282-7DF3-88D9-827F-B630679A9A3A}"/>
              </a:ext>
            </a:extLst>
          </p:cNvPr>
          <p:cNvSpPr/>
          <p:nvPr/>
        </p:nvSpPr>
        <p:spPr>
          <a:xfrm>
            <a:off x="1379622" y="1724400"/>
            <a:ext cx="5111572" cy="34572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사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시장 위축에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 자금 투입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확대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2.1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endParaRPr kumimoji="0" lang="en-US" altLang="ko-KR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분양가 고수하던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디벨로퍼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‘부진’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5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의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난해 매출은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069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은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754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집계됐다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년과 비교하면 매출액은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3%,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은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8%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떨어진 것</a:t>
            </a:r>
            <a:endParaRPr lang="en-US" altLang="ko-KR" sz="10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부진 원인으로는 분양 매출 감소가 꼽힌다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〮〮〮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계에서는 올해 실적도 좋지 못할 것으로 보고 있다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</a:p>
          <a:p>
            <a:pPr>
              <a:spcAft>
                <a:spcPts val="300"/>
              </a:spcAft>
              <a:buClr>
                <a:srgbClr val="00338D"/>
              </a:buClr>
            </a:pPr>
            <a:endParaRPr lang="en-US" altLang="ko-KR" sz="105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'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디벨로퍼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최초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출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찍는다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5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난해 주춤한 실적을 기록한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이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올해 반등을 노리고 있다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해는 </a:t>
            </a:r>
            <a:r>
              <a:rPr lang="ko-KR" altLang="en-US" sz="1000" b="1" u="sng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용인역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플랫폼시티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운대 </a:t>
            </a:r>
            <a:r>
              <a:rPr lang="ko-KR" altLang="en-US" sz="1000" b="1" u="sng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푸르지오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b="1" u="sng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더원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대규모 </a:t>
            </a:r>
            <a:r>
              <a:rPr lang="ko-KR" altLang="en-US" sz="1000" b="1" u="sng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후분양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단지들의 매출 인식이 이뤄지면서 매출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기록할 것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으로 보고 있다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10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spcAft>
                <a:spcPts val="300"/>
              </a:spcAft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＇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용인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＇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역시 무리였나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300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명 몰린 플랫폼시티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＇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반전 상황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 /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운대 아파트 저층부터 팔렸다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‘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푸르지오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더원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 선착순 계약서 반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5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용인 플랫폼시티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명 청약했지만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ko-KR" altLang="en-US" sz="1000" b="1" u="sng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약률</a:t>
            </a:r>
            <a:r>
              <a:rPr lang="ko-KR" altLang="en-US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1%’</a:t>
            </a:r>
            <a:endParaRPr lang="en-US" altLang="ko-KR" sz="10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운대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푸르지오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더원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정당계약률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%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준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착순 계약 통해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%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까지 반등</a:t>
            </a:r>
            <a:endParaRPr lang="en-US" altLang="ko-KR" sz="10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endParaRPr lang="en-US" altLang="ko-KR" sz="105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탁사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장 침체에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높은 건전성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…"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형신탁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수요↑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5)</a:t>
            </a:r>
            <a:endParaRPr kumimoji="0" lang="en-US" altLang="ko-KR" sz="105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F187F6D1-ECB9-8DE9-CDED-65FBAD3C4225}"/>
              </a:ext>
            </a:extLst>
          </p:cNvPr>
          <p:cNvSpPr/>
          <p:nvPr/>
        </p:nvSpPr>
        <p:spPr>
          <a:xfrm>
            <a:off x="6555363" y="1724400"/>
            <a:ext cx="2861687" cy="34572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그룹은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경기 침체 영향으로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재무실적 악화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 자금 투입 확대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대규모 사업장 분양 진행으로 매출 상승 기대되었으나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〮</a:t>
            </a:r>
            <a:r>
              <a:rPr lang="en-US" altLang="ko-KR" sz="12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〮〮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기 </a:t>
            </a:r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약률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%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촉진책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통해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계약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물량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률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제고 노력 中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신탁 및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국자산캐피탈이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업황 부진에도 실적 방어 성공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시장 침체 지속 시 우발채무 현실화 등에 대비한 자금조달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할 것으로 예상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조달 </a:t>
            </a:r>
            <a:r>
              <a:rPr lang="en-US" altLang="ko-KR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예상 계열사 </a:t>
            </a:r>
            <a: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br>
              <a:rPr lang="en-US" altLang="ko-KR" sz="12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엠디엠플러스</a:t>
            </a:r>
            <a:endParaRPr lang="ko-KR" altLang="en-US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5" name="Picture 4" descr="계열사 | MDM">
            <a:extLst>
              <a:ext uri="{FF2B5EF4-FFF2-40B4-BE49-F238E27FC236}">
                <a16:creationId xmlns:a16="http://schemas.microsoft.com/office/drawing/2014/main" id="{A3635F31-1A54-82AE-3805-1779C5646A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18"/>
          <a:stretch/>
        </p:blipFill>
        <p:spPr bwMode="auto">
          <a:xfrm>
            <a:off x="570082" y="2915351"/>
            <a:ext cx="696743" cy="494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209440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 주요 계열사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4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의도엠비씨부지복합개발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,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농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6" y="1440000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BC279F-D7AA-C20A-2FE4-524427825D8D}"/>
              </a:ext>
            </a:extLst>
          </p:cNvPr>
          <p:cNvSpPr txBox="1"/>
          <p:nvPr/>
        </p:nvSpPr>
        <p:spPr>
          <a:xfrm>
            <a:off x="484666" y="1885276"/>
            <a:ext cx="4374671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브라이튼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여의도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누적분양손익 마이너스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땅 매입에 대규모 자금을 투입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공사비 급증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선임대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후분양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전환으로 금융비용이 증가</a:t>
            </a:r>
            <a:r>
              <a:rPr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만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~9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주거단지 입주가 예정되어 오피스텔 잔금과 아파트 임대보증금으로 누적분양손실은 해소될 전망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은 임대보증금 유입을 통해 유동성을 확보한 뒤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후 분양을 실시해 사업이익을 극대화할 예정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E3DA101E-07AE-FA0F-1CAB-33F8A1CBD64C}"/>
              </a:ext>
            </a:extLst>
          </p:cNvPr>
          <p:cNvSpPr/>
          <p:nvPr/>
        </p:nvSpPr>
        <p:spPr>
          <a:xfrm>
            <a:off x="488950" y="1813560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8238AE5-DDF5-5E8D-75BB-713AC58B9CFC}"/>
              </a:ext>
            </a:extLst>
          </p:cNvPr>
          <p:cNvSpPr/>
          <p:nvPr/>
        </p:nvSpPr>
        <p:spPr>
          <a:xfrm>
            <a:off x="5046665" y="1443233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6F97E6A-1650-1D20-AF01-4ABC5E606D37}"/>
              </a:ext>
            </a:extLst>
          </p:cNvPr>
          <p:cNvSpPr/>
          <p:nvPr/>
        </p:nvSpPr>
        <p:spPr>
          <a:xfrm>
            <a:off x="6645571" y="1443233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2A1BEFFD-B22E-F3B5-4C6D-698A5DBFF70A}"/>
              </a:ext>
            </a:extLst>
          </p:cNvPr>
          <p:cNvSpPr/>
          <p:nvPr/>
        </p:nvSpPr>
        <p:spPr>
          <a:xfrm>
            <a:off x="5046662" y="1812162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3E522B-A8E8-B643-1E97-2339585DDB36}"/>
              </a:ext>
            </a:extLst>
          </p:cNvPr>
          <p:cNvSpPr txBox="1"/>
          <p:nvPr/>
        </p:nvSpPr>
        <p:spPr>
          <a:xfrm>
            <a:off x="5490216" y="1706067"/>
            <a:ext cx="660897" cy="29153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농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38648" y="1707465"/>
            <a:ext cx="1295226" cy="211962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여의도엠비씨부지</a:t>
            </a:r>
            <a:b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복합개발</a:t>
            </a: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V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2DC15F-E28D-E381-A4EF-0441A4E86CBF}"/>
              </a:ext>
            </a:extLst>
          </p:cNvPr>
          <p:cNvSpPr txBox="1"/>
          <p:nvPr/>
        </p:nvSpPr>
        <p:spPr>
          <a:xfrm>
            <a:off x="5046663" y="1831076"/>
            <a:ext cx="4374671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로 면방</a:t>
            </a:r>
            <a:r>
              <a:rPr lang="en-US" altLang="ko-KR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 dirty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패션소재 사업을 수행</a:t>
            </a:r>
            <a:endParaRPr lang="en-US" altLang="ko-KR" sz="900" i="0" dirty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900" b="1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면방부문 대규모 적자 속에서 대농의 현금흐름이 악화</a:t>
            </a:r>
            <a:endParaRPr kumimoji="1" lang="en-US" altLang="ko-KR" sz="900" b="1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kumimoji="1" lang="ko-KR" altLang="en-US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kumimoji="1" lang="en-US" altLang="ko-KR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1</a:t>
            </a:r>
            <a:r>
              <a:rPr kumimoji="1" lang="ko-KR" altLang="en-US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의류사업부문은 물적방식으로 분할되었으며</a:t>
            </a:r>
            <a:r>
              <a:rPr kumimoji="1" lang="en-US" altLang="ko-KR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1" lang="ko-KR" altLang="en-US" sz="900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 부동산 개발 매출은 발생하지 않음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1A3A4AC-DE31-BB3B-D5CC-DDC94A442107}"/>
              </a:ext>
            </a:extLst>
          </p:cNvPr>
          <p:cNvSpPr txBox="1"/>
          <p:nvPr/>
        </p:nvSpPr>
        <p:spPr>
          <a:xfrm>
            <a:off x="5070218" y="3554410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43" name="차트 42">
            <a:extLst>
              <a:ext uri="{FF2B5EF4-FFF2-40B4-BE49-F238E27FC236}">
                <a16:creationId xmlns:a16="http://schemas.microsoft.com/office/drawing/2014/main" id="{701E204A-4E30-EBA6-DB35-ABC50A7D69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2897585"/>
              </p:ext>
            </p:extLst>
          </p:nvPr>
        </p:nvGraphicFramePr>
        <p:xfrm>
          <a:off x="373826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985657FE-19CD-5EB1-B74A-15515E3DA6F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495836-E42C-D71D-8EA4-13CFC170401C}"/>
              </a:ext>
            </a:extLst>
          </p:cNvPr>
          <p:cNvSpPr txBox="1"/>
          <p:nvPr/>
        </p:nvSpPr>
        <p:spPr>
          <a:xfrm>
            <a:off x="2896472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8B8EFC-EBC2-C633-EE86-427261F86EDD}"/>
              </a:ext>
            </a:extLst>
          </p:cNvPr>
          <p:cNvSpPr txBox="1"/>
          <p:nvPr/>
        </p:nvSpPr>
        <p:spPr>
          <a:xfrm>
            <a:off x="2868356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50" name="차트 49">
            <a:extLst>
              <a:ext uri="{FF2B5EF4-FFF2-40B4-BE49-F238E27FC236}">
                <a16:creationId xmlns:a16="http://schemas.microsoft.com/office/drawing/2014/main" id="{49D9EA0D-48E0-A3A0-CAAF-038C2FF2A8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0380355"/>
              </p:ext>
            </p:extLst>
          </p:nvPr>
        </p:nvGraphicFramePr>
        <p:xfrm>
          <a:off x="4963382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1" name="TextBox 50">
            <a:extLst>
              <a:ext uri="{FF2B5EF4-FFF2-40B4-BE49-F238E27FC236}">
                <a16:creationId xmlns:a16="http://schemas.microsoft.com/office/drawing/2014/main" id="{C142CBB2-06EE-CF34-40C9-EC131416F7E9}"/>
              </a:ext>
            </a:extLst>
          </p:cNvPr>
          <p:cNvSpPr txBox="1"/>
          <p:nvPr/>
        </p:nvSpPr>
        <p:spPr>
          <a:xfrm>
            <a:off x="5078505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이익률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B81C5F-1717-EE11-A237-92E5797166B1}"/>
              </a:ext>
            </a:extLst>
          </p:cNvPr>
          <p:cNvSpPr txBox="1"/>
          <p:nvPr/>
        </p:nvSpPr>
        <p:spPr>
          <a:xfrm>
            <a:off x="5079709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AB9ADD-1D7D-2198-EF45-1B42FF4B77CE}"/>
              </a:ext>
            </a:extLst>
          </p:cNvPr>
          <p:cNvSpPr txBox="1"/>
          <p:nvPr/>
        </p:nvSpPr>
        <p:spPr>
          <a:xfrm>
            <a:off x="7486028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94B760-0369-25A9-0F08-8957B0CF555B}"/>
              </a:ext>
            </a:extLst>
          </p:cNvPr>
          <p:cNvSpPr txBox="1"/>
          <p:nvPr/>
        </p:nvSpPr>
        <p:spPr>
          <a:xfrm>
            <a:off x="7457912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2508601-458C-7D19-6FCF-191A9470B3A8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564CC1F-9F5D-502A-D60C-A083FF6036CA}"/>
              </a:ext>
            </a:extLst>
          </p:cNvPr>
          <p:cNvSpPr txBox="1"/>
          <p:nvPr/>
        </p:nvSpPr>
        <p:spPr>
          <a:xfrm>
            <a:off x="404833" y="3522966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167FF5-10FA-4C3E-5CC9-8C4495D64CE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60" name="차트 59">
            <a:extLst>
              <a:ext uri="{FF2B5EF4-FFF2-40B4-BE49-F238E27FC236}">
                <a16:creationId xmlns:a16="http://schemas.microsoft.com/office/drawing/2014/main" id="{FCA239EC-83AA-66A1-33B4-B510D1BFCC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8727353"/>
              </p:ext>
            </p:extLst>
          </p:nvPr>
        </p:nvGraphicFramePr>
        <p:xfrm>
          <a:off x="488947" y="3557278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1" name="차트 40">
            <a:extLst>
              <a:ext uri="{FF2B5EF4-FFF2-40B4-BE49-F238E27FC236}">
                <a16:creationId xmlns:a16="http://schemas.microsoft.com/office/drawing/2014/main" id="{B1FED9BB-BA32-A25F-7186-90251A122F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9413367"/>
              </p:ext>
            </p:extLst>
          </p:nvPr>
        </p:nvGraphicFramePr>
        <p:xfrm>
          <a:off x="2780143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3" name="차트 62">
            <a:extLst>
              <a:ext uri="{FF2B5EF4-FFF2-40B4-BE49-F238E27FC236}">
                <a16:creationId xmlns:a16="http://schemas.microsoft.com/office/drawing/2014/main" id="{3FC541C7-519A-A38C-4EE5-86933485A3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112968"/>
              </p:ext>
            </p:extLst>
          </p:nvPr>
        </p:nvGraphicFramePr>
        <p:xfrm>
          <a:off x="5046378" y="3519403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9" name="차트 38">
            <a:extLst>
              <a:ext uri="{FF2B5EF4-FFF2-40B4-BE49-F238E27FC236}">
                <a16:creationId xmlns:a16="http://schemas.microsoft.com/office/drawing/2014/main" id="{1A2BDD92-0E6F-EA0B-7B8B-308858909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8686561"/>
              </p:ext>
            </p:extLst>
          </p:nvPr>
        </p:nvGraphicFramePr>
        <p:xfrm>
          <a:off x="7369699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" name="직선 화살표 연결선 3">
            <a:extLst>
              <a:ext uri="{FF2B5EF4-FFF2-40B4-BE49-F238E27FC236}">
                <a16:creationId xmlns:a16="http://schemas.microsoft.com/office/drawing/2014/main" id="{51F2FC0B-A73C-B2EE-3F78-876597A8CBA8}"/>
              </a:ext>
            </a:extLst>
          </p:cNvPr>
          <p:cNvCxnSpPr>
            <a:cxnSpLocks/>
          </p:cNvCxnSpPr>
          <p:nvPr/>
        </p:nvCxnSpPr>
        <p:spPr>
          <a:xfrm>
            <a:off x="3915596" y="5943600"/>
            <a:ext cx="943741" cy="0"/>
          </a:xfrm>
          <a:prstGeom prst="straightConnector1">
            <a:avLst/>
          </a:prstGeom>
          <a:ln w="3175">
            <a:solidFill>
              <a:srgbClr val="C00000"/>
            </a:solidFill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8880617-13C7-79E3-FC5B-D9648B68070A}"/>
              </a:ext>
            </a:extLst>
          </p:cNvPr>
          <p:cNvSpPr txBox="1"/>
          <p:nvPr/>
        </p:nvSpPr>
        <p:spPr>
          <a:xfrm>
            <a:off x="4134439" y="5941968"/>
            <a:ext cx="762001" cy="15883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800" b="1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본잠식</a:t>
            </a:r>
          </a:p>
        </p:txBody>
      </p:sp>
    </p:spTree>
    <p:extLst>
      <p:ext uri="{BB962C8B-B14F-4D97-AF65-F5344CB8AC3E}">
        <p14:creationId xmlns:p14="http://schemas.microsoft.com/office/powerpoint/2010/main" val="171726729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유진그룹</a:t>
            </a:r>
          </a:p>
        </p:txBody>
      </p:sp>
    </p:spTree>
    <p:extLst>
      <p:ext uri="{BB962C8B-B14F-4D97-AF65-F5344CB8AC3E}">
        <p14:creationId xmlns:p14="http://schemas.microsoft.com/office/powerpoint/2010/main" val="347427373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고정이하자산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중 부동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관련 매입대출채권 多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우발채무 전액이 매입확약으로 구성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중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·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후순위 약정이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70%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를 상회해 위험성 高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보유 자회사 지분을 이용하여 자금 조달이 가능한 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건자재 유통 실적이 개선세인 점을 감안하여 향후 방향성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6148" name="Picture 4" descr="유진투자증권 로고">
            <a:extLst>
              <a:ext uri="{FF2B5EF4-FFF2-40B4-BE49-F238E27FC236}">
                <a16:creationId xmlns:a16="http://schemas.microsoft.com/office/drawing/2014/main" id="{D5BF69B5-7A76-594F-A875-D47326129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53" y="2560158"/>
            <a:ext cx="1871999" cy="571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직선 연결선 3">
            <a:extLst>
              <a:ext uri="{FF2B5EF4-FFF2-40B4-BE49-F238E27FC236}">
                <a16:creationId xmlns:a16="http://schemas.microsoft.com/office/drawing/2014/main" id="{E0AE3193-79A5-5E6E-ACD6-F8EF91CD43D1}"/>
              </a:ext>
            </a:extLst>
          </p:cNvPr>
          <p:cNvCxnSpPr>
            <a:cxnSpLocks/>
          </p:cNvCxnSpPr>
          <p:nvPr/>
        </p:nvCxnSpPr>
        <p:spPr>
          <a:xfrm>
            <a:off x="503453" y="3531705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16DF192B-BF20-7E18-B641-2CDD2E93892D}"/>
              </a:ext>
            </a:extLst>
          </p:cNvPr>
          <p:cNvSpPr/>
          <p:nvPr/>
        </p:nvSpPr>
        <p:spPr>
          <a:xfrm>
            <a:off x="4492421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0AAAE10A-D430-7B75-7B0B-E4B8C7F66FD6}"/>
              </a:ext>
            </a:extLst>
          </p:cNvPr>
          <p:cNvSpPr/>
          <p:nvPr/>
        </p:nvSpPr>
        <p:spPr>
          <a:xfrm>
            <a:off x="4492421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D5D2624B-B3AF-E703-7563-CF03D0E2D28F}"/>
              </a:ext>
            </a:extLst>
          </p:cNvPr>
          <p:cNvSpPr/>
          <p:nvPr/>
        </p:nvSpPr>
        <p:spPr>
          <a:xfrm>
            <a:off x="4492421" y="2826922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F3D3EE1-4B42-3175-CC87-7DA868B158C1}"/>
              </a:ext>
            </a:extLst>
          </p:cNvPr>
          <p:cNvSpPr/>
          <p:nvPr/>
        </p:nvSpPr>
        <p:spPr>
          <a:xfrm>
            <a:off x="4492421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B878C79A-202D-47BF-5708-AD12A98CA6AA}"/>
              </a:ext>
            </a:extLst>
          </p:cNvPr>
          <p:cNvSpPr/>
          <p:nvPr/>
        </p:nvSpPr>
        <p:spPr>
          <a:xfrm>
            <a:off x="4492421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420325F-B11D-4937-3860-51C04D23BF34}"/>
              </a:ext>
            </a:extLst>
          </p:cNvPr>
          <p:cNvSpPr/>
          <p:nvPr/>
        </p:nvSpPr>
        <p:spPr>
          <a:xfrm>
            <a:off x="6907453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9C40CC9A-F1A9-55B0-F9F3-D2F83B6A82B4}"/>
              </a:ext>
            </a:extLst>
          </p:cNvPr>
          <p:cNvSpPr/>
          <p:nvPr/>
        </p:nvSpPr>
        <p:spPr>
          <a:xfrm>
            <a:off x="6907453" y="264171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874F9866-6935-702C-7180-0A180B788242}"/>
              </a:ext>
            </a:extLst>
          </p:cNvPr>
          <p:cNvSpPr/>
          <p:nvPr/>
        </p:nvSpPr>
        <p:spPr>
          <a:xfrm>
            <a:off x="6907453" y="282692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1E5F8CA7-E1B7-506D-0334-C4F8B4DDDF81}"/>
              </a:ext>
            </a:extLst>
          </p:cNvPr>
          <p:cNvSpPr/>
          <p:nvPr/>
        </p:nvSpPr>
        <p:spPr>
          <a:xfrm>
            <a:off x="6907453" y="301212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F3F33C83-A248-2193-0A0B-A89946D6108C}"/>
              </a:ext>
            </a:extLst>
          </p:cNvPr>
          <p:cNvSpPr/>
          <p:nvPr/>
        </p:nvSpPr>
        <p:spPr>
          <a:xfrm>
            <a:off x="6907453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B6C99FDD-9792-825B-679B-72326397127B}"/>
              </a:ext>
            </a:extLst>
          </p:cNvPr>
          <p:cNvSpPr/>
          <p:nvPr/>
        </p:nvSpPr>
        <p:spPr>
          <a:xfrm>
            <a:off x="9322485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BEB1A82-79D6-4E34-3304-1E6D4354B1FA}"/>
              </a:ext>
            </a:extLst>
          </p:cNvPr>
          <p:cNvSpPr/>
          <p:nvPr/>
        </p:nvSpPr>
        <p:spPr>
          <a:xfrm>
            <a:off x="9322485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5BC34169-AED4-C124-63A3-7C3A90108F00}"/>
              </a:ext>
            </a:extLst>
          </p:cNvPr>
          <p:cNvSpPr/>
          <p:nvPr/>
        </p:nvSpPr>
        <p:spPr>
          <a:xfrm>
            <a:off x="9322485" y="282692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66DFBBB4-A73A-0A3A-C0ED-1161C762988D}"/>
              </a:ext>
            </a:extLst>
          </p:cNvPr>
          <p:cNvSpPr/>
          <p:nvPr/>
        </p:nvSpPr>
        <p:spPr>
          <a:xfrm>
            <a:off x="9322485" y="301212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89EBE15D-0A05-BBF3-4212-1182A82E55D7}"/>
              </a:ext>
            </a:extLst>
          </p:cNvPr>
          <p:cNvSpPr/>
          <p:nvPr/>
        </p:nvSpPr>
        <p:spPr>
          <a:xfrm>
            <a:off x="9322485" y="319732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D75E1C-267D-99AF-B4B2-686839D4FECB}"/>
              </a:ext>
            </a:extLst>
          </p:cNvPr>
          <p:cNvSpPr txBox="1"/>
          <p:nvPr/>
        </p:nvSpPr>
        <p:spPr>
          <a:xfrm>
            <a:off x="2420276" y="241240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,07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의 영업이익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13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으로 급감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기업금융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IB)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문에서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규 거래가 감소하고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브릿지론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차환에 난항을 겪는 등 실적이 악화할 것으로 예측됨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F2C25D7-957E-19F5-86B3-98B281147BD0}"/>
              </a:ext>
            </a:extLst>
          </p:cNvPr>
          <p:cNvSpPr txBox="1"/>
          <p:nvPr/>
        </p:nvSpPr>
        <p:spPr>
          <a:xfrm>
            <a:off x="4789290" y="2406125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중소형 하우스 중 부동산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프로젝트 파이낸싱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)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익스포저가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높은 편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3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기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고정이하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자산은 총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677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이며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중 부동산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와 관련된 매입대출채권은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004</a:t>
            </a:r>
            <a:endParaRPr lang="ko-KR" altLang="en-US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CC75FE9-CC21-7DD1-8034-D6EA2A79968A}"/>
              </a:ext>
            </a:extLst>
          </p:cNvPr>
          <p:cNvSpPr txBox="1"/>
          <p:nvPr/>
        </p:nvSpPr>
        <p:spPr>
          <a:xfrm>
            <a:off x="7231622" y="241774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5" name="직선 연결선 84">
            <a:extLst>
              <a:ext uri="{FF2B5EF4-FFF2-40B4-BE49-F238E27FC236}">
                <a16:creationId xmlns:a16="http://schemas.microsoft.com/office/drawing/2014/main" id="{CC38A032-7336-F45B-909A-8942A97A0FF1}"/>
              </a:ext>
            </a:extLst>
          </p:cNvPr>
          <p:cNvCxnSpPr>
            <a:cxnSpLocks/>
          </p:cNvCxnSpPr>
          <p:nvPr/>
        </p:nvCxnSpPr>
        <p:spPr>
          <a:xfrm>
            <a:off x="503453" y="4844837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2C76C388-89A3-A983-3D32-DF648D2A6B81}"/>
              </a:ext>
            </a:extLst>
          </p:cNvPr>
          <p:cNvSpPr/>
          <p:nvPr/>
        </p:nvSpPr>
        <p:spPr>
          <a:xfrm>
            <a:off x="4492421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DE5E35DF-650C-A79C-B922-B12758C09D65}"/>
              </a:ext>
            </a:extLst>
          </p:cNvPr>
          <p:cNvSpPr/>
          <p:nvPr/>
        </p:nvSpPr>
        <p:spPr>
          <a:xfrm>
            <a:off x="4492421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527BE5BA-CF8D-9037-E7BB-C3FCD74DE6F1}"/>
              </a:ext>
            </a:extLst>
          </p:cNvPr>
          <p:cNvSpPr/>
          <p:nvPr/>
        </p:nvSpPr>
        <p:spPr>
          <a:xfrm>
            <a:off x="4492421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614BF82E-8345-C512-5C35-914236D787FF}"/>
              </a:ext>
            </a:extLst>
          </p:cNvPr>
          <p:cNvSpPr/>
          <p:nvPr/>
        </p:nvSpPr>
        <p:spPr>
          <a:xfrm>
            <a:off x="4492421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36A942FF-6FFB-520B-C4AA-BA2BA5B948A9}"/>
              </a:ext>
            </a:extLst>
          </p:cNvPr>
          <p:cNvSpPr/>
          <p:nvPr/>
        </p:nvSpPr>
        <p:spPr>
          <a:xfrm>
            <a:off x="4492421" y="451046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6A5BAF84-3FB4-4AA6-0EB2-A2631A244E3E}"/>
              </a:ext>
            </a:extLst>
          </p:cNvPr>
          <p:cNvSpPr/>
          <p:nvPr/>
        </p:nvSpPr>
        <p:spPr>
          <a:xfrm>
            <a:off x="6907453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1FB4FA68-27A5-BD31-970A-A7E7E1DAA093}"/>
              </a:ext>
            </a:extLst>
          </p:cNvPr>
          <p:cNvSpPr/>
          <p:nvPr/>
        </p:nvSpPr>
        <p:spPr>
          <a:xfrm>
            <a:off x="6907453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BBDC58FE-C9D3-24B7-5CE2-2704B89585B8}"/>
              </a:ext>
            </a:extLst>
          </p:cNvPr>
          <p:cNvSpPr/>
          <p:nvPr/>
        </p:nvSpPr>
        <p:spPr>
          <a:xfrm>
            <a:off x="6907453" y="414005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57E6E7AC-1D6C-BA4A-F50F-3A486F72297B}"/>
              </a:ext>
            </a:extLst>
          </p:cNvPr>
          <p:cNvSpPr/>
          <p:nvPr/>
        </p:nvSpPr>
        <p:spPr>
          <a:xfrm>
            <a:off x="6907453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4C6002F0-B7BD-34AA-254B-9D274933872C}"/>
              </a:ext>
            </a:extLst>
          </p:cNvPr>
          <p:cNvSpPr/>
          <p:nvPr/>
        </p:nvSpPr>
        <p:spPr>
          <a:xfrm>
            <a:off x="6907453" y="451046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2C7E014A-A0D9-D496-F865-20FC4F090A65}"/>
              </a:ext>
            </a:extLst>
          </p:cNvPr>
          <p:cNvSpPr/>
          <p:nvPr/>
        </p:nvSpPr>
        <p:spPr>
          <a:xfrm>
            <a:off x="9322485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942F9793-E409-E84E-3B25-CD8C4DDA5CC9}"/>
              </a:ext>
            </a:extLst>
          </p:cNvPr>
          <p:cNvSpPr/>
          <p:nvPr/>
        </p:nvSpPr>
        <p:spPr>
          <a:xfrm>
            <a:off x="9322485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831A21A9-7353-B1C5-7232-885593CA8D59}"/>
              </a:ext>
            </a:extLst>
          </p:cNvPr>
          <p:cNvSpPr/>
          <p:nvPr/>
        </p:nvSpPr>
        <p:spPr>
          <a:xfrm>
            <a:off x="9322485" y="4140054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13FF020D-A854-F147-0103-286653548E4E}"/>
              </a:ext>
            </a:extLst>
          </p:cNvPr>
          <p:cNvSpPr/>
          <p:nvPr/>
        </p:nvSpPr>
        <p:spPr>
          <a:xfrm>
            <a:off x="9322485" y="432525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2380C5E-FBEB-0710-0F38-ADFCD9272D25}"/>
              </a:ext>
            </a:extLst>
          </p:cNvPr>
          <p:cNvSpPr/>
          <p:nvPr/>
        </p:nvSpPr>
        <p:spPr>
          <a:xfrm>
            <a:off x="9322485" y="451046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188484E-A617-DF51-85A9-5E997564E6C3}"/>
              </a:ext>
            </a:extLst>
          </p:cNvPr>
          <p:cNvSpPr txBox="1"/>
          <p:nvPr/>
        </p:nvSpPr>
        <p:spPr>
          <a:xfrm>
            <a:off x="2420276" y="37255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매출 전년동기 대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.7%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r>
              <a:rPr lang="en-US" altLang="ko-KR" sz="900" i="0" kern="0">
                <a:solidFill>
                  <a:schemeClr val="bg2">
                    <a:lumMod val="25000"/>
                  </a:schemeClr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900" i="0" kern="0">
                <a:solidFill>
                  <a:schemeClr val="bg2">
                    <a:lumMod val="25000"/>
                  </a:schemeClr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레미콘 판매가격 증가</a:t>
            </a:r>
            <a:endParaRPr lang="en-US" altLang="ko-KR" sz="900" i="0" kern="0">
              <a:solidFill>
                <a:schemeClr val="bg2">
                  <a:lumMod val="25000"/>
                </a:schemeClr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0" kern="0">
                <a:solidFill>
                  <a:schemeClr val="bg2">
                    <a:lumMod val="25000"/>
                  </a:schemeClr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국내 레미콘 업체 </a:t>
            </a:r>
            <a:r>
              <a:rPr lang="en-US" altLang="ko-KR" sz="900" i="0" kern="0">
                <a:solidFill>
                  <a:schemeClr val="bg2">
                    <a:lumMod val="25000"/>
                  </a:schemeClr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i="0" kern="0">
                <a:solidFill>
                  <a:schemeClr val="bg2">
                    <a:lumMod val="25000"/>
                  </a:schemeClr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위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0C6F50A-5468-54CC-A624-C23D20ED16B3}"/>
              </a:ext>
            </a:extLst>
          </p:cNvPr>
          <p:cNvSpPr txBox="1"/>
          <p:nvPr/>
        </p:nvSpPr>
        <p:spPr>
          <a:xfrm>
            <a:off x="4789290" y="371925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.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으로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을 상회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7.5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낮은 수준 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AE9122D-286C-D575-50AE-0ACB895BB6E2}"/>
              </a:ext>
            </a:extLst>
          </p:cNvPr>
          <p:cNvSpPr txBox="1"/>
          <p:nvPr/>
        </p:nvSpPr>
        <p:spPr>
          <a:xfrm>
            <a:off x="7231622" y="37308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최근 유진그룹은 배달 대행 플랫폼 ‘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릉’을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운영하는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니콘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스타트업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메쉬코리아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인수전에 참여하는 등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성장 동력 발굴노력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05" name="직선 연결선 104">
            <a:extLst>
              <a:ext uri="{FF2B5EF4-FFF2-40B4-BE49-F238E27FC236}">
                <a16:creationId xmlns:a16="http://schemas.microsoft.com/office/drawing/2014/main" id="{D690BBC4-87CB-BA02-C89F-C10826A0C848}"/>
              </a:ext>
            </a:extLst>
          </p:cNvPr>
          <p:cNvCxnSpPr>
            <a:cxnSpLocks/>
          </p:cNvCxnSpPr>
          <p:nvPr/>
        </p:nvCxnSpPr>
        <p:spPr>
          <a:xfrm>
            <a:off x="503453" y="6142952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직사각형 105">
            <a:extLst>
              <a:ext uri="{FF2B5EF4-FFF2-40B4-BE49-F238E27FC236}">
                <a16:creationId xmlns:a16="http://schemas.microsoft.com/office/drawing/2014/main" id="{0F979912-2EDE-104A-5283-9F20ECB17073}"/>
              </a:ext>
            </a:extLst>
          </p:cNvPr>
          <p:cNvSpPr/>
          <p:nvPr/>
        </p:nvSpPr>
        <p:spPr>
          <a:xfrm>
            <a:off x="4492421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F37D760F-8CD3-690F-350F-2E6D51C404A8}"/>
              </a:ext>
            </a:extLst>
          </p:cNvPr>
          <p:cNvSpPr/>
          <p:nvPr/>
        </p:nvSpPr>
        <p:spPr>
          <a:xfrm>
            <a:off x="4492421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9" name="직사각형 108">
            <a:extLst>
              <a:ext uri="{FF2B5EF4-FFF2-40B4-BE49-F238E27FC236}">
                <a16:creationId xmlns:a16="http://schemas.microsoft.com/office/drawing/2014/main" id="{CB358CC2-8D02-D4DD-041F-E253C6C1B3B1}"/>
              </a:ext>
            </a:extLst>
          </p:cNvPr>
          <p:cNvSpPr/>
          <p:nvPr/>
        </p:nvSpPr>
        <p:spPr>
          <a:xfrm>
            <a:off x="4492421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0" name="직사각형 109">
            <a:extLst>
              <a:ext uri="{FF2B5EF4-FFF2-40B4-BE49-F238E27FC236}">
                <a16:creationId xmlns:a16="http://schemas.microsoft.com/office/drawing/2014/main" id="{3DD14D60-E28E-4461-6706-4728002D302B}"/>
              </a:ext>
            </a:extLst>
          </p:cNvPr>
          <p:cNvSpPr/>
          <p:nvPr/>
        </p:nvSpPr>
        <p:spPr>
          <a:xfrm>
            <a:off x="4492421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1" name="직사각형 110">
            <a:extLst>
              <a:ext uri="{FF2B5EF4-FFF2-40B4-BE49-F238E27FC236}">
                <a16:creationId xmlns:a16="http://schemas.microsoft.com/office/drawing/2014/main" id="{5C5977B1-1107-BC58-329F-8A3866C8982F}"/>
              </a:ext>
            </a:extLst>
          </p:cNvPr>
          <p:cNvSpPr/>
          <p:nvPr/>
        </p:nvSpPr>
        <p:spPr>
          <a:xfrm>
            <a:off x="4492421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2" name="직사각형 111">
            <a:extLst>
              <a:ext uri="{FF2B5EF4-FFF2-40B4-BE49-F238E27FC236}">
                <a16:creationId xmlns:a16="http://schemas.microsoft.com/office/drawing/2014/main" id="{62CAD4F4-A39F-A052-47AC-DCAC78F988CD}"/>
              </a:ext>
            </a:extLst>
          </p:cNvPr>
          <p:cNvSpPr/>
          <p:nvPr/>
        </p:nvSpPr>
        <p:spPr>
          <a:xfrm>
            <a:off x="6907453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3" name="직사각형 112">
            <a:extLst>
              <a:ext uri="{FF2B5EF4-FFF2-40B4-BE49-F238E27FC236}">
                <a16:creationId xmlns:a16="http://schemas.microsoft.com/office/drawing/2014/main" id="{B579F2B1-C80B-AEEB-1216-6BEB8F9609D4}"/>
              </a:ext>
            </a:extLst>
          </p:cNvPr>
          <p:cNvSpPr/>
          <p:nvPr/>
        </p:nvSpPr>
        <p:spPr>
          <a:xfrm>
            <a:off x="6907453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4" name="직사각형 113">
            <a:extLst>
              <a:ext uri="{FF2B5EF4-FFF2-40B4-BE49-F238E27FC236}">
                <a16:creationId xmlns:a16="http://schemas.microsoft.com/office/drawing/2014/main" id="{612BD4C1-7FEC-E5DE-3C6C-0F7EA3DEE393}"/>
              </a:ext>
            </a:extLst>
          </p:cNvPr>
          <p:cNvSpPr/>
          <p:nvPr/>
        </p:nvSpPr>
        <p:spPr>
          <a:xfrm>
            <a:off x="6907453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5" name="직사각형 114">
            <a:extLst>
              <a:ext uri="{FF2B5EF4-FFF2-40B4-BE49-F238E27FC236}">
                <a16:creationId xmlns:a16="http://schemas.microsoft.com/office/drawing/2014/main" id="{BE2C54C1-226D-01C6-1137-7E737B13B6EA}"/>
              </a:ext>
            </a:extLst>
          </p:cNvPr>
          <p:cNvSpPr/>
          <p:nvPr/>
        </p:nvSpPr>
        <p:spPr>
          <a:xfrm>
            <a:off x="6907453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6" name="직사각형 115">
            <a:extLst>
              <a:ext uri="{FF2B5EF4-FFF2-40B4-BE49-F238E27FC236}">
                <a16:creationId xmlns:a16="http://schemas.microsoft.com/office/drawing/2014/main" id="{046C8BCE-FB4B-F57D-B908-25F8D4F38AA4}"/>
              </a:ext>
            </a:extLst>
          </p:cNvPr>
          <p:cNvSpPr/>
          <p:nvPr/>
        </p:nvSpPr>
        <p:spPr>
          <a:xfrm>
            <a:off x="6907453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7" name="직사각형 116">
            <a:extLst>
              <a:ext uri="{FF2B5EF4-FFF2-40B4-BE49-F238E27FC236}">
                <a16:creationId xmlns:a16="http://schemas.microsoft.com/office/drawing/2014/main" id="{F598FC5F-EBBB-6BFB-72D6-AD55638CD360}"/>
              </a:ext>
            </a:extLst>
          </p:cNvPr>
          <p:cNvSpPr/>
          <p:nvPr/>
        </p:nvSpPr>
        <p:spPr>
          <a:xfrm>
            <a:off x="9322485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8" name="직사각형 117">
            <a:extLst>
              <a:ext uri="{FF2B5EF4-FFF2-40B4-BE49-F238E27FC236}">
                <a16:creationId xmlns:a16="http://schemas.microsoft.com/office/drawing/2014/main" id="{048E79C1-3C2B-5BD4-37C2-6A37A66121BE}"/>
              </a:ext>
            </a:extLst>
          </p:cNvPr>
          <p:cNvSpPr/>
          <p:nvPr/>
        </p:nvSpPr>
        <p:spPr>
          <a:xfrm>
            <a:off x="9322485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9" name="직사각형 118">
            <a:extLst>
              <a:ext uri="{FF2B5EF4-FFF2-40B4-BE49-F238E27FC236}">
                <a16:creationId xmlns:a16="http://schemas.microsoft.com/office/drawing/2014/main" id="{B6A10E30-28A3-A769-032F-767B6D3BA2D1}"/>
              </a:ext>
            </a:extLst>
          </p:cNvPr>
          <p:cNvSpPr/>
          <p:nvPr/>
        </p:nvSpPr>
        <p:spPr>
          <a:xfrm>
            <a:off x="9322485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0" name="직사각형 119">
            <a:extLst>
              <a:ext uri="{FF2B5EF4-FFF2-40B4-BE49-F238E27FC236}">
                <a16:creationId xmlns:a16="http://schemas.microsoft.com/office/drawing/2014/main" id="{C914A2B9-184E-A559-092D-56645B0245F6}"/>
              </a:ext>
            </a:extLst>
          </p:cNvPr>
          <p:cNvSpPr/>
          <p:nvPr/>
        </p:nvSpPr>
        <p:spPr>
          <a:xfrm>
            <a:off x="9322485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1" name="직사각형 120">
            <a:extLst>
              <a:ext uri="{FF2B5EF4-FFF2-40B4-BE49-F238E27FC236}">
                <a16:creationId xmlns:a16="http://schemas.microsoft.com/office/drawing/2014/main" id="{732BF53D-A865-A473-94D7-03581C77628D}"/>
              </a:ext>
            </a:extLst>
          </p:cNvPr>
          <p:cNvSpPr/>
          <p:nvPr/>
        </p:nvSpPr>
        <p:spPr>
          <a:xfrm>
            <a:off x="9322485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2CE65AF5-94CD-E387-3E76-4ED600C3BC94}"/>
              </a:ext>
            </a:extLst>
          </p:cNvPr>
          <p:cNvSpPr txBox="1"/>
          <p:nvPr/>
        </p:nvSpPr>
        <p:spPr>
          <a:xfrm>
            <a:off x="2420276" y="502364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진기업에서 인수 후 시너지 창출 및 높은 성장률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7D58B347-96AD-2949-977F-3650EC182DAF}"/>
              </a:ext>
            </a:extLst>
          </p:cNvPr>
          <p:cNvSpPr txBox="1"/>
          <p:nvPr/>
        </p:nvSpPr>
        <p:spPr>
          <a:xfrm>
            <a:off x="4789290" y="50173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.8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을 상회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은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6.3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낮은 수준 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FEDF1DC-C7E1-935E-CA14-A9D8FFEE6364}"/>
              </a:ext>
            </a:extLst>
          </p:cNvPr>
          <p:cNvSpPr txBox="1"/>
          <p:nvPr/>
        </p:nvSpPr>
        <p:spPr>
          <a:xfrm>
            <a:off x="7231622" y="502898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99FA6C07-B77C-1DFC-7A17-D2C1EF6E8DD5}"/>
              </a:ext>
            </a:extLst>
          </p:cNvPr>
          <p:cNvSpPr txBox="1"/>
          <p:nvPr/>
        </p:nvSpPr>
        <p:spPr>
          <a:xfrm>
            <a:off x="488948" y="62025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pic>
        <p:nvPicPr>
          <p:cNvPr id="126" name="Picture 2" descr="유진기업, 환경성적표지 13개 인증 획득 &lt; 건자재 &lt; 유진뉴스 &lt; News &lt; 기사본문 - 유진에버">
            <a:extLst>
              <a:ext uri="{FF2B5EF4-FFF2-40B4-BE49-F238E27FC236}">
                <a16:creationId xmlns:a16="http://schemas.microsoft.com/office/drawing/2014/main" id="{9331C707-1507-D180-7ED2-C6393AEAF0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6" t="19076" r="10271" b="19945"/>
          <a:stretch/>
        </p:blipFill>
        <p:spPr bwMode="auto">
          <a:xfrm>
            <a:off x="638198" y="3854475"/>
            <a:ext cx="1602508" cy="65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4" descr="유진그룹 계열 동양, 잇딴 수주에 실적 개선 청신호 | 한국경제">
            <a:extLst>
              <a:ext uri="{FF2B5EF4-FFF2-40B4-BE49-F238E27FC236}">
                <a16:creationId xmlns:a16="http://schemas.microsoft.com/office/drawing/2014/main" id="{CFE909E7-D838-9DA7-0131-E1AF61F84C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23" y="5067763"/>
            <a:ext cx="1292651" cy="739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976986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유진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4433186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유진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유경선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대한민국 서울특별시 영등포구 </a:t>
                      </a: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국제금융로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4 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유진빌딩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54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2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78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9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,744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5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자재유통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서비스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물류서비스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기업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990503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DC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7177180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6,94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,7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6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9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8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46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2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49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3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2,08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7,6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5,7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14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1,72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8,49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7,3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18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DC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T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투자증권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1954136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로지스틱스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</a:t>
            </a:r>
            <a:r>
              <a:rPr lang="en-US" altLang="ko-KR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T</a:t>
            </a:r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서비스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자산운용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3A43F36-7E8C-B110-B5E1-C42059243E5B}"/>
              </a:ext>
            </a:extLst>
          </p:cNvPr>
          <p:cNvSpPr/>
          <p:nvPr/>
        </p:nvSpPr>
        <p:spPr>
          <a:xfrm>
            <a:off x="6213452" y="3539795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투자선물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F8E6925F-F5B9-1FA3-8F3E-76626F7FE754}"/>
              </a:ext>
            </a:extLst>
          </p:cNvPr>
          <p:cNvSpPr/>
          <p:nvPr/>
        </p:nvSpPr>
        <p:spPr>
          <a:xfrm>
            <a:off x="6213452" y="402297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</a:t>
            </a:r>
            <a:b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프라이빗에쿼티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421C031A-0EFB-4D08-01C8-EA62529588E4}"/>
              </a:ext>
            </a:extLst>
          </p:cNvPr>
          <p:cNvSpPr/>
          <p:nvPr/>
        </p:nvSpPr>
        <p:spPr>
          <a:xfrm>
            <a:off x="5125647" y="306545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양</a:t>
            </a:r>
          </a:p>
        </p:txBody>
      </p:sp>
    </p:spTree>
    <p:extLst>
      <p:ext uri="{BB962C8B-B14F-4D97-AF65-F5344CB8AC3E}">
        <p14:creationId xmlns:p14="http://schemas.microsoft.com/office/powerpoint/2010/main" val="23670626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8" name="직선 화살표 연결선 97">
            <a:extLst>
              <a:ext uri="{FF2B5EF4-FFF2-40B4-BE49-F238E27FC236}">
                <a16:creationId xmlns:a16="http://schemas.microsoft.com/office/drawing/2014/main" id="{8017EE6E-C96F-A51C-73DB-AABEA0353493}"/>
              </a:ext>
            </a:extLst>
          </p:cNvPr>
          <p:cNvCxnSpPr>
            <a:cxnSpLocks/>
            <a:endCxn id="78" idx="4"/>
          </p:cNvCxnSpPr>
          <p:nvPr/>
        </p:nvCxnSpPr>
        <p:spPr>
          <a:xfrm>
            <a:off x="1461816" y="4534560"/>
            <a:ext cx="1727" cy="1394178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영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cxnSp>
        <p:nvCxnSpPr>
          <p:cNvPr id="3" name="직선 화살표 연결선 2">
            <a:extLst>
              <a:ext uri="{FF2B5EF4-FFF2-40B4-BE49-F238E27FC236}">
                <a16:creationId xmlns:a16="http://schemas.microsoft.com/office/drawing/2014/main" id="{12E9A57D-7BA8-0AC8-F668-EB25D1B43760}"/>
              </a:ext>
            </a:extLst>
          </p:cNvPr>
          <p:cNvCxnSpPr>
            <a:cxnSpLocks/>
          </p:cNvCxnSpPr>
          <p:nvPr/>
        </p:nvCxnSpPr>
        <p:spPr>
          <a:xfrm>
            <a:off x="2525505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모서리가 둥근 직사각형 167">
            <a:extLst>
              <a:ext uri="{FF2B5EF4-FFF2-40B4-BE49-F238E27FC236}">
                <a16:creationId xmlns:a16="http://schemas.microsoft.com/office/drawing/2014/main" id="{495560B2-49D3-51A1-3D87-5FAF5D530005}"/>
              </a:ext>
            </a:extLst>
          </p:cNvPr>
          <p:cNvSpPr/>
          <p:nvPr/>
        </p:nvSpPr>
        <p:spPr>
          <a:xfrm>
            <a:off x="4170042" y="1777769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기업</a:t>
            </a:r>
          </a:p>
        </p:txBody>
      </p: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DBD5A51F-2A94-6F1B-934A-982662F1BFF7}"/>
              </a:ext>
            </a:extLst>
          </p:cNvPr>
          <p:cNvCxnSpPr>
            <a:cxnSpLocks/>
          </p:cNvCxnSpPr>
          <p:nvPr/>
        </p:nvCxnSpPr>
        <p:spPr>
          <a:xfrm flipH="1">
            <a:off x="1191975" y="2251708"/>
            <a:ext cx="6563074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7FAC13E1-2382-9FFD-D377-591968BD8037}"/>
              </a:ext>
            </a:extLst>
          </p:cNvPr>
          <p:cNvCxnSpPr>
            <a:cxnSpLocks/>
          </p:cNvCxnSpPr>
          <p:nvPr/>
        </p:nvCxnSpPr>
        <p:spPr>
          <a:xfrm>
            <a:off x="3900809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5B41D92A-CABA-6377-AB43-6D176C51ADF6}"/>
              </a:ext>
            </a:extLst>
          </p:cNvPr>
          <p:cNvCxnSpPr>
            <a:cxnSpLocks/>
          </p:cNvCxnSpPr>
          <p:nvPr/>
        </p:nvCxnSpPr>
        <p:spPr>
          <a:xfrm>
            <a:off x="1191975" y="225170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타원 8">
            <a:extLst>
              <a:ext uri="{FF2B5EF4-FFF2-40B4-BE49-F238E27FC236}">
                <a16:creationId xmlns:a16="http://schemas.microsoft.com/office/drawing/2014/main" id="{A62AE0D9-8E89-2B1F-19F1-3AF219051A9F}"/>
              </a:ext>
            </a:extLst>
          </p:cNvPr>
          <p:cNvSpPr/>
          <p:nvPr/>
        </p:nvSpPr>
        <p:spPr>
          <a:xfrm>
            <a:off x="905543" y="240573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8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" name="타원 9">
            <a:extLst>
              <a:ext uri="{FF2B5EF4-FFF2-40B4-BE49-F238E27FC236}">
                <a16:creationId xmlns:a16="http://schemas.microsoft.com/office/drawing/2014/main" id="{A99671FF-3B5F-495A-1584-91A920A848B7}"/>
              </a:ext>
            </a:extLst>
          </p:cNvPr>
          <p:cNvSpPr/>
          <p:nvPr/>
        </p:nvSpPr>
        <p:spPr>
          <a:xfrm>
            <a:off x="2234958" y="240573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7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" name="타원 10">
            <a:extLst>
              <a:ext uri="{FF2B5EF4-FFF2-40B4-BE49-F238E27FC236}">
                <a16:creationId xmlns:a16="http://schemas.microsoft.com/office/drawing/2014/main" id="{8771DE65-F891-CC22-0988-3EDF6681239F}"/>
              </a:ext>
            </a:extLst>
          </p:cNvPr>
          <p:cNvSpPr/>
          <p:nvPr/>
        </p:nvSpPr>
        <p:spPr>
          <a:xfrm>
            <a:off x="3606147" y="240364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3.7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" name="모서리가 둥근 직사각형 167">
            <a:extLst>
              <a:ext uri="{FF2B5EF4-FFF2-40B4-BE49-F238E27FC236}">
                <a16:creationId xmlns:a16="http://schemas.microsoft.com/office/drawing/2014/main" id="{478288CD-4A81-9129-6E71-200B7F7F45A2}"/>
              </a:ext>
            </a:extLst>
          </p:cNvPr>
          <p:cNvSpPr/>
          <p:nvPr/>
        </p:nvSpPr>
        <p:spPr>
          <a:xfrm>
            <a:off x="3396809" y="276229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양</a:t>
            </a:r>
          </a:p>
        </p:txBody>
      </p:sp>
      <p:sp>
        <p:nvSpPr>
          <p:cNvPr id="13" name="모서리가 둥근 직사각형 167">
            <a:extLst>
              <a:ext uri="{FF2B5EF4-FFF2-40B4-BE49-F238E27FC236}">
                <a16:creationId xmlns:a16="http://schemas.microsoft.com/office/drawing/2014/main" id="{866B7CD6-F085-84DA-6865-6FFEDB7C7468}"/>
              </a:ext>
            </a:extLst>
          </p:cNvPr>
          <p:cNvSpPr/>
          <p:nvPr/>
        </p:nvSpPr>
        <p:spPr>
          <a:xfrm>
            <a:off x="687975" y="276202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투자증권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8" name="모서리가 둥근 직사각형 167">
            <a:extLst>
              <a:ext uri="{FF2B5EF4-FFF2-40B4-BE49-F238E27FC236}">
                <a16:creationId xmlns:a16="http://schemas.microsoft.com/office/drawing/2014/main" id="{85BD7DA9-6D08-EF2F-E2BB-52BA8C30BE43}"/>
              </a:ext>
            </a:extLst>
          </p:cNvPr>
          <p:cNvSpPr/>
          <p:nvPr/>
        </p:nvSpPr>
        <p:spPr>
          <a:xfrm>
            <a:off x="6314510" y="2762437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천안기업</a:t>
            </a: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206BABAD-07E6-E6BD-DF70-3CF1833DFF8F}"/>
              </a:ext>
            </a:extLst>
          </p:cNvPr>
          <p:cNvCxnSpPr>
            <a:cxnSpLocks/>
            <a:stCxn id="5" idx="2"/>
          </p:cNvCxnSpPr>
          <p:nvPr/>
        </p:nvCxnSpPr>
        <p:spPr>
          <a:xfrm flipH="1">
            <a:off x="4672911" y="2137769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모서리가 둥근 직사각형 167">
            <a:extLst>
              <a:ext uri="{FF2B5EF4-FFF2-40B4-BE49-F238E27FC236}">
                <a16:creationId xmlns:a16="http://schemas.microsoft.com/office/drawing/2014/main" id="{B9B8E2C2-49A0-B48C-C2DB-9988737ED3A6}"/>
              </a:ext>
            </a:extLst>
          </p:cNvPr>
          <p:cNvSpPr/>
          <p:nvPr/>
        </p:nvSpPr>
        <p:spPr>
          <a:xfrm>
            <a:off x="6314510" y="3149156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성인산업</a:t>
            </a:r>
          </a:p>
        </p:txBody>
      </p:sp>
      <p:sp>
        <p:nvSpPr>
          <p:cNvPr id="32" name="모서리가 둥근 직사각형 167">
            <a:extLst>
              <a:ext uri="{FF2B5EF4-FFF2-40B4-BE49-F238E27FC236}">
                <a16:creationId xmlns:a16="http://schemas.microsoft.com/office/drawing/2014/main" id="{22903C01-B851-7E66-099F-C004A11C479B}"/>
              </a:ext>
            </a:extLst>
          </p:cNvPr>
          <p:cNvSpPr/>
          <p:nvPr/>
        </p:nvSpPr>
        <p:spPr>
          <a:xfrm>
            <a:off x="6314510" y="3535875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자연팜앤바이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3" name="모서리가 둥근 직사각형 167">
            <a:extLst>
              <a:ext uri="{FF2B5EF4-FFF2-40B4-BE49-F238E27FC236}">
                <a16:creationId xmlns:a16="http://schemas.microsoft.com/office/drawing/2014/main" id="{87F32192-F7E7-3537-711E-B52877E73191}"/>
              </a:ext>
            </a:extLst>
          </p:cNvPr>
          <p:cNvSpPr/>
          <p:nvPr/>
        </p:nvSpPr>
        <p:spPr>
          <a:xfrm>
            <a:off x="6314510" y="3922594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에너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8DB72F20-2D18-BB4D-A60D-393F9AB69124}"/>
              </a:ext>
            </a:extLst>
          </p:cNvPr>
          <p:cNvCxnSpPr>
            <a:cxnSpLocks/>
            <a:endCxn id="41" idx="4"/>
          </p:cNvCxnSpPr>
          <p:nvPr/>
        </p:nvCxnSpPr>
        <p:spPr>
          <a:xfrm flipH="1">
            <a:off x="7749289" y="2260674"/>
            <a:ext cx="5760" cy="193221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화살표 연결선 34">
            <a:extLst>
              <a:ext uri="{FF2B5EF4-FFF2-40B4-BE49-F238E27FC236}">
                <a16:creationId xmlns:a16="http://schemas.microsoft.com/office/drawing/2014/main" id="{1507B10B-C29E-689A-3AB4-9DD7D51C0DB4}"/>
              </a:ext>
            </a:extLst>
          </p:cNvPr>
          <p:cNvCxnSpPr>
            <a:cxnSpLocks/>
          </p:cNvCxnSpPr>
          <p:nvPr/>
        </p:nvCxnSpPr>
        <p:spPr>
          <a:xfrm flipH="1">
            <a:off x="7328970" y="3322343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타원 36">
            <a:extLst>
              <a:ext uri="{FF2B5EF4-FFF2-40B4-BE49-F238E27FC236}">
                <a16:creationId xmlns:a16="http://schemas.microsoft.com/office/drawing/2014/main" id="{7A895965-23D0-F00F-481C-CD7359DD3BD8}"/>
              </a:ext>
            </a:extLst>
          </p:cNvPr>
          <p:cNvSpPr/>
          <p:nvPr/>
        </p:nvSpPr>
        <p:spPr>
          <a:xfrm>
            <a:off x="7449049" y="323234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0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9B80D79D-10B3-09F7-0C70-310E3B3C7050}"/>
              </a:ext>
            </a:extLst>
          </p:cNvPr>
          <p:cNvCxnSpPr>
            <a:cxnSpLocks/>
          </p:cNvCxnSpPr>
          <p:nvPr/>
        </p:nvCxnSpPr>
        <p:spPr>
          <a:xfrm flipH="1">
            <a:off x="7328970" y="3729473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타원 38">
            <a:extLst>
              <a:ext uri="{FF2B5EF4-FFF2-40B4-BE49-F238E27FC236}">
                <a16:creationId xmlns:a16="http://schemas.microsoft.com/office/drawing/2014/main" id="{7142861F-C46D-061C-A9CE-367807667172}"/>
              </a:ext>
            </a:extLst>
          </p:cNvPr>
          <p:cNvSpPr/>
          <p:nvPr/>
        </p:nvSpPr>
        <p:spPr>
          <a:xfrm>
            <a:off x="7449049" y="363947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90.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3B33233D-F29A-76F3-202B-80DEF02A4A65}"/>
              </a:ext>
            </a:extLst>
          </p:cNvPr>
          <p:cNvCxnSpPr>
            <a:cxnSpLocks/>
          </p:cNvCxnSpPr>
          <p:nvPr/>
        </p:nvCxnSpPr>
        <p:spPr>
          <a:xfrm flipH="1">
            <a:off x="7323210" y="4093650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타원 40">
            <a:extLst>
              <a:ext uri="{FF2B5EF4-FFF2-40B4-BE49-F238E27FC236}">
                <a16:creationId xmlns:a16="http://schemas.microsoft.com/office/drawing/2014/main" id="{0638BAA7-311D-693A-4528-B82F6F7ABD69}"/>
              </a:ext>
            </a:extLst>
          </p:cNvPr>
          <p:cNvSpPr/>
          <p:nvPr/>
        </p:nvSpPr>
        <p:spPr>
          <a:xfrm>
            <a:off x="7443289" y="401288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.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6" name="모서리가 둥근 직사각형 167">
            <a:extLst>
              <a:ext uri="{FF2B5EF4-FFF2-40B4-BE49-F238E27FC236}">
                <a16:creationId xmlns:a16="http://schemas.microsoft.com/office/drawing/2014/main" id="{02BEEE10-D10A-AA82-52C8-5644399CC11A}"/>
              </a:ext>
            </a:extLst>
          </p:cNvPr>
          <p:cNvSpPr/>
          <p:nvPr/>
        </p:nvSpPr>
        <p:spPr>
          <a:xfrm>
            <a:off x="254379" y="3627996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선물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7" name="모서리가 둥근 직사각형 167">
            <a:extLst>
              <a:ext uri="{FF2B5EF4-FFF2-40B4-BE49-F238E27FC236}">
                <a16:creationId xmlns:a16="http://schemas.microsoft.com/office/drawing/2014/main" id="{59C27A4A-E95A-83E3-2ECD-5EFC7CC51FAD}"/>
              </a:ext>
            </a:extLst>
          </p:cNvPr>
          <p:cNvSpPr/>
          <p:nvPr/>
        </p:nvSpPr>
        <p:spPr>
          <a:xfrm>
            <a:off x="254379" y="4214425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자산</a:t>
            </a:r>
          </a:p>
        </p:txBody>
      </p:sp>
      <p:cxnSp>
        <p:nvCxnSpPr>
          <p:cNvPr id="48" name="직선 화살표 연결선 47">
            <a:extLst>
              <a:ext uri="{FF2B5EF4-FFF2-40B4-BE49-F238E27FC236}">
                <a16:creationId xmlns:a16="http://schemas.microsoft.com/office/drawing/2014/main" id="{687F7E2D-6466-97C5-49B2-DEA3E90EDBA2}"/>
              </a:ext>
            </a:extLst>
          </p:cNvPr>
          <p:cNvCxnSpPr>
            <a:cxnSpLocks/>
          </p:cNvCxnSpPr>
          <p:nvPr/>
        </p:nvCxnSpPr>
        <p:spPr>
          <a:xfrm>
            <a:off x="5504174" y="2249616"/>
            <a:ext cx="0" cy="2873205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타원 48">
            <a:extLst>
              <a:ext uri="{FF2B5EF4-FFF2-40B4-BE49-F238E27FC236}">
                <a16:creationId xmlns:a16="http://schemas.microsoft.com/office/drawing/2014/main" id="{59122BD5-95A5-2AA4-2E00-791BECCA111B}"/>
              </a:ext>
            </a:extLst>
          </p:cNvPr>
          <p:cNvSpPr/>
          <p:nvPr/>
        </p:nvSpPr>
        <p:spPr>
          <a:xfrm>
            <a:off x="5198174" y="473941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C18A7429-B841-49A3-D3F8-CFA905E5E85B}"/>
              </a:ext>
            </a:extLst>
          </p:cNvPr>
          <p:cNvSpPr/>
          <p:nvPr/>
        </p:nvSpPr>
        <p:spPr>
          <a:xfrm>
            <a:off x="4101421" y="5158843"/>
            <a:ext cx="2739689" cy="1118100"/>
          </a:xfrm>
          <a:prstGeom prst="rect">
            <a:avLst/>
          </a:prstGeom>
          <a:solidFill>
            <a:srgbClr val="F2F2F2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cxnSp>
        <p:nvCxnSpPr>
          <p:cNvPr id="51" name="직선 화살표 연결선 50">
            <a:extLst>
              <a:ext uri="{FF2B5EF4-FFF2-40B4-BE49-F238E27FC236}">
                <a16:creationId xmlns:a16="http://schemas.microsoft.com/office/drawing/2014/main" id="{5808A4BB-0C5D-44C9-9919-4805E839CAE5}"/>
              </a:ext>
            </a:extLst>
          </p:cNvPr>
          <p:cNvCxnSpPr>
            <a:cxnSpLocks/>
            <a:endCxn id="56" idx="0"/>
          </p:cNvCxnSpPr>
          <p:nvPr/>
        </p:nvCxnSpPr>
        <p:spPr>
          <a:xfrm flipH="1">
            <a:off x="3898956" y="3122119"/>
            <a:ext cx="12775" cy="1493452"/>
          </a:xfrm>
          <a:prstGeom prst="straightConnector1">
            <a:avLst/>
          </a:prstGeom>
          <a:ln>
            <a:solidFill>
              <a:srgbClr val="2272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타원 51">
            <a:extLst>
              <a:ext uri="{FF2B5EF4-FFF2-40B4-BE49-F238E27FC236}">
                <a16:creationId xmlns:a16="http://schemas.microsoft.com/office/drawing/2014/main" id="{FA220ACB-52C0-13F5-DB94-411DFC7944D7}"/>
              </a:ext>
            </a:extLst>
          </p:cNvPr>
          <p:cNvSpPr/>
          <p:nvPr/>
        </p:nvSpPr>
        <p:spPr>
          <a:xfrm>
            <a:off x="3636244" y="323221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3" name="모서리가 둥근 직사각형 167">
            <a:extLst>
              <a:ext uri="{FF2B5EF4-FFF2-40B4-BE49-F238E27FC236}">
                <a16:creationId xmlns:a16="http://schemas.microsoft.com/office/drawing/2014/main" id="{8FA5DEDF-125E-A491-CAF8-893CBB0F993F}"/>
              </a:ext>
            </a:extLst>
          </p:cNvPr>
          <p:cNvSpPr/>
          <p:nvPr/>
        </p:nvSpPr>
        <p:spPr>
          <a:xfrm>
            <a:off x="3394956" y="3493916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한성레미콘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54" name="모서리가 둥근 직사각형 167">
            <a:extLst>
              <a:ext uri="{FF2B5EF4-FFF2-40B4-BE49-F238E27FC236}">
                <a16:creationId xmlns:a16="http://schemas.microsoft.com/office/drawing/2014/main" id="{C43AECC3-EA50-E81C-B2B7-9BF79EA67703}"/>
              </a:ext>
            </a:extLst>
          </p:cNvPr>
          <p:cNvSpPr/>
          <p:nvPr/>
        </p:nvSpPr>
        <p:spPr>
          <a:xfrm>
            <a:off x="3394956" y="3868403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홈센터</a:t>
            </a:r>
          </a:p>
        </p:txBody>
      </p:sp>
      <p:sp>
        <p:nvSpPr>
          <p:cNvPr id="55" name="모서리가 둥근 직사각형 167">
            <a:extLst>
              <a:ext uri="{FF2B5EF4-FFF2-40B4-BE49-F238E27FC236}">
                <a16:creationId xmlns:a16="http://schemas.microsoft.com/office/drawing/2014/main" id="{72F6AFDB-39F5-7404-310E-8E264B1F3D98}"/>
              </a:ext>
            </a:extLst>
          </p:cNvPr>
          <p:cNvSpPr/>
          <p:nvPr/>
        </p:nvSpPr>
        <p:spPr>
          <a:xfrm>
            <a:off x="3394956" y="4240401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홈센터</a:t>
            </a:r>
          </a:p>
        </p:txBody>
      </p:sp>
      <p:sp>
        <p:nvSpPr>
          <p:cNvPr id="56" name="모서리가 둥근 직사각형 167">
            <a:extLst>
              <a:ext uri="{FF2B5EF4-FFF2-40B4-BE49-F238E27FC236}">
                <a16:creationId xmlns:a16="http://schemas.microsoft.com/office/drawing/2014/main" id="{7F5F2DBB-3A7F-8CE0-141C-6B6583228FF3}"/>
              </a:ext>
            </a:extLst>
          </p:cNvPr>
          <p:cNvSpPr/>
          <p:nvPr/>
        </p:nvSpPr>
        <p:spPr>
          <a:xfrm>
            <a:off x="3394956" y="4615571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홈센터</a:t>
            </a:r>
          </a:p>
        </p:txBody>
      </p:sp>
      <p:cxnSp>
        <p:nvCxnSpPr>
          <p:cNvPr id="57" name="직선 화살표 연결선 56">
            <a:extLst>
              <a:ext uri="{FF2B5EF4-FFF2-40B4-BE49-F238E27FC236}">
                <a16:creationId xmlns:a16="http://schemas.microsoft.com/office/drawing/2014/main" id="{916B9064-F708-A05E-AA74-C25411FC3157}"/>
              </a:ext>
            </a:extLst>
          </p:cNvPr>
          <p:cNvCxnSpPr>
            <a:cxnSpLocks/>
          </p:cNvCxnSpPr>
          <p:nvPr/>
        </p:nvCxnSpPr>
        <p:spPr>
          <a:xfrm flipH="1">
            <a:off x="7322079" y="2955474"/>
            <a:ext cx="312566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타원 57">
            <a:extLst>
              <a:ext uri="{FF2B5EF4-FFF2-40B4-BE49-F238E27FC236}">
                <a16:creationId xmlns:a16="http://schemas.microsoft.com/office/drawing/2014/main" id="{69E9C5D7-5F61-6DAF-70E5-A0B27E5A0895}"/>
              </a:ext>
            </a:extLst>
          </p:cNvPr>
          <p:cNvSpPr/>
          <p:nvPr/>
        </p:nvSpPr>
        <p:spPr>
          <a:xfrm>
            <a:off x="7442158" y="286547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80.9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FB21CE0A-9626-66E4-F6B5-D377066CC857}"/>
              </a:ext>
            </a:extLst>
          </p:cNvPr>
          <p:cNvSpPr/>
          <p:nvPr/>
        </p:nvSpPr>
        <p:spPr>
          <a:xfrm>
            <a:off x="246934" y="4764989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버베스트</a:t>
            </a:r>
            <a:r>
              <a:rPr lang="en-US" altLang="ko-KR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5" name="모서리가 둥근 직사각형 167">
            <a:extLst>
              <a:ext uri="{FF2B5EF4-FFF2-40B4-BE49-F238E27FC236}">
                <a16:creationId xmlns:a16="http://schemas.microsoft.com/office/drawing/2014/main" id="{87878ABD-FCEF-48A0-3A93-6D6DFCE8C44D}"/>
              </a:ext>
            </a:extLst>
          </p:cNvPr>
          <p:cNvSpPr/>
          <p:nvPr/>
        </p:nvSpPr>
        <p:spPr>
          <a:xfrm>
            <a:off x="246934" y="5224566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유니콘</a:t>
            </a:r>
            <a:r>
              <a:rPr lang="en-US" altLang="ko-KR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7" name="모서리가 둥근 직사각형 167">
            <a:extLst>
              <a:ext uri="{FF2B5EF4-FFF2-40B4-BE49-F238E27FC236}">
                <a16:creationId xmlns:a16="http://schemas.microsoft.com/office/drawing/2014/main" id="{12930A2D-FF45-3E48-A6DE-4DFC2EF7B2E9}"/>
              </a:ext>
            </a:extLst>
          </p:cNvPr>
          <p:cNvSpPr/>
          <p:nvPr/>
        </p:nvSpPr>
        <p:spPr>
          <a:xfrm>
            <a:off x="246934" y="5684144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프라임</a:t>
            </a:r>
            <a:r>
              <a:rPr lang="en-US" altLang="ko-KR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395B6BF8-9301-BA72-96B4-884B7E58580E}"/>
              </a:ext>
            </a:extLst>
          </p:cNvPr>
          <p:cNvSpPr txBox="1">
            <a:spLocks/>
          </p:cNvSpPr>
          <p:nvPr/>
        </p:nvSpPr>
        <p:spPr>
          <a:xfrm>
            <a:off x="4101421" y="5167138"/>
            <a:ext cx="942087" cy="119001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현대개발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구레미콘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당진기업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디랩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BD678694-2971-D685-7CBF-B730C9A14374}"/>
              </a:ext>
            </a:extLst>
          </p:cNvPr>
          <p:cNvSpPr txBox="1">
            <a:spLocks/>
          </p:cNvSpPr>
          <p:nvPr/>
        </p:nvSpPr>
        <p:spPr>
          <a:xfrm>
            <a:off x="5847450" y="5169613"/>
            <a:ext cx="1063813" cy="11623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경산기업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성산업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나눔로또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M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로지스틱스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EBFDB44D-0229-33D7-28C1-67E9C5127BA9}"/>
              </a:ext>
            </a:extLst>
          </p:cNvPr>
          <p:cNvSpPr txBox="1">
            <a:spLocks/>
          </p:cNvSpPr>
          <p:nvPr/>
        </p:nvSpPr>
        <p:spPr>
          <a:xfrm>
            <a:off x="4978853" y="5163896"/>
            <a:ext cx="1063813" cy="119001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AMC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화기업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레저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TS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BB00310-2A99-D638-927E-DDE61F58AD52}"/>
              </a:ext>
            </a:extLst>
          </p:cNvPr>
          <p:cNvSpPr/>
          <p:nvPr/>
        </p:nvSpPr>
        <p:spPr>
          <a:xfrm>
            <a:off x="7844788" y="1688162"/>
            <a:ext cx="1560779" cy="1028110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" name="모서리가 둥근 직사각형 167">
            <a:extLst>
              <a:ext uri="{FF2B5EF4-FFF2-40B4-BE49-F238E27FC236}">
                <a16:creationId xmlns:a16="http://schemas.microsoft.com/office/drawing/2014/main" id="{2D7F6937-310A-A177-170C-10E1FE46CE90}"/>
              </a:ext>
            </a:extLst>
          </p:cNvPr>
          <p:cNvSpPr/>
          <p:nvPr/>
        </p:nvSpPr>
        <p:spPr>
          <a:xfrm>
            <a:off x="7928756" y="1925505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4E225221-F271-BA5F-74CA-A2DEFC5EF1A7}"/>
              </a:ext>
            </a:extLst>
          </p:cNvPr>
          <p:cNvSpPr/>
          <p:nvPr/>
        </p:nvSpPr>
        <p:spPr>
          <a:xfrm>
            <a:off x="7928756" y="2180254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6" name="모서리가 둥근 직사각형 167">
            <a:extLst>
              <a:ext uri="{FF2B5EF4-FFF2-40B4-BE49-F238E27FC236}">
                <a16:creationId xmlns:a16="http://schemas.microsoft.com/office/drawing/2014/main" id="{0E3730DB-FCC7-32E1-21C5-ABB75D15BE1F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17" name="모서리가 둥근 직사각형 167">
            <a:extLst>
              <a:ext uri="{FF2B5EF4-FFF2-40B4-BE49-F238E27FC236}">
                <a16:creationId xmlns:a16="http://schemas.microsoft.com/office/drawing/2014/main" id="{9F0F19E1-E9AD-5DBB-69D6-292D953A8609}"/>
              </a:ext>
            </a:extLst>
          </p:cNvPr>
          <p:cNvSpPr/>
          <p:nvPr/>
        </p:nvSpPr>
        <p:spPr>
          <a:xfrm>
            <a:off x="7928756" y="2440632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" name="모서리가 둥근 직사각형 167">
            <a:extLst>
              <a:ext uri="{FF2B5EF4-FFF2-40B4-BE49-F238E27FC236}">
                <a16:creationId xmlns:a16="http://schemas.microsoft.com/office/drawing/2014/main" id="{E3A4157B-B51A-3329-C783-2B5145C8597B}"/>
              </a:ext>
            </a:extLst>
          </p:cNvPr>
          <p:cNvSpPr/>
          <p:nvPr/>
        </p:nvSpPr>
        <p:spPr>
          <a:xfrm>
            <a:off x="8293213" y="1924747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9" name="모서리가 둥근 직사각형 167">
            <a:extLst>
              <a:ext uri="{FF2B5EF4-FFF2-40B4-BE49-F238E27FC236}">
                <a16:creationId xmlns:a16="http://schemas.microsoft.com/office/drawing/2014/main" id="{066EDBAE-3AC6-C7BC-EF6B-D6B2F5045759}"/>
              </a:ext>
            </a:extLst>
          </p:cNvPr>
          <p:cNvSpPr/>
          <p:nvPr/>
        </p:nvSpPr>
        <p:spPr>
          <a:xfrm>
            <a:off x="8293212" y="2176081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0" name="모서리가 둥근 직사각형 167">
            <a:extLst>
              <a:ext uri="{FF2B5EF4-FFF2-40B4-BE49-F238E27FC236}">
                <a16:creationId xmlns:a16="http://schemas.microsoft.com/office/drawing/2014/main" id="{F489A92A-069B-4D57-38C2-B4CAB1B02A8A}"/>
              </a:ext>
            </a:extLst>
          </p:cNvPr>
          <p:cNvSpPr/>
          <p:nvPr/>
        </p:nvSpPr>
        <p:spPr>
          <a:xfrm>
            <a:off x="8293213" y="2436435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9BDD7431-A924-E950-A067-AE19C0D5B4FE}"/>
              </a:ext>
            </a:extLst>
          </p:cNvPr>
          <p:cNvCxnSpPr>
            <a:cxnSpLocks/>
            <a:endCxn id="69" idx="4"/>
          </p:cNvCxnSpPr>
          <p:nvPr/>
        </p:nvCxnSpPr>
        <p:spPr>
          <a:xfrm>
            <a:off x="2986478" y="3078378"/>
            <a:ext cx="26227" cy="2988564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화살표 연결선 21">
            <a:extLst>
              <a:ext uri="{FF2B5EF4-FFF2-40B4-BE49-F238E27FC236}">
                <a16:creationId xmlns:a16="http://schemas.microsoft.com/office/drawing/2014/main" id="{4CFE81F8-FCC8-BE64-99FB-07EAB9E6C16A}"/>
              </a:ext>
            </a:extLst>
          </p:cNvPr>
          <p:cNvCxnSpPr>
            <a:cxnSpLocks/>
          </p:cNvCxnSpPr>
          <p:nvPr/>
        </p:nvCxnSpPr>
        <p:spPr>
          <a:xfrm flipH="1">
            <a:off x="2627399" y="434324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2F5CF8EE-6F28-82C5-15E1-572B57E8580E}"/>
              </a:ext>
            </a:extLst>
          </p:cNvPr>
          <p:cNvCxnSpPr>
            <a:cxnSpLocks/>
          </p:cNvCxnSpPr>
          <p:nvPr/>
        </p:nvCxnSpPr>
        <p:spPr>
          <a:xfrm flipH="1">
            <a:off x="2627399" y="488891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6139B000-8CCA-938A-0DC8-716DBB9D8523}"/>
              </a:ext>
            </a:extLst>
          </p:cNvPr>
          <p:cNvCxnSpPr>
            <a:cxnSpLocks/>
          </p:cNvCxnSpPr>
          <p:nvPr/>
        </p:nvCxnSpPr>
        <p:spPr>
          <a:xfrm flipH="1">
            <a:off x="2627399" y="5427821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57685CC9-E0BC-0CC3-37C0-CBC054899F55}"/>
              </a:ext>
            </a:extLst>
          </p:cNvPr>
          <p:cNvCxnSpPr>
            <a:cxnSpLocks/>
          </p:cNvCxnSpPr>
          <p:nvPr/>
        </p:nvCxnSpPr>
        <p:spPr>
          <a:xfrm flipH="1">
            <a:off x="2627399" y="3773178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타원 59">
            <a:extLst>
              <a:ext uri="{FF2B5EF4-FFF2-40B4-BE49-F238E27FC236}">
                <a16:creationId xmlns:a16="http://schemas.microsoft.com/office/drawing/2014/main" id="{4920B42E-247D-0261-5DF3-79E38FAB4CDF}"/>
              </a:ext>
            </a:extLst>
          </p:cNvPr>
          <p:cNvSpPr/>
          <p:nvPr/>
        </p:nvSpPr>
        <p:spPr>
          <a:xfrm>
            <a:off x="2720429" y="373009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5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67D5B134-E020-E236-9320-755FB44D4031}"/>
              </a:ext>
            </a:extLst>
          </p:cNvPr>
          <p:cNvSpPr/>
          <p:nvPr/>
        </p:nvSpPr>
        <p:spPr>
          <a:xfrm>
            <a:off x="2724705" y="427441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2.3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5" name="타원 64">
            <a:extLst>
              <a:ext uri="{FF2B5EF4-FFF2-40B4-BE49-F238E27FC236}">
                <a16:creationId xmlns:a16="http://schemas.microsoft.com/office/drawing/2014/main" id="{7EE5F0A4-085B-823B-BDC2-8C31F0DF7835}"/>
              </a:ext>
            </a:extLst>
          </p:cNvPr>
          <p:cNvSpPr/>
          <p:nvPr/>
        </p:nvSpPr>
        <p:spPr>
          <a:xfrm>
            <a:off x="2724705" y="482255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.5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7" name="타원 66">
            <a:extLst>
              <a:ext uri="{FF2B5EF4-FFF2-40B4-BE49-F238E27FC236}">
                <a16:creationId xmlns:a16="http://schemas.microsoft.com/office/drawing/2014/main" id="{38DCE15C-4038-A331-88EC-0064E034DDA6}"/>
              </a:ext>
            </a:extLst>
          </p:cNvPr>
          <p:cNvSpPr/>
          <p:nvPr/>
        </p:nvSpPr>
        <p:spPr>
          <a:xfrm>
            <a:off x="2724705" y="536934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,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84" name="직선 화살표 연결선 83">
            <a:extLst>
              <a:ext uri="{FF2B5EF4-FFF2-40B4-BE49-F238E27FC236}">
                <a16:creationId xmlns:a16="http://schemas.microsoft.com/office/drawing/2014/main" id="{C62AA7B1-0081-DB7E-886A-5D1C764F7596}"/>
              </a:ext>
            </a:extLst>
          </p:cNvPr>
          <p:cNvCxnSpPr>
            <a:cxnSpLocks/>
          </p:cNvCxnSpPr>
          <p:nvPr/>
        </p:nvCxnSpPr>
        <p:spPr>
          <a:xfrm flipH="1">
            <a:off x="2627399" y="597981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타원 68">
            <a:extLst>
              <a:ext uri="{FF2B5EF4-FFF2-40B4-BE49-F238E27FC236}">
                <a16:creationId xmlns:a16="http://schemas.microsoft.com/office/drawing/2014/main" id="{F4A72B7D-E000-CC90-D88B-C523EAC0B38F}"/>
              </a:ext>
            </a:extLst>
          </p:cNvPr>
          <p:cNvSpPr/>
          <p:nvPr/>
        </p:nvSpPr>
        <p:spPr>
          <a:xfrm>
            <a:off x="2724705" y="5922942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0.3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6" name="모서리가 둥근 직사각형 167">
            <a:extLst>
              <a:ext uri="{FF2B5EF4-FFF2-40B4-BE49-F238E27FC236}">
                <a16:creationId xmlns:a16="http://schemas.microsoft.com/office/drawing/2014/main" id="{81F473F2-10A4-1377-DC0C-996342B1AF50}"/>
              </a:ext>
            </a:extLst>
          </p:cNvPr>
          <p:cNvSpPr/>
          <p:nvPr/>
        </p:nvSpPr>
        <p:spPr>
          <a:xfrm>
            <a:off x="2021505" y="276229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</a:t>
            </a:r>
            <a:r>
              <a:rPr lang="en-US" altLang="ko-KR" sz="900" b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86" name="직선 화살표 연결선 85">
            <a:extLst>
              <a:ext uri="{FF2B5EF4-FFF2-40B4-BE49-F238E27FC236}">
                <a16:creationId xmlns:a16="http://schemas.microsoft.com/office/drawing/2014/main" id="{E8872C3E-0000-0257-4D6D-846AAD8E25BF}"/>
              </a:ext>
            </a:extLst>
          </p:cNvPr>
          <p:cNvCxnSpPr>
            <a:cxnSpLocks/>
          </p:cNvCxnSpPr>
          <p:nvPr/>
        </p:nvCxnSpPr>
        <p:spPr>
          <a:xfrm flipH="1">
            <a:off x="1081141" y="437067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36351EDB-7BF4-8C26-F811-FE55B52E2658}"/>
              </a:ext>
            </a:extLst>
          </p:cNvPr>
          <p:cNvCxnSpPr>
            <a:cxnSpLocks/>
          </p:cNvCxnSpPr>
          <p:nvPr/>
        </p:nvCxnSpPr>
        <p:spPr>
          <a:xfrm flipH="1">
            <a:off x="1081141" y="491634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직선 화살표 연결선 87">
            <a:extLst>
              <a:ext uri="{FF2B5EF4-FFF2-40B4-BE49-F238E27FC236}">
                <a16:creationId xmlns:a16="http://schemas.microsoft.com/office/drawing/2014/main" id="{3C5434B2-8B19-39E8-B06E-C66A88082E6C}"/>
              </a:ext>
            </a:extLst>
          </p:cNvPr>
          <p:cNvCxnSpPr>
            <a:cxnSpLocks/>
          </p:cNvCxnSpPr>
          <p:nvPr/>
        </p:nvCxnSpPr>
        <p:spPr>
          <a:xfrm flipH="1">
            <a:off x="1081141" y="537924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94EA2BA1-2061-BBB0-E769-C6E16F22D906}"/>
              </a:ext>
            </a:extLst>
          </p:cNvPr>
          <p:cNvCxnSpPr>
            <a:cxnSpLocks/>
          </p:cNvCxnSpPr>
          <p:nvPr/>
        </p:nvCxnSpPr>
        <p:spPr>
          <a:xfrm flipH="1">
            <a:off x="1081141" y="3800608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직선 화살표 연결선 89">
            <a:extLst>
              <a:ext uri="{FF2B5EF4-FFF2-40B4-BE49-F238E27FC236}">
                <a16:creationId xmlns:a16="http://schemas.microsoft.com/office/drawing/2014/main" id="{2278A2CF-EBAF-E7EE-759B-315318B48A4D}"/>
              </a:ext>
            </a:extLst>
          </p:cNvPr>
          <p:cNvCxnSpPr>
            <a:cxnSpLocks/>
          </p:cNvCxnSpPr>
          <p:nvPr/>
        </p:nvCxnSpPr>
        <p:spPr>
          <a:xfrm flipH="1">
            <a:off x="1081141" y="5842146"/>
            <a:ext cx="216000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직선 화살표 연결선 90">
            <a:extLst>
              <a:ext uri="{FF2B5EF4-FFF2-40B4-BE49-F238E27FC236}">
                <a16:creationId xmlns:a16="http://schemas.microsoft.com/office/drawing/2014/main" id="{25227CFC-70E6-D38F-296B-5E0550538F1B}"/>
              </a:ext>
            </a:extLst>
          </p:cNvPr>
          <p:cNvCxnSpPr>
            <a:cxnSpLocks/>
            <a:endCxn id="45" idx="4"/>
          </p:cNvCxnSpPr>
          <p:nvPr/>
        </p:nvCxnSpPr>
        <p:spPr>
          <a:xfrm>
            <a:off x="1476683" y="3122029"/>
            <a:ext cx="0" cy="1320689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타원 77">
            <a:extLst>
              <a:ext uri="{FF2B5EF4-FFF2-40B4-BE49-F238E27FC236}">
                <a16:creationId xmlns:a16="http://schemas.microsoft.com/office/drawing/2014/main" id="{7C70F958-8059-9779-7954-335EA66C67F5}"/>
              </a:ext>
            </a:extLst>
          </p:cNvPr>
          <p:cNvSpPr/>
          <p:nvPr/>
        </p:nvSpPr>
        <p:spPr>
          <a:xfrm>
            <a:off x="1211543" y="5784738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5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75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8" name="모서리가 둥근 직사각형 167">
            <a:extLst>
              <a:ext uri="{FF2B5EF4-FFF2-40B4-BE49-F238E27FC236}">
                <a16:creationId xmlns:a16="http://schemas.microsoft.com/office/drawing/2014/main" id="{74446143-7DA5-D354-7C64-18B7214F6F4A}"/>
              </a:ext>
            </a:extLst>
          </p:cNvPr>
          <p:cNvSpPr/>
          <p:nvPr/>
        </p:nvSpPr>
        <p:spPr>
          <a:xfrm>
            <a:off x="1778352" y="5796681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 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W PEF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FFD93E3C-173E-206A-D47D-FD0A4BE87CFF}"/>
              </a:ext>
            </a:extLst>
          </p:cNvPr>
          <p:cNvSpPr/>
          <p:nvPr/>
        </p:nvSpPr>
        <p:spPr>
          <a:xfrm>
            <a:off x="1188683" y="429871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3" name="타원 72">
            <a:extLst>
              <a:ext uri="{FF2B5EF4-FFF2-40B4-BE49-F238E27FC236}">
                <a16:creationId xmlns:a16="http://schemas.microsoft.com/office/drawing/2014/main" id="{78A7C4A4-7086-5BD1-BD74-F397E2944E2C}"/>
              </a:ext>
            </a:extLst>
          </p:cNvPr>
          <p:cNvSpPr/>
          <p:nvPr/>
        </p:nvSpPr>
        <p:spPr>
          <a:xfrm>
            <a:off x="1217043" y="4837622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.1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76" name="타원 75">
            <a:extLst>
              <a:ext uri="{FF2B5EF4-FFF2-40B4-BE49-F238E27FC236}">
                <a16:creationId xmlns:a16="http://schemas.microsoft.com/office/drawing/2014/main" id="{4347762D-2C74-A785-B025-1D28E14A7AAF}"/>
              </a:ext>
            </a:extLst>
          </p:cNvPr>
          <p:cNvSpPr/>
          <p:nvPr/>
        </p:nvSpPr>
        <p:spPr>
          <a:xfrm>
            <a:off x="1192363" y="5304739"/>
            <a:ext cx="504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.1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4EFF127F-637A-4360-6F35-C5B1D31CF824}"/>
              </a:ext>
            </a:extLst>
          </p:cNvPr>
          <p:cNvSpPr/>
          <p:nvPr/>
        </p:nvSpPr>
        <p:spPr>
          <a:xfrm>
            <a:off x="1182445" y="3720517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1" name="모서리가 둥근 직사각형 167">
            <a:extLst>
              <a:ext uri="{FF2B5EF4-FFF2-40B4-BE49-F238E27FC236}">
                <a16:creationId xmlns:a16="http://schemas.microsoft.com/office/drawing/2014/main" id="{F41A3507-9D7B-50E0-AF84-0122062BEB79}"/>
              </a:ext>
            </a:extLst>
          </p:cNvPr>
          <p:cNvSpPr/>
          <p:nvPr/>
        </p:nvSpPr>
        <p:spPr>
          <a:xfrm>
            <a:off x="1778352" y="3605251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타</a:t>
            </a: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2</a:t>
            </a: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호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2" name="모서리가 둥근 직사각형 167">
            <a:extLst>
              <a:ext uri="{FF2B5EF4-FFF2-40B4-BE49-F238E27FC236}">
                <a16:creationId xmlns:a16="http://schemas.microsoft.com/office/drawing/2014/main" id="{02C7D33B-DBB2-0F75-8185-B54AAE91B667}"/>
              </a:ext>
            </a:extLst>
          </p:cNvPr>
          <p:cNvSpPr/>
          <p:nvPr/>
        </p:nvSpPr>
        <p:spPr>
          <a:xfrm>
            <a:off x="1778352" y="4148153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Infra Fund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4" name="모서리가 둥근 직사각형 167">
            <a:extLst>
              <a:ext uri="{FF2B5EF4-FFF2-40B4-BE49-F238E27FC236}">
                <a16:creationId xmlns:a16="http://schemas.microsoft.com/office/drawing/2014/main" id="{5EC10B4D-3334-A0DF-1470-81E3B5CD7A87}"/>
              </a:ext>
            </a:extLst>
          </p:cNvPr>
          <p:cNvSpPr/>
          <p:nvPr/>
        </p:nvSpPr>
        <p:spPr>
          <a:xfrm>
            <a:off x="1778352" y="4696296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스마트모빌리티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6" name="모서리가 둥근 직사각형 167">
            <a:extLst>
              <a:ext uri="{FF2B5EF4-FFF2-40B4-BE49-F238E27FC236}">
                <a16:creationId xmlns:a16="http://schemas.microsoft.com/office/drawing/2014/main" id="{A15B8BF9-5DD2-80B2-6D44-130BDA5A9B75}"/>
              </a:ext>
            </a:extLst>
          </p:cNvPr>
          <p:cNvSpPr/>
          <p:nvPr/>
        </p:nvSpPr>
        <p:spPr>
          <a:xfrm>
            <a:off x="1778352" y="5243083"/>
            <a:ext cx="82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진토르</a:t>
            </a: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PEF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01" name="직선 연결선 100">
            <a:extLst>
              <a:ext uri="{FF2B5EF4-FFF2-40B4-BE49-F238E27FC236}">
                <a16:creationId xmlns:a16="http://schemas.microsoft.com/office/drawing/2014/main" id="{82424FD6-429C-EB4F-063C-F3698AFEB91E}"/>
              </a:ext>
            </a:extLst>
          </p:cNvPr>
          <p:cNvCxnSpPr>
            <a:cxnSpLocks/>
          </p:cNvCxnSpPr>
          <p:nvPr/>
        </p:nvCxnSpPr>
        <p:spPr>
          <a:xfrm>
            <a:off x="1082379" y="4534560"/>
            <a:ext cx="379437" cy="0"/>
          </a:xfrm>
          <a:prstGeom prst="line">
            <a:avLst/>
          </a:prstGeom>
          <a:ln>
            <a:solidFill>
              <a:srgbClr val="1E49E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5358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투자증권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인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법인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관투자자 고객을 대상으로 유가증권 중개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종 금융상품 개발 및 판매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객 포트폴리오 설계 등의 업무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금융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IB)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문에서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규 거래가 감소하고 </a:t>
            </a:r>
            <a:r>
              <a:rPr lang="ko-KR" altLang="en-US" sz="900" b="1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브릿지론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차환에 난항을 겪는 등 실적이 악화할 것으로 예측됨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국내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 증권사의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정이하자산금액은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915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지난해 같은 시점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50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다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.2%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투자증권은 중소형 하우스 중 부동산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(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프로젝트 파이낸싱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 </a:t>
            </a:r>
            <a:r>
              <a:rPr lang="ko-KR" altLang="en-US" sz="900" b="1" i="0" dirty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익스포저가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높은 편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dirty="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정이하자산</a:t>
            </a:r>
            <a:r>
              <a:rPr lang="ko-KR" altLang="en-US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중 </a:t>
            </a:r>
            <a:r>
              <a:rPr lang="en-US" altLang="ko-KR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</a:t>
            </a:r>
            <a:r>
              <a:rPr lang="ko-KR" altLang="en-US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실채권 규모 </a:t>
            </a:r>
            <a:r>
              <a:rPr lang="en-US" altLang="ko-KR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1004</a:t>
            </a:r>
            <a:r>
              <a:rPr lang="ko-KR" altLang="en-US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</a:t>
            </a:r>
            <a:r>
              <a:rPr lang="en-US" altLang="ko-KR" sz="900" dirty="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우발채무 전액이 매입확약으로 구성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후순위 약정이 </a:t>
            </a:r>
            <a:r>
              <a:rPr lang="en-US" altLang="ko-KR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%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상회해 위험성 高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거용이 아닌 상업용과 산업용 </a:t>
            </a:r>
            <a:r>
              <a:rPr lang="ko-KR" altLang="en-US" sz="900" b="1" i="0" dirty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익스포저</a:t>
            </a:r>
            <a:r>
              <a:rPr lang="ko-KR" altLang="en-US" sz="900" b="1" i="0" dirty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비중이 높아 손실 위험에 노출될 수 있음</a:t>
            </a:r>
            <a:endParaRPr lang="en-US" altLang="ko-KR" sz="900" b="1" i="0" dirty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투자증권</a:t>
            </a: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0421505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5567421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8065135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4" name="Picture 4" descr="유진투자증권 로고">
            <a:extLst>
              <a:ext uri="{FF2B5EF4-FFF2-40B4-BE49-F238E27FC236}">
                <a16:creationId xmlns:a16="http://schemas.microsoft.com/office/drawing/2014/main" id="{F817B350-AB4B-5BD3-F10A-7EE8D573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33" y="2310817"/>
            <a:ext cx="1484017" cy="453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42900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기업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양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6" y="1440000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BC279F-D7AA-C20A-2FE4-524427825D8D}"/>
              </a:ext>
            </a:extLst>
          </p:cNvPr>
          <p:cNvSpPr txBox="1"/>
          <p:nvPr/>
        </p:nvSpPr>
        <p:spPr>
          <a:xfrm>
            <a:off x="2087857" y="1837651"/>
            <a:ext cx="277148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레미콘 업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매출 전년동기 대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.7%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b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력 사업인 레미콘 매출이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7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서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185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8.9%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자재 사업 매출은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.4%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소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E3DA101E-07AE-FA0F-1CAB-33F8A1CBD64C}"/>
              </a:ext>
            </a:extLst>
          </p:cNvPr>
          <p:cNvSpPr/>
          <p:nvPr/>
        </p:nvSpPr>
        <p:spPr>
          <a:xfrm>
            <a:off x="488950" y="1813560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E8238AE5-DDF5-5E8D-75BB-713AC58B9CFC}"/>
              </a:ext>
            </a:extLst>
          </p:cNvPr>
          <p:cNvSpPr/>
          <p:nvPr/>
        </p:nvSpPr>
        <p:spPr>
          <a:xfrm>
            <a:off x="5046665" y="1443233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E6F97E6A-1650-1D20-AF01-4ABC5E606D37}"/>
              </a:ext>
            </a:extLst>
          </p:cNvPr>
          <p:cNvSpPr/>
          <p:nvPr/>
        </p:nvSpPr>
        <p:spPr>
          <a:xfrm>
            <a:off x="6645571" y="1443233"/>
            <a:ext cx="2771481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25" name="사각형: 둥근 모서리 24">
            <a:extLst>
              <a:ext uri="{FF2B5EF4-FFF2-40B4-BE49-F238E27FC236}">
                <a16:creationId xmlns:a16="http://schemas.microsoft.com/office/drawing/2014/main" id="{2A1BEFFD-B22E-F3B5-4C6D-698A5DBFF70A}"/>
              </a:ext>
            </a:extLst>
          </p:cNvPr>
          <p:cNvSpPr/>
          <p:nvPr/>
        </p:nvSpPr>
        <p:spPr>
          <a:xfrm>
            <a:off x="5046662" y="1812162"/>
            <a:ext cx="4370388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3E522B-A8E8-B643-1E97-2339585DDB36}"/>
              </a:ext>
            </a:extLst>
          </p:cNvPr>
          <p:cNvSpPr txBox="1"/>
          <p:nvPr/>
        </p:nvSpPr>
        <p:spPr>
          <a:xfrm>
            <a:off x="5490216" y="1671144"/>
            <a:ext cx="660897" cy="29153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양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908261" y="1707465"/>
            <a:ext cx="756000" cy="211962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기업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2DC15F-E28D-E381-A4EF-0441A4E86CBF}"/>
              </a:ext>
            </a:extLst>
          </p:cNvPr>
          <p:cNvSpPr txBox="1"/>
          <p:nvPr/>
        </p:nvSpPr>
        <p:spPr>
          <a:xfrm>
            <a:off x="6649854" y="1831076"/>
            <a:ext cx="277148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0" i="0">
                <a:solidFill>
                  <a:srgbClr val="21212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 뿐 아니라 레미콘 건설소재 섬유 등 건자재 유통 사업도 영위</a:t>
            </a:r>
            <a:endParaRPr lang="en-US" altLang="ko-KR" sz="900">
              <a:solidFill>
                <a:srgbClr val="21212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6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유진그룹의 인수 후 시너지를 발휘하면서 실적 상승세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말 기준 최대 영업이익률 </a:t>
            </a:r>
            <a:r>
              <a:rPr kumimoji="1"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.3% </a:t>
            </a:r>
            <a:r>
              <a:rPr kumimoji="1"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록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1A3A4AC-DE31-BB3B-D5CC-DDC94A442107}"/>
              </a:ext>
            </a:extLst>
          </p:cNvPr>
          <p:cNvSpPr txBox="1"/>
          <p:nvPr/>
        </p:nvSpPr>
        <p:spPr>
          <a:xfrm>
            <a:off x="4982451" y="3554410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43" name="차트 42">
            <a:extLst>
              <a:ext uri="{FF2B5EF4-FFF2-40B4-BE49-F238E27FC236}">
                <a16:creationId xmlns:a16="http://schemas.microsoft.com/office/drawing/2014/main" id="{701E204A-4E30-EBA6-DB35-ABC50A7D69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0205632"/>
              </p:ext>
            </p:extLst>
          </p:nvPr>
        </p:nvGraphicFramePr>
        <p:xfrm>
          <a:off x="373826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985657FE-19CD-5EB1-B74A-15515E3DA6F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495836-E42C-D71D-8EA4-13CFC170401C}"/>
              </a:ext>
            </a:extLst>
          </p:cNvPr>
          <p:cNvSpPr txBox="1"/>
          <p:nvPr/>
        </p:nvSpPr>
        <p:spPr>
          <a:xfrm>
            <a:off x="2896472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98B8EFC-EBC2-C633-EE86-427261F86EDD}"/>
              </a:ext>
            </a:extLst>
          </p:cNvPr>
          <p:cNvSpPr txBox="1"/>
          <p:nvPr/>
        </p:nvSpPr>
        <p:spPr>
          <a:xfrm>
            <a:off x="2868356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50" name="차트 49">
            <a:extLst>
              <a:ext uri="{FF2B5EF4-FFF2-40B4-BE49-F238E27FC236}">
                <a16:creationId xmlns:a16="http://schemas.microsoft.com/office/drawing/2014/main" id="{49D9EA0D-48E0-A3A0-CAAF-038C2FF2A8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1335533"/>
              </p:ext>
            </p:extLst>
          </p:nvPr>
        </p:nvGraphicFramePr>
        <p:xfrm>
          <a:off x="4963382" y="4896065"/>
          <a:ext cx="240631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1" name="TextBox 50">
            <a:extLst>
              <a:ext uri="{FF2B5EF4-FFF2-40B4-BE49-F238E27FC236}">
                <a16:creationId xmlns:a16="http://schemas.microsoft.com/office/drawing/2014/main" id="{C142CBB2-06EE-CF34-40C9-EC131416F7E9}"/>
              </a:ext>
            </a:extLst>
          </p:cNvPr>
          <p:cNvSpPr txBox="1"/>
          <p:nvPr/>
        </p:nvSpPr>
        <p:spPr>
          <a:xfrm>
            <a:off x="5078505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영업이익률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B81C5F-1717-EE11-A237-92E5797166B1}"/>
              </a:ext>
            </a:extLst>
          </p:cNvPr>
          <p:cNvSpPr txBox="1"/>
          <p:nvPr/>
        </p:nvSpPr>
        <p:spPr>
          <a:xfrm>
            <a:off x="5079709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AB9ADD-1D7D-2198-EF45-1B42FF4B77CE}"/>
              </a:ext>
            </a:extLst>
          </p:cNvPr>
          <p:cNvSpPr txBox="1"/>
          <p:nvPr/>
        </p:nvSpPr>
        <p:spPr>
          <a:xfrm>
            <a:off x="7486028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C94B760-0369-25A9-0F08-8957B0CF555B}"/>
              </a:ext>
            </a:extLst>
          </p:cNvPr>
          <p:cNvSpPr txBox="1"/>
          <p:nvPr/>
        </p:nvSpPr>
        <p:spPr>
          <a:xfrm>
            <a:off x="7457912" y="3532397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2508601-458C-7D19-6FCF-191A9470B3A8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564CC1F-9F5D-502A-D60C-A083FF6036CA}"/>
              </a:ext>
            </a:extLst>
          </p:cNvPr>
          <p:cNvSpPr txBox="1"/>
          <p:nvPr/>
        </p:nvSpPr>
        <p:spPr>
          <a:xfrm>
            <a:off x="404833" y="3522966"/>
            <a:ext cx="717035" cy="20005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7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 </a:t>
            </a:r>
            <a:endParaRPr lang="en-US" altLang="ko-KR" sz="7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167FF5-10FA-4C3E-5CC9-8C4495D64CEB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60" name="차트 59">
            <a:extLst>
              <a:ext uri="{FF2B5EF4-FFF2-40B4-BE49-F238E27FC236}">
                <a16:creationId xmlns:a16="http://schemas.microsoft.com/office/drawing/2014/main" id="{FCA239EC-83AA-66A1-33B4-B510D1BFCC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3199879"/>
              </p:ext>
            </p:extLst>
          </p:nvPr>
        </p:nvGraphicFramePr>
        <p:xfrm>
          <a:off x="488947" y="3557278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3" name="차트 62">
            <a:extLst>
              <a:ext uri="{FF2B5EF4-FFF2-40B4-BE49-F238E27FC236}">
                <a16:creationId xmlns:a16="http://schemas.microsoft.com/office/drawing/2014/main" id="{3FC541C7-519A-A38C-4EE5-86933485A3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5311905"/>
              </p:ext>
            </p:extLst>
          </p:nvPr>
        </p:nvGraphicFramePr>
        <p:xfrm>
          <a:off x="5046378" y="3557278"/>
          <a:ext cx="2854327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9" name="차트 38">
            <a:extLst>
              <a:ext uri="{FF2B5EF4-FFF2-40B4-BE49-F238E27FC236}">
                <a16:creationId xmlns:a16="http://schemas.microsoft.com/office/drawing/2014/main" id="{1A2BDD92-0E6F-EA0B-7B8B-3088589096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0357312"/>
              </p:ext>
            </p:extLst>
          </p:nvPr>
        </p:nvGraphicFramePr>
        <p:xfrm>
          <a:off x="7369699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1" name="차트 40">
            <a:extLst>
              <a:ext uri="{FF2B5EF4-FFF2-40B4-BE49-F238E27FC236}">
                <a16:creationId xmlns:a16="http://schemas.microsoft.com/office/drawing/2014/main" id="{B1FED9BB-BA32-A25F-7186-90251A122F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6083731"/>
              </p:ext>
            </p:extLst>
          </p:nvPr>
        </p:nvGraphicFramePr>
        <p:xfrm>
          <a:off x="2780143" y="3433495"/>
          <a:ext cx="3158839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7170" name="Picture 2" descr="유진기업, 환경성적표지 13개 인증 획득 &lt; 건자재 &lt; 유진뉴스 &lt; News &lt; 기사본문 - 유진에버">
            <a:extLst>
              <a:ext uri="{FF2B5EF4-FFF2-40B4-BE49-F238E27FC236}">
                <a16:creationId xmlns:a16="http://schemas.microsoft.com/office/drawing/2014/main" id="{02A1EF84-B03A-A9E6-56CE-1C1FFD529C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6" t="19076" r="10271" b="19945"/>
          <a:stretch/>
        </p:blipFill>
        <p:spPr bwMode="auto">
          <a:xfrm>
            <a:off x="526818" y="2222543"/>
            <a:ext cx="1602508" cy="65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유진그룹 계열 동양, 잇딴 수주에 실적 개선 청신호 | 한국경제">
            <a:extLst>
              <a:ext uri="{FF2B5EF4-FFF2-40B4-BE49-F238E27FC236}">
                <a16:creationId xmlns:a16="http://schemas.microsoft.com/office/drawing/2014/main" id="{E5E41AE0-CF09-75E4-B884-051EBE98A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3541" y="2135218"/>
            <a:ext cx="1292651" cy="739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324019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dirty="0" err="1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아이에스지주그룹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2799943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지주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분양경기침체로 분양계획 지연 및 미분양 적체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향후 환경사업부문에서 폐배터리 공장과 자원순환시설 건립으로 투자금액↑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b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신사업 환경부문의 영업실적 개선세와 매출비중의 확대가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아이에스동서에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미치는 영향을 감안하여 방향성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269776B9-0448-6D29-AFE4-128CB42C2BD5}"/>
              </a:ext>
            </a:extLst>
          </p:cNvPr>
          <p:cNvSpPr/>
          <p:nvPr/>
        </p:nvSpPr>
        <p:spPr>
          <a:xfrm>
            <a:off x="4492421" y="253195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9271E074-FA18-2900-D258-D8CE56B57719}"/>
              </a:ext>
            </a:extLst>
          </p:cNvPr>
          <p:cNvSpPr/>
          <p:nvPr/>
        </p:nvSpPr>
        <p:spPr>
          <a:xfrm>
            <a:off x="4492421" y="271715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D4C69073-5CA4-835D-3512-FF18BAB4B508}"/>
              </a:ext>
            </a:extLst>
          </p:cNvPr>
          <p:cNvSpPr/>
          <p:nvPr/>
        </p:nvSpPr>
        <p:spPr>
          <a:xfrm>
            <a:off x="4492421" y="290235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30F6EDF5-2FA6-95EB-328B-53FAF1ED5D33}"/>
              </a:ext>
            </a:extLst>
          </p:cNvPr>
          <p:cNvSpPr/>
          <p:nvPr/>
        </p:nvSpPr>
        <p:spPr>
          <a:xfrm>
            <a:off x="4492421" y="3087561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202724C6-D438-05B2-19E4-C1B429DBDC54}"/>
              </a:ext>
            </a:extLst>
          </p:cNvPr>
          <p:cNvSpPr/>
          <p:nvPr/>
        </p:nvSpPr>
        <p:spPr>
          <a:xfrm>
            <a:off x="4492421" y="3279313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CA909171-0A04-D8C8-53DB-D21143D4D9AA}"/>
              </a:ext>
            </a:extLst>
          </p:cNvPr>
          <p:cNvSpPr/>
          <p:nvPr/>
        </p:nvSpPr>
        <p:spPr>
          <a:xfrm>
            <a:off x="6907453" y="253244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D6418BD-2BDF-C840-1F9B-150F120B4ED8}"/>
              </a:ext>
            </a:extLst>
          </p:cNvPr>
          <p:cNvSpPr/>
          <p:nvPr/>
        </p:nvSpPr>
        <p:spPr>
          <a:xfrm>
            <a:off x="6907453" y="271764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22651A7-77B2-E0BB-A7AA-E738FA18CDE3}"/>
              </a:ext>
            </a:extLst>
          </p:cNvPr>
          <p:cNvSpPr/>
          <p:nvPr/>
        </p:nvSpPr>
        <p:spPr>
          <a:xfrm>
            <a:off x="6907453" y="290284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046E0409-E347-380D-1255-48F832162FB6}"/>
              </a:ext>
            </a:extLst>
          </p:cNvPr>
          <p:cNvSpPr/>
          <p:nvPr/>
        </p:nvSpPr>
        <p:spPr>
          <a:xfrm>
            <a:off x="6907453" y="308805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265636B1-A5C0-DEF1-A6BC-BB54C5458EA2}"/>
              </a:ext>
            </a:extLst>
          </p:cNvPr>
          <p:cNvSpPr/>
          <p:nvPr/>
        </p:nvSpPr>
        <p:spPr>
          <a:xfrm>
            <a:off x="6907453" y="3279804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257604C0-D4F0-215A-9975-0D3361EDD634}"/>
              </a:ext>
            </a:extLst>
          </p:cNvPr>
          <p:cNvSpPr/>
          <p:nvPr/>
        </p:nvSpPr>
        <p:spPr>
          <a:xfrm>
            <a:off x="9322485" y="254523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2B5D4801-E959-79F9-B128-E9AC9A2962DD}"/>
              </a:ext>
            </a:extLst>
          </p:cNvPr>
          <p:cNvSpPr/>
          <p:nvPr/>
        </p:nvSpPr>
        <p:spPr>
          <a:xfrm>
            <a:off x="9322485" y="273043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897BEFC4-C62B-8E96-9A73-E184671E8EB0}"/>
              </a:ext>
            </a:extLst>
          </p:cNvPr>
          <p:cNvSpPr/>
          <p:nvPr/>
        </p:nvSpPr>
        <p:spPr>
          <a:xfrm>
            <a:off x="9322485" y="2915640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1BEB345E-A514-49BA-E87F-C5815F9FD484}"/>
              </a:ext>
            </a:extLst>
          </p:cNvPr>
          <p:cNvSpPr/>
          <p:nvPr/>
        </p:nvSpPr>
        <p:spPr>
          <a:xfrm>
            <a:off x="9322485" y="3100843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3ACE4BD9-7CD5-E211-B1DC-26F5BE0E59AF}"/>
              </a:ext>
            </a:extLst>
          </p:cNvPr>
          <p:cNvSpPr/>
          <p:nvPr/>
        </p:nvSpPr>
        <p:spPr>
          <a:xfrm>
            <a:off x="9322485" y="329259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3AEF15-CAD7-2C6E-7695-9AA02571C6F8}"/>
              </a:ext>
            </a:extLst>
          </p:cNvPr>
          <p:cNvSpPr txBox="1"/>
          <p:nvPr/>
        </p:nvSpPr>
        <p:spPr>
          <a:xfrm>
            <a:off x="2420276" y="255537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원자재쇼크와 경기침체로 계획했던 분양물량이 미뤄지고 미분양도 적체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신사업 환경부문은 자체 최대실적을 갱신하고 매출비중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4%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까지 확대</a:t>
            </a:r>
            <a:b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(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환경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464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→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4227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1.5%↑)</a:t>
            </a:r>
            <a:endParaRPr lang="ko-KR" altLang="en-US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9F5FEB3-EFF2-494A-D899-8D3CB55BE2CA}"/>
              </a:ext>
            </a:extLst>
          </p:cNvPr>
          <p:cNvSpPr txBox="1"/>
          <p:nvPr/>
        </p:nvSpPr>
        <p:spPr>
          <a:xfrm>
            <a:off x="4875013" y="255537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아이에스지주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80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EB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발행 추진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…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올들어 최대 규모 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5AC0958-5CF2-2180-63FD-7553125436F2}"/>
              </a:ext>
            </a:extLst>
          </p:cNvPr>
          <p:cNvSpPr txBox="1"/>
          <p:nvPr/>
        </p:nvSpPr>
        <p:spPr>
          <a:xfrm>
            <a:off x="7292128" y="2518736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올해 경기도 화성에 수도권 최대 수준인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연간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7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천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t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의 폐배터리를 처리하는 </a:t>
            </a:r>
            <a:r>
              <a:rPr lang="ko-KR" altLang="en-US" sz="900" b="1" u="sng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처리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공장 착공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25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부터는 약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천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500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을 투자해 자원순환시설을 건립할 예정</a:t>
            </a:r>
          </a:p>
        </p:txBody>
      </p:sp>
      <p:pic>
        <p:nvPicPr>
          <p:cNvPr id="31" name="Picture 2" descr="아이에스동서">
            <a:extLst>
              <a:ext uri="{FF2B5EF4-FFF2-40B4-BE49-F238E27FC236}">
                <a16:creationId xmlns:a16="http://schemas.microsoft.com/office/drawing/2014/main" id="{00E9834D-3359-97DB-693C-52E79A6414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10" y="2530698"/>
            <a:ext cx="1897584" cy="948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5" name="차트 84">
            <a:extLst>
              <a:ext uri="{FF2B5EF4-FFF2-40B4-BE49-F238E27FC236}">
                <a16:creationId xmlns:a16="http://schemas.microsoft.com/office/drawing/2014/main" id="{EF1194AB-B2AD-96A4-D266-46A2B48D3E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2883569"/>
              </p:ext>
            </p:extLst>
          </p:nvPr>
        </p:nvGraphicFramePr>
        <p:xfrm>
          <a:off x="5046662" y="3568371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6" name="차트 85">
            <a:extLst>
              <a:ext uri="{FF2B5EF4-FFF2-40B4-BE49-F238E27FC236}">
                <a16:creationId xmlns:a16="http://schemas.microsoft.com/office/drawing/2014/main" id="{FDC95FE6-E2E9-EA66-7D58-33A7CBA199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1437904"/>
              </p:ext>
            </p:extLst>
          </p:nvPr>
        </p:nvGraphicFramePr>
        <p:xfrm>
          <a:off x="488950" y="5030941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7" name="TextBox 86">
            <a:extLst>
              <a:ext uri="{FF2B5EF4-FFF2-40B4-BE49-F238E27FC236}">
                <a16:creationId xmlns:a16="http://schemas.microsoft.com/office/drawing/2014/main" id="{ADA87071-4779-C231-1F85-1E4C600B2544}"/>
              </a:ext>
            </a:extLst>
          </p:cNvPr>
          <p:cNvSpPr txBox="1"/>
          <p:nvPr/>
        </p:nvSpPr>
        <p:spPr>
          <a:xfrm>
            <a:off x="490153" y="480435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56DBD00-D21A-EA70-CF19-66C47005446A}"/>
              </a:ext>
            </a:extLst>
          </p:cNvPr>
          <p:cNvSpPr txBox="1"/>
          <p:nvPr/>
        </p:nvSpPr>
        <p:spPr>
          <a:xfrm>
            <a:off x="5046663" y="3504349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23A33D7D-517A-1475-2841-82D5093E0350}"/>
              </a:ext>
            </a:extLst>
          </p:cNvPr>
          <p:cNvSpPr txBox="1"/>
          <p:nvPr/>
        </p:nvSpPr>
        <p:spPr>
          <a:xfrm>
            <a:off x="488949" y="3499791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90" name="차트 89">
            <a:extLst>
              <a:ext uri="{FF2B5EF4-FFF2-40B4-BE49-F238E27FC236}">
                <a16:creationId xmlns:a16="http://schemas.microsoft.com/office/drawing/2014/main" id="{3837A442-7396-E291-97EF-51B415B09D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7234618"/>
              </p:ext>
            </p:extLst>
          </p:nvPr>
        </p:nvGraphicFramePr>
        <p:xfrm>
          <a:off x="488948" y="3692154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1" name="TextBox 90">
            <a:extLst>
              <a:ext uri="{FF2B5EF4-FFF2-40B4-BE49-F238E27FC236}">
                <a16:creationId xmlns:a16="http://schemas.microsoft.com/office/drawing/2014/main" id="{97077585-DD61-698A-6D1D-7EC52212286E}"/>
              </a:ext>
            </a:extLst>
          </p:cNvPr>
          <p:cNvSpPr txBox="1"/>
          <p:nvPr/>
        </p:nvSpPr>
        <p:spPr>
          <a:xfrm>
            <a:off x="8573029" y="3530621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4CB9F2E-94E8-C799-B646-76B3C89B757E}"/>
              </a:ext>
            </a:extLst>
          </p:cNvPr>
          <p:cNvSpPr txBox="1"/>
          <p:nvPr/>
        </p:nvSpPr>
        <p:spPr>
          <a:xfrm>
            <a:off x="4077460" y="3530621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34484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지주그룹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아이에스지주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674162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아이에스지주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권혁운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강남구 영동대로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741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012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8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75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,130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65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164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경</a:t>
            </a: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해운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동서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516161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아이에스지주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017055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40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14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6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46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3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6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.1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17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1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2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1,89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3,57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,1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06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8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1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ko-KR" altLang="en-US" sz="1200" b="1" err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아이에스지주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ILE/PC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선이엔티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981309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해운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경에너지솔루션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49008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kumimoji="0" lang="ko-K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자금조달 필요성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FFD3037-5510-3AF9-B4E8-81C782FF1699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9A4028D8-BA57-7D84-285B-7232B3409D43}"/>
              </a:ext>
            </a:extLst>
          </p:cNvPr>
          <p:cNvSpPr/>
          <p:nvPr/>
        </p:nvSpPr>
        <p:spPr>
          <a:xfrm>
            <a:off x="488950" y="1724907"/>
            <a:ext cx="826503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22FF7A2-60C9-A240-BE84-EFB88A33253F}"/>
              </a:ext>
            </a:extLst>
          </p:cNvPr>
          <p:cNvSpPr/>
          <p:nvPr/>
        </p:nvSpPr>
        <p:spPr>
          <a:xfrm>
            <a:off x="1379622" y="1724907"/>
            <a:ext cx="5111572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HDC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산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반기 흑자 냈지만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침체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자잿값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직격타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7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출 규모 유지에도 수익성 악화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익률이 높은 자체 주택 사업 규모가 크게 감소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속되는 건설 경기 둔화와 하도급 원가 상승 분의 영향 등으로 원가율이 높아져 영업이익이 감소</a:t>
            </a:r>
            <a:endParaRPr lang="en-US" altLang="ko-KR" sz="9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건전성 개선은 희망적</a:t>
            </a:r>
            <a:b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난해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7.7%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였던 부채비율은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23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상반기 기준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18.3%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9.4%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인트 감소하는 등 재무건전성을 회복하고 있는 상황</a:t>
            </a: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소매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희망퇴직’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 지원 두 모기업 엇갈린 입장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5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호텔신라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전액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손상차손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처리하고 공항면세점 집중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</a:t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HDC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매년 임차료 수십억 받아 사업 포기 어려울 듯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HDC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신라면세점의 경우 공항이 아닌 시내에 위치하고 있어 실적 개선이 특히 힘들 것이라는 분석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HDC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신라면세점이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HDC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그룹 소유의 용산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아이파크몰에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입주해있기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때문에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실적과 무관하게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HDC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신라면세점으로부터 임차료 등의 명목으로 매년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46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 가량을 받고 있다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.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3536413-C2A2-55B3-DBD0-F5550EEC3C23}"/>
              </a:ext>
            </a:extLst>
          </p:cNvPr>
          <p:cNvSpPr/>
          <p:nvPr/>
        </p:nvSpPr>
        <p:spPr>
          <a:xfrm>
            <a:off x="6555363" y="1724907"/>
            <a:ext cx="2861687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경기 둔화 및 원자재 가격 상승으로 건설업 수익성 악화 추이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라면세점의 재무 위기를 인식하고 호텔신라와 지원 방안에 대해 논의하는 中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업 위주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DC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이 </a:t>
            </a:r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핵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면세점 사업에 대한 지원 및 매물화 가능성</a:t>
            </a:r>
            <a:endParaRPr lang="ko-KR" altLang="en-US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CCF558BF-72E8-F6A8-31FA-F6C968ED4C31}"/>
              </a:ext>
            </a:extLst>
          </p:cNvPr>
          <p:cNvSpPr/>
          <p:nvPr/>
        </p:nvSpPr>
        <p:spPr>
          <a:xfrm>
            <a:off x="488950" y="3928656"/>
            <a:ext cx="826503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E3FD00F9-FEF9-35CD-EA65-7AFB259CAC36}"/>
              </a:ext>
            </a:extLst>
          </p:cNvPr>
          <p:cNvSpPr/>
          <p:nvPr/>
        </p:nvSpPr>
        <p:spPr>
          <a:xfrm>
            <a:off x="1379622" y="3928656"/>
            <a:ext cx="5111572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회사에 신영건설 주식 담보로 자금 차입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3.01)</a:t>
            </a:r>
            <a:endParaRPr kumimoji="0" lang="en-US" altLang="ko-KR" sz="105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자금 조달을 위해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022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부터 지속적으로 특수관계자들에게 손을 벌리고 있다</a:t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광주 전남방직공장 복합개발사업 부지 잔금 납부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포장용지업체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페이퍼코리아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인수 등 돈이 들어갈 곳은 많은데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원자재 가격 상승과 금리 인상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부동산 경기 침체 등으로 인해 돈이 나올 곳은 부족</a:t>
            </a:r>
            <a:endParaRPr lang="en-US" altLang="ko-KR" sz="900">
              <a:solidFill>
                <a:srgbClr val="000000">
                  <a:lumMod val="50000"/>
                  <a:lumOff val="50000"/>
                </a:srgb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endParaRPr lang="en-US" altLang="ko-KR" sz="105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PF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금 압박에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골머리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2.09)</a:t>
            </a:r>
            <a:endParaRPr kumimoji="0" lang="en-US" altLang="ko-KR" sz="105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여의도동이 민간택지 분양가상한제 적용지역으로 지정되면서 선분양계획 철회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후분양방식 선회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금 상환 여력이 충분치 않은 상황에서 신영은 </a:t>
            </a:r>
            <a: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</a:t>
            </a:r>
            <a:r>
              <a:rPr lang="ko-KR" altLang="en-US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대출금 차환에 나설 것으로 예상</a:t>
            </a:r>
            <a:br>
              <a:rPr lang="en-US" altLang="ko-KR" sz="10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브라이튼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여의도 아파트 분양일정은 내년 상반기로 예정돼 있다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.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시기 상 </a:t>
            </a:r>
            <a:r>
              <a:rPr lang="ko-KR" altLang="en-US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파트 분양대금을 이용해 신영이 </a:t>
            </a:r>
            <a:r>
              <a:rPr lang="en-US" altLang="ko-KR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 상환에 나서기는 현실적으로 어려울 것</a:t>
            </a:r>
            <a:r>
              <a:rPr lang="en-US" altLang="ko-KR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br>
              <a:rPr lang="en-US" altLang="ko-KR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 신영의 </a:t>
            </a:r>
            <a:r>
              <a:rPr lang="en-US" altLang="ko-KR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금리는 </a:t>
            </a:r>
            <a:r>
              <a:rPr lang="en-US" altLang="ko-KR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86%~6.5%,</a:t>
            </a:r>
            <a:r>
              <a:rPr lang="ko-KR" altLang="en-US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err="1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파이낸싱</a:t>
            </a:r>
            <a:r>
              <a:rPr lang="ko-KR" altLang="en-US" sz="900">
                <a:solidFill>
                  <a:srgbClr val="000000">
                    <a:lumMod val="50000"/>
                    <a:lumOff val="50000"/>
                  </a:srgb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시 이자율 상승 가능성 高</a:t>
            </a: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endParaRPr lang="en-US" altLang="ko-KR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회사</a:t>
            </a:r>
            <a:r>
              <a:rPr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농</a:t>
            </a:r>
            <a:r>
              <a:rPr lang="en-US" altLang="ko-KR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’23</a:t>
            </a:r>
            <a:r>
              <a:rPr lang="ko-KR" altLang="en-US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상반기 영업적자 전환</a:t>
            </a:r>
            <a:r>
              <a:rPr lang="en-US" altLang="ko-KR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출액 전년 比 </a:t>
            </a:r>
            <a:r>
              <a:rPr lang="en-US" altLang="ko-KR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5% </a:t>
            </a:r>
            <a:r>
              <a:rPr lang="ko-KR" altLang="en-US" sz="11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소</a:t>
            </a:r>
            <a:endParaRPr kumimoji="0" lang="en-US" altLang="ko-KR" sz="11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04EF0B9-8624-5696-1BC1-61529C1E23D9}"/>
              </a:ext>
            </a:extLst>
          </p:cNvPr>
          <p:cNvSpPr/>
          <p:nvPr/>
        </p:nvSpPr>
        <p:spPr>
          <a:xfrm>
            <a:off x="6555363" y="3928656"/>
            <a:ext cx="2861687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영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금리 흐름과 건설업 불황이 장기화 조짐 속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 간 자금거래 증가 추이 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시장 침체 지속 시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우발채무 현실화 등에 대비한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조달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 예상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면방업계 불황에 따라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이 급격히 악화된 ㈜대농의 관리방향 주목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21" name="Picture 2" descr="HDC - 나무위키">
            <a:extLst>
              <a:ext uri="{FF2B5EF4-FFF2-40B4-BE49-F238E27FC236}">
                <a16:creationId xmlns:a16="http://schemas.microsoft.com/office/drawing/2014/main" id="{751B2998-A7E3-BC01-A230-CC8A3D0A0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24" y="2582121"/>
            <a:ext cx="697846" cy="212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425A1A66-C2A5-724D-1F66-C664A9169E3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11"/>
          <a:stretch/>
        </p:blipFill>
        <p:spPr>
          <a:xfrm>
            <a:off x="588898" y="4421863"/>
            <a:ext cx="664216" cy="675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94589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 dirty="0" err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에스지주그룹</a:t>
            </a:r>
            <a:r>
              <a:rPr lang="ko-KR" altLang="en-US" sz="900" b="1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dirty="0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지주그룹</a:t>
            </a:r>
            <a:r>
              <a:rPr lang="ko-KR" altLang="en-US" sz="3600" b="1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구조</a:t>
            </a:r>
            <a:endParaRPr lang="en-US" sz="1500" b="1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5" name="모서리가 둥근 직사각형 167">
            <a:extLst>
              <a:ext uri="{FF2B5EF4-FFF2-40B4-BE49-F238E27FC236}">
                <a16:creationId xmlns:a16="http://schemas.microsoft.com/office/drawing/2014/main" id="{5DF9A125-92FB-DC45-8957-B32FA9255D63}"/>
              </a:ext>
            </a:extLst>
          </p:cNvPr>
          <p:cNvSpPr/>
          <p:nvPr/>
        </p:nvSpPr>
        <p:spPr>
          <a:xfrm>
            <a:off x="3836831" y="1833185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㈜</a:t>
            </a:r>
            <a:r>
              <a:rPr lang="ko-KR" altLang="en-US" sz="900" b="1" dirty="0" err="1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에스지주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7E5901A0-FBE0-6374-74F1-013EDC8FC120}"/>
              </a:ext>
            </a:extLst>
          </p:cNvPr>
          <p:cNvCxnSpPr>
            <a:cxnSpLocks/>
          </p:cNvCxnSpPr>
          <p:nvPr/>
        </p:nvCxnSpPr>
        <p:spPr>
          <a:xfrm flipH="1">
            <a:off x="858764" y="2307124"/>
            <a:ext cx="6879449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63379548-35AB-CA8A-8D83-35F33CAEEFAD}"/>
              </a:ext>
            </a:extLst>
          </p:cNvPr>
          <p:cNvCxnSpPr>
            <a:cxnSpLocks/>
          </p:cNvCxnSpPr>
          <p:nvPr/>
        </p:nvCxnSpPr>
        <p:spPr>
          <a:xfrm>
            <a:off x="3567598" y="230712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화살표 연결선 17">
            <a:extLst>
              <a:ext uri="{FF2B5EF4-FFF2-40B4-BE49-F238E27FC236}">
                <a16:creationId xmlns:a16="http://schemas.microsoft.com/office/drawing/2014/main" id="{27ED44DA-CEE9-32A9-DC7D-2426DD060FE2}"/>
              </a:ext>
            </a:extLst>
          </p:cNvPr>
          <p:cNvCxnSpPr>
            <a:cxnSpLocks/>
          </p:cNvCxnSpPr>
          <p:nvPr/>
        </p:nvCxnSpPr>
        <p:spPr>
          <a:xfrm>
            <a:off x="858764" y="2307124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타원 18">
            <a:extLst>
              <a:ext uri="{FF2B5EF4-FFF2-40B4-BE49-F238E27FC236}">
                <a16:creationId xmlns:a16="http://schemas.microsoft.com/office/drawing/2014/main" id="{96B101CE-AA2E-B35B-6CFC-7E195DF51812}"/>
              </a:ext>
            </a:extLst>
          </p:cNvPr>
          <p:cNvSpPr/>
          <p:nvPr/>
        </p:nvSpPr>
        <p:spPr>
          <a:xfrm>
            <a:off x="572332" y="246115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1" name="타원 20">
            <a:extLst>
              <a:ext uri="{FF2B5EF4-FFF2-40B4-BE49-F238E27FC236}">
                <a16:creationId xmlns:a16="http://schemas.microsoft.com/office/drawing/2014/main" id="{FF3761EF-B7B8-4273-694D-02B9DF3F6D7F}"/>
              </a:ext>
            </a:extLst>
          </p:cNvPr>
          <p:cNvSpPr/>
          <p:nvPr/>
        </p:nvSpPr>
        <p:spPr>
          <a:xfrm>
            <a:off x="3272936" y="2459060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4.5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2" name="모서리가 둥근 직사각형 167">
            <a:extLst>
              <a:ext uri="{FF2B5EF4-FFF2-40B4-BE49-F238E27FC236}">
                <a16:creationId xmlns:a16="http://schemas.microsoft.com/office/drawing/2014/main" id="{5349EF5C-05E3-AF75-095D-966719BB3F6A}"/>
              </a:ext>
            </a:extLst>
          </p:cNvPr>
          <p:cNvSpPr/>
          <p:nvPr/>
        </p:nvSpPr>
        <p:spPr>
          <a:xfrm>
            <a:off x="3063598" y="2817715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에스동서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23" name="모서리가 둥근 직사각형 167">
            <a:extLst>
              <a:ext uri="{FF2B5EF4-FFF2-40B4-BE49-F238E27FC236}">
                <a16:creationId xmlns:a16="http://schemas.microsoft.com/office/drawing/2014/main" id="{87EF8A36-9C42-A4FF-CC3D-701977A7C921}"/>
              </a:ext>
            </a:extLst>
          </p:cNvPr>
          <p:cNvSpPr/>
          <p:nvPr/>
        </p:nvSpPr>
        <p:spPr>
          <a:xfrm>
            <a:off x="354764" y="2817445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동서건설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A97856FA-37B6-D8D4-EA30-6CB7BBAF5119}"/>
              </a:ext>
            </a:extLst>
          </p:cNvPr>
          <p:cNvCxnSpPr>
            <a:cxnSpLocks/>
          </p:cNvCxnSpPr>
          <p:nvPr/>
        </p:nvCxnSpPr>
        <p:spPr>
          <a:xfrm>
            <a:off x="5043770" y="230726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타원 26">
            <a:extLst>
              <a:ext uri="{FF2B5EF4-FFF2-40B4-BE49-F238E27FC236}">
                <a16:creationId xmlns:a16="http://schemas.microsoft.com/office/drawing/2014/main" id="{C80C8F65-17E7-83F5-2CCC-5CBCC4194C61}"/>
              </a:ext>
            </a:extLst>
          </p:cNvPr>
          <p:cNvSpPr/>
          <p:nvPr/>
        </p:nvSpPr>
        <p:spPr>
          <a:xfrm>
            <a:off x="4749108" y="245919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모서리가 둥근 직사각형 167">
            <a:extLst>
              <a:ext uri="{FF2B5EF4-FFF2-40B4-BE49-F238E27FC236}">
                <a16:creationId xmlns:a16="http://schemas.microsoft.com/office/drawing/2014/main" id="{2B8EEFFB-D2A1-D784-7D7D-81B11A4F298D}"/>
              </a:ext>
            </a:extLst>
          </p:cNvPr>
          <p:cNvSpPr/>
          <p:nvPr/>
        </p:nvSpPr>
        <p:spPr>
          <a:xfrm>
            <a:off x="4539770" y="2817853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일신이앤씨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C4ECAE34-00AB-37E6-2F48-23F2003B477F}"/>
              </a:ext>
            </a:extLst>
          </p:cNvPr>
          <p:cNvCxnSpPr>
            <a:cxnSpLocks/>
          </p:cNvCxnSpPr>
          <p:nvPr/>
        </p:nvCxnSpPr>
        <p:spPr>
          <a:xfrm>
            <a:off x="6272871" y="2307262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타원 86">
            <a:extLst>
              <a:ext uri="{FF2B5EF4-FFF2-40B4-BE49-F238E27FC236}">
                <a16:creationId xmlns:a16="http://schemas.microsoft.com/office/drawing/2014/main" id="{3A027B92-1AE1-54FA-5CC6-BD9CCDEFEE12}"/>
              </a:ext>
            </a:extLst>
          </p:cNvPr>
          <p:cNvSpPr/>
          <p:nvPr/>
        </p:nvSpPr>
        <p:spPr>
          <a:xfrm>
            <a:off x="5978209" y="2459198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89" name="모서리가 둥근 직사각형 167">
            <a:extLst>
              <a:ext uri="{FF2B5EF4-FFF2-40B4-BE49-F238E27FC236}">
                <a16:creationId xmlns:a16="http://schemas.microsoft.com/office/drawing/2014/main" id="{63BBCF55-7D50-2453-2425-12CC88D03B46}"/>
              </a:ext>
            </a:extLst>
          </p:cNvPr>
          <p:cNvSpPr/>
          <p:nvPr/>
        </p:nvSpPr>
        <p:spPr>
          <a:xfrm>
            <a:off x="5768871" y="2817853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하우스건설</a:t>
            </a:r>
          </a:p>
        </p:txBody>
      </p:sp>
      <p:cxnSp>
        <p:nvCxnSpPr>
          <p:cNvPr id="91" name="직선 화살표 연결선 90">
            <a:extLst>
              <a:ext uri="{FF2B5EF4-FFF2-40B4-BE49-F238E27FC236}">
                <a16:creationId xmlns:a16="http://schemas.microsoft.com/office/drawing/2014/main" id="{A921A615-5947-6233-8023-FA53C7E2A0D9}"/>
              </a:ext>
            </a:extLst>
          </p:cNvPr>
          <p:cNvCxnSpPr>
            <a:cxnSpLocks/>
            <a:stCxn id="15" idx="2"/>
          </p:cNvCxnSpPr>
          <p:nvPr/>
        </p:nvCxnSpPr>
        <p:spPr>
          <a:xfrm flipH="1">
            <a:off x="4339700" y="2193185"/>
            <a:ext cx="1131" cy="113669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8F9504A7-FAB1-1080-D878-E0607D9DEAA9}"/>
              </a:ext>
            </a:extLst>
          </p:cNvPr>
          <p:cNvSpPr/>
          <p:nvPr/>
        </p:nvSpPr>
        <p:spPr>
          <a:xfrm>
            <a:off x="5768871" y="3204572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원건설</a:t>
            </a:r>
          </a:p>
        </p:txBody>
      </p:sp>
      <p:sp>
        <p:nvSpPr>
          <p:cNvPr id="93" name="모서리가 둥근 직사각형 167">
            <a:extLst>
              <a:ext uri="{FF2B5EF4-FFF2-40B4-BE49-F238E27FC236}">
                <a16:creationId xmlns:a16="http://schemas.microsoft.com/office/drawing/2014/main" id="{0427FB34-08B9-838C-C65C-E80766B2FF92}"/>
              </a:ext>
            </a:extLst>
          </p:cNvPr>
          <p:cNvSpPr/>
          <p:nvPr/>
        </p:nvSpPr>
        <p:spPr>
          <a:xfrm>
            <a:off x="5768871" y="3591291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크로건설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96" name="모서리가 둥근 직사각형 167">
            <a:extLst>
              <a:ext uri="{FF2B5EF4-FFF2-40B4-BE49-F238E27FC236}">
                <a16:creationId xmlns:a16="http://schemas.microsoft.com/office/drawing/2014/main" id="{C61B57C0-F15F-3239-C225-EAE9805F209F}"/>
              </a:ext>
            </a:extLst>
          </p:cNvPr>
          <p:cNvSpPr/>
          <p:nvPr/>
        </p:nvSpPr>
        <p:spPr>
          <a:xfrm>
            <a:off x="5768871" y="3978010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누스건설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7" name="모서리가 둥근 직사각형 167">
            <a:extLst>
              <a:ext uri="{FF2B5EF4-FFF2-40B4-BE49-F238E27FC236}">
                <a16:creationId xmlns:a16="http://schemas.microsoft.com/office/drawing/2014/main" id="{8BBE9246-EB33-B1A8-318A-D231072A4D6B}"/>
              </a:ext>
            </a:extLst>
          </p:cNvPr>
          <p:cNvSpPr/>
          <p:nvPr/>
        </p:nvSpPr>
        <p:spPr>
          <a:xfrm>
            <a:off x="5768871" y="4369170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티씨이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8" name="모서리가 둥근 직사각형 167">
            <a:extLst>
              <a:ext uri="{FF2B5EF4-FFF2-40B4-BE49-F238E27FC236}">
                <a16:creationId xmlns:a16="http://schemas.microsoft.com/office/drawing/2014/main" id="{9B56EF7E-AD80-EA7C-A930-5FA6EB678A95}"/>
              </a:ext>
            </a:extLst>
          </p:cNvPr>
          <p:cNvSpPr/>
          <p:nvPr/>
        </p:nvSpPr>
        <p:spPr>
          <a:xfrm>
            <a:off x="5768871" y="4760330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경주보문타워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19" name="직선 화살표 연결선 118">
            <a:extLst>
              <a:ext uri="{FF2B5EF4-FFF2-40B4-BE49-F238E27FC236}">
                <a16:creationId xmlns:a16="http://schemas.microsoft.com/office/drawing/2014/main" id="{154FE81C-42A2-32D5-5C48-9E882698A682}"/>
              </a:ext>
            </a:extLst>
          </p:cNvPr>
          <p:cNvCxnSpPr>
            <a:cxnSpLocks/>
          </p:cNvCxnSpPr>
          <p:nvPr/>
        </p:nvCxnSpPr>
        <p:spPr>
          <a:xfrm flipH="1">
            <a:off x="7737011" y="2306854"/>
            <a:ext cx="6962" cy="2632523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직선 화살표 연결선 119">
            <a:extLst>
              <a:ext uri="{FF2B5EF4-FFF2-40B4-BE49-F238E27FC236}">
                <a16:creationId xmlns:a16="http://schemas.microsoft.com/office/drawing/2014/main" id="{3BC43DE6-ED7D-31D2-C941-9942D6C6D9B0}"/>
              </a:ext>
            </a:extLst>
          </p:cNvPr>
          <p:cNvCxnSpPr>
            <a:cxnSpLocks/>
          </p:cNvCxnSpPr>
          <p:nvPr/>
        </p:nvCxnSpPr>
        <p:spPr>
          <a:xfrm flipH="1">
            <a:off x="6783324" y="3377759"/>
            <a:ext cx="95368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타원 120">
            <a:extLst>
              <a:ext uri="{FF2B5EF4-FFF2-40B4-BE49-F238E27FC236}">
                <a16:creationId xmlns:a16="http://schemas.microsoft.com/office/drawing/2014/main" id="{4D5AAF4A-8C2A-2EDE-B9D7-879E08374C07}"/>
              </a:ext>
            </a:extLst>
          </p:cNvPr>
          <p:cNvSpPr/>
          <p:nvPr/>
        </p:nvSpPr>
        <p:spPr>
          <a:xfrm>
            <a:off x="6940354" y="328775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2" name="직선 화살표 연결선 121">
            <a:extLst>
              <a:ext uri="{FF2B5EF4-FFF2-40B4-BE49-F238E27FC236}">
                <a16:creationId xmlns:a16="http://schemas.microsoft.com/office/drawing/2014/main" id="{D35BEF1C-F176-7E6A-93A1-AFFEA7ED2640}"/>
              </a:ext>
            </a:extLst>
          </p:cNvPr>
          <p:cNvCxnSpPr>
            <a:cxnSpLocks/>
          </p:cNvCxnSpPr>
          <p:nvPr/>
        </p:nvCxnSpPr>
        <p:spPr>
          <a:xfrm flipH="1">
            <a:off x="6783324" y="3784889"/>
            <a:ext cx="953687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타원 122">
            <a:extLst>
              <a:ext uri="{FF2B5EF4-FFF2-40B4-BE49-F238E27FC236}">
                <a16:creationId xmlns:a16="http://schemas.microsoft.com/office/drawing/2014/main" id="{FA6FFFFA-0E8F-FD75-E122-F6EB26B8B1E0}"/>
              </a:ext>
            </a:extLst>
          </p:cNvPr>
          <p:cNvSpPr/>
          <p:nvPr/>
        </p:nvSpPr>
        <p:spPr>
          <a:xfrm>
            <a:off x="6940354" y="369488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4" name="직선 화살표 연결선 123">
            <a:extLst>
              <a:ext uri="{FF2B5EF4-FFF2-40B4-BE49-F238E27FC236}">
                <a16:creationId xmlns:a16="http://schemas.microsoft.com/office/drawing/2014/main" id="{3C0E55A3-F143-346C-F6A8-2CB1C96B003F}"/>
              </a:ext>
            </a:extLst>
          </p:cNvPr>
          <p:cNvCxnSpPr>
            <a:cxnSpLocks/>
          </p:cNvCxnSpPr>
          <p:nvPr/>
        </p:nvCxnSpPr>
        <p:spPr>
          <a:xfrm flipH="1">
            <a:off x="6777564" y="4149066"/>
            <a:ext cx="960649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타원 124">
            <a:extLst>
              <a:ext uri="{FF2B5EF4-FFF2-40B4-BE49-F238E27FC236}">
                <a16:creationId xmlns:a16="http://schemas.microsoft.com/office/drawing/2014/main" id="{556DCE9E-2592-FE2C-A714-5F799B5B6939}"/>
              </a:ext>
            </a:extLst>
          </p:cNvPr>
          <p:cNvSpPr/>
          <p:nvPr/>
        </p:nvSpPr>
        <p:spPr>
          <a:xfrm>
            <a:off x="6934594" y="405906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6" name="직선 화살표 연결선 125">
            <a:extLst>
              <a:ext uri="{FF2B5EF4-FFF2-40B4-BE49-F238E27FC236}">
                <a16:creationId xmlns:a16="http://schemas.microsoft.com/office/drawing/2014/main" id="{0096ED0F-9D52-23CC-B7B0-B60449AA7B88}"/>
              </a:ext>
            </a:extLst>
          </p:cNvPr>
          <p:cNvCxnSpPr>
            <a:cxnSpLocks/>
          </p:cNvCxnSpPr>
          <p:nvPr/>
        </p:nvCxnSpPr>
        <p:spPr>
          <a:xfrm flipH="1">
            <a:off x="6777564" y="4538393"/>
            <a:ext cx="960649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타원 126">
            <a:extLst>
              <a:ext uri="{FF2B5EF4-FFF2-40B4-BE49-F238E27FC236}">
                <a16:creationId xmlns:a16="http://schemas.microsoft.com/office/drawing/2014/main" id="{5B951190-E8A6-D651-921C-0791CB5B49E3}"/>
              </a:ext>
            </a:extLst>
          </p:cNvPr>
          <p:cNvSpPr/>
          <p:nvPr/>
        </p:nvSpPr>
        <p:spPr>
          <a:xfrm>
            <a:off x="6934594" y="4448393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3.3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128" name="직선 화살표 연결선 127">
            <a:extLst>
              <a:ext uri="{FF2B5EF4-FFF2-40B4-BE49-F238E27FC236}">
                <a16:creationId xmlns:a16="http://schemas.microsoft.com/office/drawing/2014/main" id="{7F7921E1-E1D1-D745-D852-781438E29B6E}"/>
              </a:ext>
            </a:extLst>
          </p:cNvPr>
          <p:cNvCxnSpPr>
            <a:cxnSpLocks/>
          </p:cNvCxnSpPr>
          <p:nvPr/>
        </p:nvCxnSpPr>
        <p:spPr>
          <a:xfrm flipH="1">
            <a:off x="6777564" y="4939377"/>
            <a:ext cx="960649" cy="0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타원 128">
            <a:extLst>
              <a:ext uri="{FF2B5EF4-FFF2-40B4-BE49-F238E27FC236}">
                <a16:creationId xmlns:a16="http://schemas.microsoft.com/office/drawing/2014/main" id="{E66EF9D9-4199-6303-F4FC-1C3E98C330DE}"/>
              </a:ext>
            </a:extLst>
          </p:cNvPr>
          <p:cNvSpPr/>
          <p:nvPr/>
        </p:nvSpPr>
        <p:spPr>
          <a:xfrm>
            <a:off x="6934594" y="484937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6" name="직사각형 145">
            <a:extLst>
              <a:ext uri="{FF2B5EF4-FFF2-40B4-BE49-F238E27FC236}">
                <a16:creationId xmlns:a16="http://schemas.microsoft.com/office/drawing/2014/main" id="{C90C197D-2174-C9C7-DAEB-9D1E4824F1F5}"/>
              </a:ext>
            </a:extLst>
          </p:cNvPr>
          <p:cNvSpPr/>
          <p:nvPr/>
        </p:nvSpPr>
        <p:spPr>
          <a:xfrm>
            <a:off x="372796" y="3700923"/>
            <a:ext cx="2739689" cy="2156898"/>
          </a:xfrm>
          <a:prstGeom prst="rect">
            <a:avLst/>
          </a:prstGeom>
          <a:solidFill>
            <a:srgbClr val="F2F2F2"/>
          </a:solidFill>
          <a:ln w="952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5" name="Text Placeholder 7">
            <a:extLst>
              <a:ext uri="{FF2B5EF4-FFF2-40B4-BE49-F238E27FC236}">
                <a16:creationId xmlns:a16="http://schemas.microsoft.com/office/drawing/2014/main" id="{BE7CA557-10CD-A68B-8AD3-9093793BFF86}"/>
              </a:ext>
            </a:extLst>
          </p:cNvPr>
          <p:cNvSpPr txBox="1">
            <a:spLocks/>
          </p:cNvSpPr>
          <p:nvPr/>
        </p:nvSpPr>
        <p:spPr>
          <a:xfrm>
            <a:off x="380417" y="3712921"/>
            <a:ext cx="1440000" cy="20297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중앙레미콘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영풍파일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이에스해운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부산블루코스트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아람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해니건설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나래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티와이건설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바운스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66" name="Text Placeholder 7">
            <a:extLst>
              <a:ext uri="{FF2B5EF4-FFF2-40B4-BE49-F238E27FC236}">
                <a16:creationId xmlns:a16="http://schemas.microsoft.com/office/drawing/2014/main" id="{961353AF-DF68-E0AC-DC12-C7F89493CA9F}"/>
              </a:ext>
            </a:extLst>
          </p:cNvPr>
          <p:cNvSpPr txBox="1">
            <a:spLocks/>
          </p:cNvSpPr>
          <p:nvPr/>
        </p:nvSpPr>
        <p:spPr>
          <a:xfrm>
            <a:off x="1750260" y="3715395"/>
            <a:ext cx="1440000" cy="8874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온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디에스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새빛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유라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도담이앤씨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초아건설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다솜건설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카이트홀딩스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서현관리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삼정이알케이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B8545306-9E47-F279-DD52-7C94FBBDE43B}"/>
              </a:ext>
            </a:extLst>
          </p:cNvPr>
          <p:cNvSpPr/>
          <p:nvPr/>
        </p:nvSpPr>
        <p:spPr>
          <a:xfrm>
            <a:off x="7844788" y="1688162"/>
            <a:ext cx="1560779" cy="1028110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8" name="모서리가 둥근 직사각형 167">
            <a:extLst>
              <a:ext uri="{FF2B5EF4-FFF2-40B4-BE49-F238E27FC236}">
                <a16:creationId xmlns:a16="http://schemas.microsoft.com/office/drawing/2014/main" id="{57644DF9-3C7D-70F4-2812-5213D9B15A10}"/>
              </a:ext>
            </a:extLst>
          </p:cNvPr>
          <p:cNvSpPr/>
          <p:nvPr/>
        </p:nvSpPr>
        <p:spPr>
          <a:xfrm>
            <a:off x="7928756" y="1925505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모서리가 둥근 직사각형 167">
            <a:extLst>
              <a:ext uri="{FF2B5EF4-FFF2-40B4-BE49-F238E27FC236}">
                <a16:creationId xmlns:a16="http://schemas.microsoft.com/office/drawing/2014/main" id="{4283C8B7-0778-CB61-68A6-8845BDC09BBD}"/>
              </a:ext>
            </a:extLst>
          </p:cNvPr>
          <p:cNvSpPr/>
          <p:nvPr/>
        </p:nvSpPr>
        <p:spPr>
          <a:xfrm>
            <a:off x="7928756" y="2180254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6D6CE6D2-615F-EFA9-9A52-C04B811DDFF7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BB068272-6682-2197-0B99-003A346F288B}"/>
              </a:ext>
            </a:extLst>
          </p:cNvPr>
          <p:cNvSpPr/>
          <p:nvPr/>
        </p:nvSpPr>
        <p:spPr>
          <a:xfrm>
            <a:off x="7928756" y="2440632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3" name="모서리가 둥근 직사각형 167">
            <a:extLst>
              <a:ext uri="{FF2B5EF4-FFF2-40B4-BE49-F238E27FC236}">
                <a16:creationId xmlns:a16="http://schemas.microsoft.com/office/drawing/2014/main" id="{38355B5D-544D-A9BA-4387-767059EEB550}"/>
              </a:ext>
            </a:extLst>
          </p:cNvPr>
          <p:cNvSpPr/>
          <p:nvPr/>
        </p:nvSpPr>
        <p:spPr>
          <a:xfrm>
            <a:off x="8293213" y="1924747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5" name="모서리가 둥근 직사각형 167">
            <a:extLst>
              <a:ext uri="{FF2B5EF4-FFF2-40B4-BE49-F238E27FC236}">
                <a16:creationId xmlns:a16="http://schemas.microsoft.com/office/drawing/2014/main" id="{CC117464-3238-CADD-00D6-2FDE265CB0AA}"/>
              </a:ext>
            </a:extLst>
          </p:cNvPr>
          <p:cNvSpPr/>
          <p:nvPr/>
        </p:nvSpPr>
        <p:spPr>
          <a:xfrm>
            <a:off x="8293212" y="2176081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6" name="모서리가 둥근 직사각형 167">
            <a:extLst>
              <a:ext uri="{FF2B5EF4-FFF2-40B4-BE49-F238E27FC236}">
                <a16:creationId xmlns:a16="http://schemas.microsoft.com/office/drawing/2014/main" id="{8182AD40-CA40-72E1-A1C0-93CB63C04B5B}"/>
              </a:ext>
            </a:extLst>
          </p:cNvPr>
          <p:cNvSpPr/>
          <p:nvPr/>
        </p:nvSpPr>
        <p:spPr>
          <a:xfrm>
            <a:off x="8293213" y="2436435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7C0BFEA9-FE3A-1265-25BE-E08DD2F58233}"/>
              </a:ext>
            </a:extLst>
          </p:cNvPr>
          <p:cNvCxnSpPr>
            <a:cxnSpLocks/>
            <a:endCxn id="30" idx="0"/>
          </p:cNvCxnSpPr>
          <p:nvPr/>
        </p:nvCxnSpPr>
        <p:spPr>
          <a:xfrm>
            <a:off x="3395426" y="3172005"/>
            <a:ext cx="0" cy="51576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화살표 연결선 5">
            <a:extLst>
              <a:ext uri="{FF2B5EF4-FFF2-40B4-BE49-F238E27FC236}">
                <a16:creationId xmlns:a16="http://schemas.microsoft.com/office/drawing/2014/main" id="{45497A47-14EE-22A3-975D-167D3FE3AB6D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4069379" y="3343686"/>
            <a:ext cx="0" cy="344079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12698F1D-1E55-4C8C-39A4-D77C7D02A3F6}"/>
              </a:ext>
            </a:extLst>
          </p:cNvPr>
          <p:cNvCxnSpPr>
            <a:cxnSpLocks/>
          </p:cNvCxnSpPr>
          <p:nvPr/>
        </p:nvCxnSpPr>
        <p:spPr>
          <a:xfrm>
            <a:off x="1606511" y="3340510"/>
            <a:ext cx="0" cy="372411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타원 9">
            <a:extLst>
              <a:ext uri="{FF2B5EF4-FFF2-40B4-BE49-F238E27FC236}">
                <a16:creationId xmlns:a16="http://schemas.microsoft.com/office/drawing/2014/main" id="{A397A288-ACE6-E5B0-15AC-9B668ECD7527}"/>
              </a:ext>
            </a:extLst>
          </p:cNvPr>
          <p:cNvSpPr/>
          <p:nvPr/>
        </p:nvSpPr>
        <p:spPr>
          <a:xfrm>
            <a:off x="1320968" y="345378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2" name="타원 11">
            <a:extLst>
              <a:ext uri="{FF2B5EF4-FFF2-40B4-BE49-F238E27FC236}">
                <a16:creationId xmlns:a16="http://schemas.microsoft.com/office/drawing/2014/main" id="{88BE6AC5-0337-7A0E-C849-A4C369405E28}"/>
              </a:ext>
            </a:extLst>
          </p:cNvPr>
          <p:cNvSpPr/>
          <p:nvPr/>
        </p:nvSpPr>
        <p:spPr>
          <a:xfrm>
            <a:off x="3116587" y="3447291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4.9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" name="타원 12">
            <a:extLst>
              <a:ext uri="{FF2B5EF4-FFF2-40B4-BE49-F238E27FC236}">
                <a16:creationId xmlns:a16="http://schemas.microsoft.com/office/drawing/2014/main" id="{D82CBE58-1922-2068-B254-9D472CDE03BF}"/>
              </a:ext>
            </a:extLst>
          </p:cNvPr>
          <p:cNvSpPr/>
          <p:nvPr/>
        </p:nvSpPr>
        <p:spPr>
          <a:xfrm>
            <a:off x="3793892" y="3453785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5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0" name="모서리가 둥근 직사각형 167">
            <a:extLst>
              <a:ext uri="{FF2B5EF4-FFF2-40B4-BE49-F238E27FC236}">
                <a16:creationId xmlns:a16="http://schemas.microsoft.com/office/drawing/2014/main" id="{864773A4-25B3-093A-E15D-CF7B33D7957E}"/>
              </a:ext>
            </a:extLst>
          </p:cNvPr>
          <p:cNvSpPr/>
          <p:nvPr/>
        </p:nvSpPr>
        <p:spPr>
          <a:xfrm>
            <a:off x="3209489" y="3687765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인선이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엔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티</a:t>
            </a:r>
            <a:endParaRPr kumimoji="0" lang="ko-KR" altLang="en-US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33" name="모서리가 둥근 직사각형 167">
            <a:extLst>
              <a:ext uri="{FF2B5EF4-FFF2-40B4-BE49-F238E27FC236}">
                <a16:creationId xmlns:a16="http://schemas.microsoft.com/office/drawing/2014/main" id="{E2D0E6EE-08CC-7B33-F251-E1E909A9CF9A}"/>
              </a:ext>
            </a:extLst>
          </p:cNvPr>
          <p:cNvSpPr/>
          <p:nvPr/>
        </p:nvSpPr>
        <p:spPr>
          <a:xfrm>
            <a:off x="3883442" y="3687765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골든</a:t>
            </a:r>
            <a:endParaRPr kumimoji="0" lang="en-US" altLang="ko-KR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코</a:t>
            </a:r>
            <a:endParaRPr kumimoji="0" lang="ko-KR" altLang="en-US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4CB1A93A-A554-53BE-EA03-3A3092DB2AF9}"/>
              </a:ext>
            </a:extLst>
          </p:cNvPr>
          <p:cNvCxnSpPr>
            <a:cxnSpLocks/>
            <a:stCxn id="31" idx="2"/>
            <a:endCxn id="39" idx="0"/>
          </p:cNvCxnSpPr>
          <p:nvPr/>
        </p:nvCxnSpPr>
        <p:spPr>
          <a:xfrm flipH="1">
            <a:off x="5042033" y="3177853"/>
            <a:ext cx="1737" cy="504198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타원 37">
            <a:extLst>
              <a:ext uri="{FF2B5EF4-FFF2-40B4-BE49-F238E27FC236}">
                <a16:creationId xmlns:a16="http://schemas.microsoft.com/office/drawing/2014/main" id="{ED150A8C-0FDF-E72C-21BC-67253B00F01D}"/>
              </a:ext>
            </a:extLst>
          </p:cNvPr>
          <p:cNvSpPr/>
          <p:nvPr/>
        </p:nvSpPr>
        <p:spPr>
          <a:xfrm>
            <a:off x="4769200" y="334755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77.1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9" name="모서리가 둥근 직사각형 167">
            <a:extLst>
              <a:ext uri="{FF2B5EF4-FFF2-40B4-BE49-F238E27FC236}">
                <a16:creationId xmlns:a16="http://schemas.microsoft.com/office/drawing/2014/main" id="{E770BFE8-40F1-B80E-36AE-06CCC5FCDB2D}"/>
              </a:ext>
            </a:extLst>
          </p:cNvPr>
          <p:cNvSpPr/>
          <p:nvPr/>
        </p:nvSpPr>
        <p:spPr>
          <a:xfrm>
            <a:off x="4856096" y="3682051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백년</a:t>
            </a:r>
            <a:endParaRPr kumimoji="0" lang="en-US" altLang="ko-KR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건강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지</a:t>
            </a:r>
            <a:endParaRPr kumimoji="0" lang="en-US" altLang="ko-KR" sz="9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킴</a:t>
            </a:r>
            <a:endParaRPr lang="en-US" altLang="ko-KR" sz="9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이</a:t>
            </a:r>
          </a:p>
        </p:txBody>
      </p:sp>
      <p:cxnSp>
        <p:nvCxnSpPr>
          <p:cNvPr id="55" name="직선 화살표 연결선 54">
            <a:extLst>
              <a:ext uri="{FF2B5EF4-FFF2-40B4-BE49-F238E27FC236}">
                <a16:creationId xmlns:a16="http://schemas.microsoft.com/office/drawing/2014/main" id="{888E27E3-52F7-27E3-20B4-45ECDE3FAE3D}"/>
              </a:ext>
            </a:extLst>
          </p:cNvPr>
          <p:cNvCxnSpPr>
            <a:cxnSpLocks/>
          </p:cNvCxnSpPr>
          <p:nvPr/>
        </p:nvCxnSpPr>
        <p:spPr>
          <a:xfrm flipH="1">
            <a:off x="1606511" y="3343600"/>
            <a:ext cx="2462868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984678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en-US" altLang="ko-KR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HL</a:t>
            </a:r>
            <a:r>
              <a:rPr lang="ko-KR" altLang="en-US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그룹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304723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건설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개발부문의 경우 분양경기 둔화로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’22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년부터 적자전환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그룹은 향후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모빌리티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공장증설과 신사업 투자를 계획하고 있음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b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3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다만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PF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관련 리스크가 제한적이라는 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1200" b="1" kern="0" dirty="0" err="1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모빌리티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사업부문에서 수익성 개선 흐름을 보인다는 점을 감안하여 방향성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15" name="직선 연결선 14">
            <a:extLst>
              <a:ext uri="{FF2B5EF4-FFF2-40B4-BE49-F238E27FC236}">
                <a16:creationId xmlns:a16="http://schemas.microsoft.com/office/drawing/2014/main" id="{2DD40D91-6ED8-08FC-877E-81D1E1392B96}"/>
              </a:ext>
            </a:extLst>
          </p:cNvPr>
          <p:cNvCxnSpPr>
            <a:cxnSpLocks/>
          </p:cNvCxnSpPr>
          <p:nvPr/>
        </p:nvCxnSpPr>
        <p:spPr>
          <a:xfrm>
            <a:off x="503453" y="3531705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F55E3836-93E5-B0D9-AFE4-AD750586F93C}"/>
              </a:ext>
            </a:extLst>
          </p:cNvPr>
          <p:cNvSpPr/>
          <p:nvPr/>
        </p:nvSpPr>
        <p:spPr>
          <a:xfrm>
            <a:off x="4492421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75ECC16-695F-55FC-C371-9BE10E94650D}"/>
              </a:ext>
            </a:extLst>
          </p:cNvPr>
          <p:cNvSpPr/>
          <p:nvPr/>
        </p:nvSpPr>
        <p:spPr>
          <a:xfrm>
            <a:off x="4492421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34B3E8F3-1F44-0425-DB08-FD956E594BDE}"/>
              </a:ext>
            </a:extLst>
          </p:cNvPr>
          <p:cNvSpPr/>
          <p:nvPr/>
        </p:nvSpPr>
        <p:spPr>
          <a:xfrm>
            <a:off x="4492421" y="282692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3DDAD692-56DA-595A-EFD9-BF1662341310}"/>
              </a:ext>
            </a:extLst>
          </p:cNvPr>
          <p:cNvSpPr/>
          <p:nvPr/>
        </p:nvSpPr>
        <p:spPr>
          <a:xfrm>
            <a:off x="4492421" y="301212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E6AC6B37-E1F9-A691-5FA6-468EE231D34B}"/>
              </a:ext>
            </a:extLst>
          </p:cNvPr>
          <p:cNvSpPr/>
          <p:nvPr/>
        </p:nvSpPr>
        <p:spPr>
          <a:xfrm>
            <a:off x="4492421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B7D89D01-46F2-BA2C-26F9-51FFE5377A5C}"/>
              </a:ext>
            </a:extLst>
          </p:cNvPr>
          <p:cNvSpPr/>
          <p:nvPr/>
        </p:nvSpPr>
        <p:spPr>
          <a:xfrm>
            <a:off x="6907453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A44463E1-4865-C1D8-C7F0-8194C05A577A}"/>
              </a:ext>
            </a:extLst>
          </p:cNvPr>
          <p:cNvSpPr/>
          <p:nvPr/>
        </p:nvSpPr>
        <p:spPr>
          <a:xfrm>
            <a:off x="6907453" y="264171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86596EB9-F78A-335B-8868-FA7735BBF3E7}"/>
              </a:ext>
            </a:extLst>
          </p:cNvPr>
          <p:cNvSpPr/>
          <p:nvPr/>
        </p:nvSpPr>
        <p:spPr>
          <a:xfrm>
            <a:off x="6907453" y="282692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43C4ACAE-A318-4A0C-B27A-792874C1A45F}"/>
              </a:ext>
            </a:extLst>
          </p:cNvPr>
          <p:cNvSpPr/>
          <p:nvPr/>
        </p:nvSpPr>
        <p:spPr>
          <a:xfrm>
            <a:off x="6907453" y="301212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A5B34120-EC66-253B-C9AC-0DD546EB9799}"/>
              </a:ext>
            </a:extLst>
          </p:cNvPr>
          <p:cNvSpPr/>
          <p:nvPr/>
        </p:nvSpPr>
        <p:spPr>
          <a:xfrm>
            <a:off x="6907453" y="3197329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E18FD9F5-0A8E-12C4-9A3A-EEF879873866}"/>
              </a:ext>
            </a:extLst>
          </p:cNvPr>
          <p:cNvSpPr/>
          <p:nvPr/>
        </p:nvSpPr>
        <p:spPr>
          <a:xfrm>
            <a:off x="9322485" y="245651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CA474C33-2DEA-CD46-0BC4-EEAC8E341A5E}"/>
              </a:ext>
            </a:extLst>
          </p:cNvPr>
          <p:cNvSpPr/>
          <p:nvPr/>
        </p:nvSpPr>
        <p:spPr>
          <a:xfrm>
            <a:off x="9322485" y="264171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BD00AF75-7CF5-9290-A6BD-65A7A13AAE66}"/>
              </a:ext>
            </a:extLst>
          </p:cNvPr>
          <p:cNvSpPr/>
          <p:nvPr/>
        </p:nvSpPr>
        <p:spPr>
          <a:xfrm>
            <a:off x="9322485" y="282692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90C43D1C-81D0-8FD8-4104-B8367B8BB98D}"/>
              </a:ext>
            </a:extLst>
          </p:cNvPr>
          <p:cNvSpPr/>
          <p:nvPr/>
        </p:nvSpPr>
        <p:spPr>
          <a:xfrm>
            <a:off x="9322485" y="301212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9BAE609A-32E1-0DE9-FABA-DD0996B5946E}"/>
              </a:ext>
            </a:extLst>
          </p:cNvPr>
          <p:cNvSpPr/>
          <p:nvPr/>
        </p:nvSpPr>
        <p:spPr>
          <a:xfrm>
            <a:off x="9322485" y="319732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151D22C-52A3-B168-214B-839B5FA929E8}"/>
              </a:ext>
            </a:extLst>
          </p:cNvPr>
          <p:cNvSpPr txBox="1"/>
          <p:nvPr/>
        </p:nvSpPr>
        <p:spPr>
          <a:xfrm>
            <a:off x="2420276" y="241240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결 기준으로는 수요처가 다변화되면서 </a:t>
            </a:r>
            <a:r>
              <a:rPr lang="en-US" altLang="ko-KR" sz="900" b="1" u="sng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2</a:t>
            </a:r>
            <a:r>
              <a:rPr lang="ko-KR" altLang="en-US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</a:t>
            </a:r>
            <a:r>
              <a:rPr lang="en-US" altLang="ko-KR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평균 영업이익률이 </a:t>
            </a:r>
            <a:r>
              <a:rPr lang="en-US" altLang="ko-KR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2%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양호한 영업수익성을 보이나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국내 별도 법인은 판가 </a:t>
            </a:r>
            <a:r>
              <a:rPr lang="ko-KR" altLang="en-US" sz="900" b="1" i="0" u="sng" err="1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가력</a:t>
            </a:r>
            <a:r>
              <a:rPr lang="ko-KR" altLang="en-US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약화로 </a:t>
            </a:r>
            <a:r>
              <a:rPr lang="en-US" altLang="ko-KR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</a:t>
            </a:r>
            <a:r>
              <a:rPr lang="ko-KR" altLang="en-US" sz="900" b="1" i="0" u="sng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연속 적자</a:t>
            </a:r>
            <a:endParaRPr lang="en-US" altLang="ko-KR" sz="900" b="1" i="0" u="sng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0" u="sng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반기 고객사의 가동률이 지속해서 높아져 수익성 개선 흐름을 이어갈 것</a:t>
            </a:r>
            <a:endParaRPr lang="en-US" altLang="ko-KR" sz="900" b="1" i="0" u="sng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6719CDF-2EC6-BD22-8594-F60B63F5F877}"/>
              </a:ext>
            </a:extLst>
          </p:cNvPr>
          <p:cNvSpPr txBox="1"/>
          <p:nvPr/>
        </p:nvSpPr>
        <p:spPr>
          <a:xfrm>
            <a:off x="4789290" y="2406125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-0.5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을 하회하나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이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08.5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낮은 수준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AB32A5E-163B-CA3B-5D57-FA4488BAEC83}"/>
              </a:ext>
            </a:extLst>
          </p:cNvPr>
          <p:cNvSpPr txBox="1"/>
          <p:nvPr/>
        </p:nvSpPr>
        <p:spPr>
          <a:xfrm>
            <a:off x="7231622" y="241774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과 인도 등 지역의 연구개발에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중투자할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계획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4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현대차그룹과 북미 및 인도 공장 동반 증설로 연간 </a:t>
            </a: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에서 </a:t>
            </a: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300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수준을 유지</a:t>
            </a:r>
            <a:endParaRPr lang="en-US" altLang="ko-KR" sz="900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55" name="직선 연결선 54">
            <a:extLst>
              <a:ext uri="{FF2B5EF4-FFF2-40B4-BE49-F238E27FC236}">
                <a16:creationId xmlns:a16="http://schemas.microsoft.com/office/drawing/2014/main" id="{2D479EDB-008B-8D6C-7F6B-304106125E53}"/>
              </a:ext>
            </a:extLst>
          </p:cNvPr>
          <p:cNvCxnSpPr>
            <a:cxnSpLocks/>
          </p:cNvCxnSpPr>
          <p:nvPr/>
        </p:nvCxnSpPr>
        <p:spPr>
          <a:xfrm>
            <a:off x="503453" y="4844837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직사각형 58">
            <a:extLst>
              <a:ext uri="{FF2B5EF4-FFF2-40B4-BE49-F238E27FC236}">
                <a16:creationId xmlns:a16="http://schemas.microsoft.com/office/drawing/2014/main" id="{9771E7D3-5926-764E-53C7-BEE18D94B8BC}"/>
              </a:ext>
            </a:extLst>
          </p:cNvPr>
          <p:cNvSpPr/>
          <p:nvPr/>
        </p:nvSpPr>
        <p:spPr>
          <a:xfrm>
            <a:off x="4492421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0" name="직사각형 59">
            <a:extLst>
              <a:ext uri="{FF2B5EF4-FFF2-40B4-BE49-F238E27FC236}">
                <a16:creationId xmlns:a16="http://schemas.microsoft.com/office/drawing/2014/main" id="{185E1CE1-D058-315C-5DE3-2981B86857E4}"/>
              </a:ext>
            </a:extLst>
          </p:cNvPr>
          <p:cNvSpPr/>
          <p:nvPr/>
        </p:nvSpPr>
        <p:spPr>
          <a:xfrm>
            <a:off x="4492421" y="395485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083486F9-BCC7-01F7-A7CC-9D7558D574D2}"/>
              </a:ext>
            </a:extLst>
          </p:cNvPr>
          <p:cNvSpPr/>
          <p:nvPr/>
        </p:nvSpPr>
        <p:spPr>
          <a:xfrm>
            <a:off x="4492421" y="414005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AB3D9167-9FE1-7CF3-4B43-554B5A5159CA}"/>
              </a:ext>
            </a:extLst>
          </p:cNvPr>
          <p:cNvSpPr/>
          <p:nvPr/>
        </p:nvSpPr>
        <p:spPr>
          <a:xfrm>
            <a:off x="4492421" y="432525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63FCC9F8-06B3-8ECF-16A9-6A5D713432E5}"/>
              </a:ext>
            </a:extLst>
          </p:cNvPr>
          <p:cNvSpPr/>
          <p:nvPr/>
        </p:nvSpPr>
        <p:spPr>
          <a:xfrm>
            <a:off x="4492421" y="451046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BC5587A1-05F7-46FB-E7A9-68A2BF0F8ACE}"/>
              </a:ext>
            </a:extLst>
          </p:cNvPr>
          <p:cNvSpPr/>
          <p:nvPr/>
        </p:nvSpPr>
        <p:spPr>
          <a:xfrm>
            <a:off x="6907453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BFA320C1-5598-50D8-223C-2FF116E46C5A}"/>
              </a:ext>
            </a:extLst>
          </p:cNvPr>
          <p:cNvSpPr/>
          <p:nvPr/>
        </p:nvSpPr>
        <p:spPr>
          <a:xfrm>
            <a:off x="6907453" y="395485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1E883863-5B22-ACCD-EE69-D701D2E78DC2}"/>
              </a:ext>
            </a:extLst>
          </p:cNvPr>
          <p:cNvSpPr/>
          <p:nvPr/>
        </p:nvSpPr>
        <p:spPr>
          <a:xfrm>
            <a:off x="6907453" y="414005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F618E492-7575-4255-AE52-BF364DD2B85C}"/>
              </a:ext>
            </a:extLst>
          </p:cNvPr>
          <p:cNvSpPr/>
          <p:nvPr/>
        </p:nvSpPr>
        <p:spPr>
          <a:xfrm>
            <a:off x="6907453" y="4325257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837F6AB2-C3F9-46B7-9DF4-74A08070AA92}"/>
              </a:ext>
            </a:extLst>
          </p:cNvPr>
          <p:cNvSpPr/>
          <p:nvPr/>
        </p:nvSpPr>
        <p:spPr>
          <a:xfrm>
            <a:off x="6907453" y="451046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873E6029-A143-43EC-6CEA-884FCAF4DDC2}"/>
              </a:ext>
            </a:extLst>
          </p:cNvPr>
          <p:cNvSpPr/>
          <p:nvPr/>
        </p:nvSpPr>
        <p:spPr>
          <a:xfrm>
            <a:off x="9322485" y="376964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B0253D95-73F9-1282-1355-00C4DEF4DFAE}"/>
              </a:ext>
            </a:extLst>
          </p:cNvPr>
          <p:cNvSpPr/>
          <p:nvPr/>
        </p:nvSpPr>
        <p:spPr>
          <a:xfrm>
            <a:off x="9322485" y="395485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F48C4EB0-62B5-F927-4567-E7FF512038A1}"/>
              </a:ext>
            </a:extLst>
          </p:cNvPr>
          <p:cNvSpPr/>
          <p:nvPr/>
        </p:nvSpPr>
        <p:spPr>
          <a:xfrm>
            <a:off x="9322485" y="4140054"/>
            <a:ext cx="267855" cy="12896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AE920829-4D75-9778-B2D4-FDD846FDA839}"/>
              </a:ext>
            </a:extLst>
          </p:cNvPr>
          <p:cNvSpPr/>
          <p:nvPr/>
        </p:nvSpPr>
        <p:spPr>
          <a:xfrm>
            <a:off x="9322485" y="43252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117DD6B6-AFEC-0BBE-0E36-868413660762}"/>
              </a:ext>
            </a:extLst>
          </p:cNvPr>
          <p:cNvSpPr/>
          <p:nvPr/>
        </p:nvSpPr>
        <p:spPr>
          <a:xfrm>
            <a:off x="9322485" y="451046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A28D897-A249-E2D4-337A-9A4EF520256B}"/>
              </a:ext>
            </a:extLst>
          </p:cNvPr>
          <p:cNvSpPr txBox="1"/>
          <p:nvPr/>
        </p:nvSpPr>
        <p:spPr>
          <a:xfrm>
            <a:off x="2420276" y="37255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 분양경기 둔화 및 원가율 상승의 여파로 </a:t>
            </a:r>
            <a:r>
              <a:rPr lang="en-US" altLang="ko-KR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부터 적자전환</a:t>
            </a:r>
            <a:endParaRPr lang="en-US" altLang="ko-KR" sz="900" b="1" i="0" u="sng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만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주잔고가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8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00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에서 ’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00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증가하여 향후 원가 안정에 따라 실적회복의 가능성 有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003070D-3321-C4F5-1885-8D4F7013B57C}"/>
              </a:ext>
            </a:extLst>
          </p:cNvPr>
          <p:cNvSpPr txBox="1"/>
          <p:nvPr/>
        </p:nvSpPr>
        <p:spPr>
          <a:xfrm>
            <a:off x="4789290" y="371925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HL D&amp;I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의 </a:t>
            </a: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착공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금액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670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억원 중 절반 이상이 상반기 중 본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환 예정이어서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PF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관련 리스크는 제한적</a:t>
            </a:r>
            <a:endParaRPr lang="en-US" altLang="ko-KR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다만 부채비율이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278%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고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 </a:t>
            </a:r>
            <a: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D277791-6B3A-A4CB-EC52-871DB12FD727}"/>
              </a:ext>
            </a:extLst>
          </p:cNvPr>
          <p:cNvSpPr txBox="1"/>
          <p:nvPr/>
        </p:nvSpPr>
        <p:spPr>
          <a:xfrm>
            <a:off x="7231622" y="37308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</a:p>
        </p:txBody>
      </p:sp>
      <p:cxnSp>
        <p:nvCxnSpPr>
          <p:cNvPr id="80" name="직선 연결선 79">
            <a:extLst>
              <a:ext uri="{FF2B5EF4-FFF2-40B4-BE49-F238E27FC236}">
                <a16:creationId xmlns:a16="http://schemas.microsoft.com/office/drawing/2014/main" id="{72B6FCF0-E99E-E85F-FF5F-BB1A06FB86BF}"/>
              </a:ext>
            </a:extLst>
          </p:cNvPr>
          <p:cNvCxnSpPr>
            <a:cxnSpLocks/>
          </p:cNvCxnSpPr>
          <p:nvPr/>
        </p:nvCxnSpPr>
        <p:spPr>
          <a:xfrm>
            <a:off x="503453" y="6142952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8A94B7E0-5BC3-7B53-477E-6CB88FD79D1A}"/>
              </a:ext>
            </a:extLst>
          </p:cNvPr>
          <p:cNvSpPr/>
          <p:nvPr/>
        </p:nvSpPr>
        <p:spPr>
          <a:xfrm>
            <a:off x="4492421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DAA72D6E-2157-18F9-7E3B-30397B6161C7}"/>
              </a:ext>
            </a:extLst>
          </p:cNvPr>
          <p:cNvSpPr/>
          <p:nvPr/>
        </p:nvSpPr>
        <p:spPr>
          <a:xfrm>
            <a:off x="4492421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435E363C-3626-B326-9922-3AF99B515306}"/>
              </a:ext>
            </a:extLst>
          </p:cNvPr>
          <p:cNvSpPr/>
          <p:nvPr/>
        </p:nvSpPr>
        <p:spPr>
          <a:xfrm>
            <a:off x="4492421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37301E72-4ADB-3DBD-E4CA-75A848F26192}"/>
              </a:ext>
            </a:extLst>
          </p:cNvPr>
          <p:cNvSpPr/>
          <p:nvPr/>
        </p:nvSpPr>
        <p:spPr>
          <a:xfrm>
            <a:off x="4492421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80CF1FEF-2E01-FBC8-42C7-D508067B1B36}"/>
              </a:ext>
            </a:extLst>
          </p:cNvPr>
          <p:cNvSpPr/>
          <p:nvPr/>
        </p:nvSpPr>
        <p:spPr>
          <a:xfrm>
            <a:off x="4492421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82D19386-4756-4E42-776E-3F43CAF6DA8D}"/>
              </a:ext>
            </a:extLst>
          </p:cNvPr>
          <p:cNvSpPr/>
          <p:nvPr/>
        </p:nvSpPr>
        <p:spPr>
          <a:xfrm>
            <a:off x="6907453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C3857D81-49B3-DEDD-40ED-0FB043AD06E0}"/>
              </a:ext>
            </a:extLst>
          </p:cNvPr>
          <p:cNvSpPr/>
          <p:nvPr/>
        </p:nvSpPr>
        <p:spPr>
          <a:xfrm>
            <a:off x="6907453" y="525296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D1877C27-C55B-26F7-A943-061571099924}"/>
              </a:ext>
            </a:extLst>
          </p:cNvPr>
          <p:cNvSpPr/>
          <p:nvPr/>
        </p:nvSpPr>
        <p:spPr>
          <a:xfrm>
            <a:off x="6907453" y="543816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30B3C261-B35A-EE25-028B-EBC76CD95BB7}"/>
              </a:ext>
            </a:extLst>
          </p:cNvPr>
          <p:cNvSpPr/>
          <p:nvPr/>
        </p:nvSpPr>
        <p:spPr>
          <a:xfrm>
            <a:off x="6907453" y="562337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D22B3453-B294-DDDF-ACF1-99E9672F9417}"/>
              </a:ext>
            </a:extLst>
          </p:cNvPr>
          <p:cNvSpPr/>
          <p:nvPr/>
        </p:nvSpPr>
        <p:spPr>
          <a:xfrm>
            <a:off x="6907453" y="580857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60EE08E1-E2B4-18C0-5E06-95428D1445A9}"/>
              </a:ext>
            </a:extLst>
          </p:cNvPr>
          <p:cNvSpPr/>
          <p:nvPr/>
        </p:nvSpPr>
        <p:spPr>
          <a:xfrm>
            <a:off x="9322485" y="5067763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F5926B78-A12E-E441-8C4F-0EDD9DE1B59D}"/>
              </a:ext>
            </a:extLst>
          </p:cNvPr>
          <p:cNvSpPr/>
          <p:nvPr/>
        </p:nvSpPr>
        <p:spPr>
          <a:xfrm>
            <a:off x="9322485" y="525296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1" name="직사각형 100">
            <a:extLst>
              <a:ext uri="{FF2B5EF4-FFF2-40B4-BE49-F238E27FC236}">
                <a16:creationId xmlns:a16="http://schemas.microsoft.com/office/drawing/2014/main" id="{7846C7CA-DBEC-071A-AB98-1DC60AEC3405}"/>
              </a:ext>
            </a:extLst>
          </p:cNvPr>
          <p:cNvSpPr/>
          <p:nvPr/>
        </p:nvSpPr>
        <p:spPr>
          <a:xfrm>
            <a:off x="9322485" y="5438169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2" name="직사각형 101">
            <a:extLst>
              <a:ext uri="{FF2B5EF4-FFF2-40B4-BE49-F238E27FC236}">
                <a16:creationId xmlns:a16="http://schemas.microsoft.com/office/drawing/2014/main" id="{92A75EE8-0A51-146D-041F-69FDC4DDF043}"/>
              </a:ext>
            </a:extLst>
          </p:cNvPr>
          <p:cNvSpPr/>
          <p:nvPr/>
        </p:nvSpPr>
        <p:spPr>
          <a:xfrm>
            <a:off x="9322485" y="5623372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3" name="직사각형 102">
            <a:extLst>
              <a:ext uri="{FF2B5EF4-FFF2-40B4-BE49-F238E27FC236}">
                <a16:creationId xmlns:a16="http://schemas.microsoft.com/office/drawing/2014/main" id="{2774E31C-C4DB-FAD1-F503-772727DBF880}"/>
              </a:ext>
            </a:extLst>
          </p:cNvPr>
          <p:cNvSpPr/>
          <p:nvPr/>
        </p:nvSpPr>
        <p:spPr>
          <a:xfrm>
            <a:off x="9322485" y="580857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62F72EB-139D-2EF5-A7EC-9CEFB745B80C}"/>
              </a:ext>
            </a:extLst>
          </p:cNvPr>
          <p:cNvSpPr txBox="1"/>
          <p:nvPr/>
        </p:nvSpPr>
        <p:spPr>
          <a:xfrm>
            <a:off x="2420276" y="5023649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매출이 빠른 성장세를 보임</a:t>
            </a:r>
            <a:br>
              <a:rPr lang="en-US" altLang="ko-KR" sz="900" b="1" u="sng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337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서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66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6.2% </a:t>
            </a:r>
            <a:r>
              <a:rPr lang="ko-KR" altLang="en-US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급증</a:t>
            </a:r>
            <a:endParaRPr lang="en-US" altLang="ko-KR" sz="90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0" u="sng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율주행 시장 확장에 따라 영업실적이 </a:t>
            </a:r>
            <a:r>
              <a:rPr lang="ko-KR" altLang="en-US" sz="900" b="1" u="sng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속적으로 좋아질 것으로 전망됨</a:t>
            </a:r>
            <a:endParaRPr lang="en-US" altLang="ko-KR" sz="900" b="1" i="0" u="sng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7B32B52-7016-72F2-5C4C-336697CF4982}"/>
              </a:ext>
            </a:extLst>
          </p:cNvPr>
          <p:cNvSpPr txBox="1"/>
          <p:nvPr/>
        </p:nvSpPr>
        <p:spPr>
          <a:xfrm>
            <a:off x="4789290" y="5017372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이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차입부채를 초과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C2C823FD-AF1D-06DF-CF2D-D63B0F49D10E}"/>
              </a:ext>
            </a:extLst>
          </p:cNvPr>
          <p:cNvSpPr txBox="1"/>
          <p:nvPr/>
        </p:nvSpPr>
        <p:spPr>
          <a:xfrm>
            <a:off x="7231622" y="5028987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봇 플랫폼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 솔루션 등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에도 도전해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에는 매출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원으로 끌어올리겠다는 방침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CAPEX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투자가 많을 것으로 전망됨</a:t>
            </a:r>
            <a:endParaRPr lang="ko-KR" altLang="en-US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5EAA9A1-C52B-CA3D-7840-A9F38EBBC452}"/>
              </a:ext>
            </a:extLst>
          </p:cNvPr>
          <p:cNvSpPr txBox="1"/>
          <p:nvPr/>
        </p:nvSpPr>
        <p:spPr>
          <a:xfrm>
            <a:off x="488948" y="62025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pic>
        <p:nvPicPr>
          <p:cNvPr id="112" name="Picture 2" descr="블라인드 | HL만도 기업정보">
            <a:extLst>
              <a:ext uri="{FF2B5EF4-FFF2-40B4-BE49-F238E27FC236}">
                <a16:creationId xmlns:a16="http://schemas.microsoft.com/office/drawing/2014/main" id="{5AA7862A-BCE7-81E5-AB89-C1F007282D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48" b="39620"/>
          <a:stretch/>
        </p:blipFill>
        <p:spPr bwMode="auto">
          <a:xfrm>
            <a:off x="608202" y="2552950"/>
            <a:ext cx="1598908" cy="491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2" descr="블라인드 | HL디앤아이한라 기업정보">
            <a:extLst>
              <a:ext uri="{FF2B5EF4-FFF2-40B4-BE49-F238E27FC236}">
                <a16:creationId xmlns:a16="http://schemas.microsoft.com/office/drawing/2014/main" id="{D30421F8-54DA-6A5C-6B7F-B8397CD15B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93" b="38547"/>
          <a:stretch/>
        </p:blipFill>
        <p:spPr bwMode="auto">
          <a:xfrm>
            <a:off x="561956" y="3943770"/>
            <a:ext cx="1725985" cy="492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4" descr="주)에이치엘클레무브 2023년 기업정보 | 사원수, 회사소개, 근무환경, 복리후생 등 - 사람인">
            <a:extLst>
              <a:ext uri="{FF2B5EF4-FFF2-40B4-BE49-F238E27FC236}">
                <a16:creationId xmlns:a16="http://schemas.microsoft.com/office/drawing/2014/main" id="{F4D06ECC-ECA9-B6BB-BA17-1F5E89A71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998" y="5216709"/>
            <a:ext cx="1746415" cy="42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24353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L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694201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HL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정몽원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송파구 </a:t>
                      </a: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올림픽로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89 (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신천동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, </a:t>
                      </a:r>
                      <a:r>
                        <a:rPr lang="ko-KR" altLang="en-US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잠실시그마타워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)</a:t>
                      </a:r>
                      <a:endParaRPr lang="ko-KR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62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0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</a:t>
                      </a:r>
                      <a:r>
                        <a:rPr lang="ko-KR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8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5,048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07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2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rgbClr val="666666"/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1847A24D-396B-C7BD-4E87-89913438BA51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2D6DB594-77AE-5565-B561-D26BA3B569A3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8C3564E8-3576-6ECD-1412-627F14351D32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교육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F2E28B8-E015-B631-F425-346FBCDDB008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 D&amp;I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28558CD3-37CD-D197-9A47-7B804E1C2EFB}"/>
              </a:ext>
            </a:extLst>
          </p:cNvPr>
          <p:cNvSpPr/>
          <p:nvPr/>
        </p:nvSpPr>
        <p:spPr>
          <a:xfrm>
            <a:off x="5076000" y="2549292"/>
            <a:ext cx="1044001" cy="516161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L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625911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45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8,2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,0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4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6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6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3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68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50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8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1,04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1,47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,0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,83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1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,5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1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.A.</a:t>
                      </a:r>
                      <a:endParaRPr lang="en-US" altLang="ko-KR" sz="9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HL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9010F55E-A9FA-DD25-B9A2-50F07897F1B7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화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7" name="직사각형 56">
            <a:extLst>
              <a:ext uri="{FF2B5EF4-FFF2-40B4-BE49-F238E27FC236}">
                <a16:creationId xmlns:a16="http://schemas.microsoft.com/office/drawing/2014/main" id="{B0CA8F80-5933-E2B0-599C-FCCC93B2BDD7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 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도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1" name="직사각형 60">
            <a:extLst>
              <a:ext uri="{FF2B5EF4-FFF2-40B4-BE49-F238E27FC236}">
                <a16:creationId xmlns:a16="http://schemas.microsoft.com/office/drawing/2014/main" id="{70AFB166-3D7C-32A9-9DF2-D1ED01CB9B48}"/>
              </a:ext>
            </a:extLst>
          </p:cNvPr>
          <p:cNvSpPr/>
          <p:nvPr/>
        </p:nvSpPr>
        <p:spPr>
          <a:xfrm>
            <a:off x="6162200" y="2549291"/>
            <a:ext cx="1044001" cy="1000359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FC757732-926F-923E-C918-747F38565ED3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라대학교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55934EC4-DD2F-1348-90BD-C3BDDB7A938E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100DCF99-C913-482F-7741-A5AEB012A7F0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이제이한라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44429003-96D6-7523-6847-C8B28215B21C}"/>
              </a:ext>
            </a:extLst>
          </p:cNvPr>
          <p:cNvSpPr/>
          <p:nvPr/>
        </p:nvSpPr>
        <p:spPr>
          <a:xfrm>
            <a:off x="8328788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C67B2402-FE71-2F40-1E6F-98543141E6E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 </a:t>
            </a:r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레무브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3165998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7" name="직선 화살표 연결선 96">
            <a:extLst>
              <a:ext uri="{FF2B5EF4-FFF2-40B4-BE49-F238E27FC236}">
                <a16:creationId xmlns:a16="http://schemas.microsoft.com/office/drawing/2014/main" id="{ADE8B112-60F1-1976-F8EE-60473D62D1DF}"/>
              </a:ext>
            </a:extLst>
          </p:cNvPr>
          <p:cNvCxnSpPr>
            <a:cxnSpLocks/>
            <a:endCxn id="99" idx="1"/>
          </p:cNvCxnSpPr>
          <p:nvPr/>
        </p:nvCxnSpPr>
        <p:spPr>
          <a:xfrm>
            <a:off x="7047056" y="3800945"/>
            <a:ext cx="1079928" cy="8599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en-US" altLang="ko-KR" sz="900" b="1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L</a:t>
            </a:r>
            <a:r>
              <a:rPr lang="ko-KR" altLang="en-US" sz="900" b="1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3600" b="1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지분구조</a:t>
            </a:r>
            <a:endParaRPr lang="en-US" sz="1500" b="1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5D6656-4E26-AA53-2BE7-0D0CF33D4693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B8545306-9E47-F279-DD52-7C94FBBDE43B}"/>
              </a:ext>
            </a:extLst>
          </p:cNvPr>
          <p:cNvSpPr/>
          <p:nvPr/>
        </p:nvSpPr>
        <p:spPr>
          <a:xfrm>
            <a:off x="7844788" y="1688162"/>
            <a:ext cx="1560779" cy="1028110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8" name="모서리가 둥근 직사각형 167">
            <a:extLst>
              <a:ext uri="{FF2B5EF4-FFF2-40B4-BE49-F238E27FC236}">
                <a16:creationId xmlns:a16="http://schemas.microsoft.com/office/drawing/2014/main" id="{57644DF9-3C7D-70F4-2812-5213D9B15A10}"/>
              </a:ext>
            </a:extLst>
          </p:cNvPr>
          <p:cNvSpPr/>
          <p:nvPr/>
        </p:nvSpPr>
        <p:spPr>
          <a:xfrm>
            <a:off x="7928756" y="1925505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모서리가 둥근 직사각형 167">
            <a:extLst>
              <a:ext uri="{FF2B5EF4-FFF2-40B4-BE49-F238E27FC236}">
                <a16:creationId xmlns:a16="http://schemas.microsoft.com/office/drawing/2014/main" id="{4283C8B7-0778-CB61-68A6-8845BDC09BBD}"/>
              </a:ext>
            </a:extLst>
          </p:cNvPr>
          <p:cNvSpPr/>
          <p:nvPr/>
        </p:nvSpPr>
        <p:spPr>
          <a:xfrm>
            <a:off x="7928756" y="2180254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6D6CE6D2-615F-EFA9-9A52-C04B811DDFF7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71" name="모서리가 둥근 직사각형 167">
            <a:extLst>
              <a:ext uri="{FF2B5EF4-FFF2-40B4-BE49-F238E27FC236}">
                <a16:creationId xmlns:a16="http://schemas.microsoft.com/office/drawing/2014/main" id="{BB068272-6682-2197-0B99-003A346F288B}"/>
              </a:ext>
            </a:extLst>
          </p:cNvPr>
          <p:cNvSpPr/>
          <p:nvPr/>
        </p:nvSpPr>
        <p:spPr>
          <a:xfrm>
            <a:off x="7928756" y="2440632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3" name="모서리가 둥근 직사각형 167">
            <a:extLst>
              <a:ext uri="{FF2B5EF4-FFF2-40B4-BE49-F238E27FC236}">
                <a16:creationId xmlns:a16="http://schemas.microsoft.com/office/drawing/2014/main" id="{38355B5D-544D-A9BA-4387-767059EEB550}"/>
              </a:ext>
            </a:extLst>
          </p:cNvPr>
          <p:cNvSpPr/>
          <p:nvPr/>
        </p:nvSpPr>
        <p:spPr>
          <a:xfrm>
            <a:off x="8293213" y="1924747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5" name="모서리가 둥근 직사각형 167">
            <a:extLst>
              <a:ext uri="{FF2B5EF4-FFF2-40B4-BE49-F238E27FC236}">
                <a16:creationId xmlns:a16="http://schemas.microsoft.com/office/drawing/2014/main" id="{CC117464-3238-CADD-00D6-2FDE265CB0AA}"/>
              </a:ext>
            </a:extLst>
          </p:cNvPr>
          <p:cNvSpPr/>
          <p:nvPr/>
        </p:nvSpPr>
        <p:spPr>
          <a:xfrm>
            <a:off x="8293212" y="2176081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6" name="모서리가 둥근 직사각형 167">
            <a:extLst>
              <a:ext uri="{FF2B5EF4-FFF2-40B4-BE49-F238E27FC236}">
                <a16:creationId xmlns:a16="http://schemas.microsoft.com/office/drawing/2014/main" id="{8182AD40-CA40-72E1-A1C0-93CB63C04B5B}"/>
              </a:ext>
            </a:extLst>
          </p:cNvPr>
          <p:cNvSpPr/>
          <p:nvPr/>
        </p:nvSpPr>
        <p:spPr>
          <a:xfrm>
            <a:off x="8293213" y="2436435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4" name="직선 화살표 연결선 63">
            <a:extLst>
              <a:ext uri="{FF2B5EF4-FFF2-40B4-BE49-F238E27FC236}">
                <a16:creationId xmlns:a16="http://schemas.microsoft.com/office/drawing/2014/main" id="{6B83D00C-15CC-D8AB-87C8-EDB042A6556A}"/>
              </a:ext>
            </a:extLst>
          </p:cNvPr>
          <p:cNvCxnSpPr>
            <a:cxnSpLocks/>
          </p:cNvCxnSpPr>
          <p:nvPr/>
        </p:nvCxnSpPr>
        <p:spPr>
          <a:xfrm>
            <a:off x="2511862" y="3119223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모서리가 둥근 직사각형 167">
            <a:extLst>
              <a:ext uri="{FF2B5EF4-FFF2-40B4-BE49-F238E27FC236}">
                <a16:creationId xmlns:a16="http://schemas.microsoft.com/office/drawing/2014/main" id="{B2D56F2A-B9D4-844E-3018-2E579D2E38CF}"/>
              </a:ext>
            </a:extLst>
          </p:cNvPr>
          <p:cNvSpPr/>
          <p:nvPr/>
        </p:nvSpPr>
        <p:spPr>
          <a:xfrm>
            <a:off x="4156399" y="2564764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라홀딩스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6" name="직선 화살표 연결선 65">
            <a:extLst>
              <a:ext uri="{FF2B5EF4-FFF2-40B4-BE49-F238E27FC236}">
                <a16:creationId xmlns:a16="http://schemas.microsoft.com/office/drawing/2014/main" id="{7A5D22A5-5B13-021E-FA7B-1189414C52B6}"/>
              </a:ext>
            </a:extLst>
          </p:cNvPr>
          <p:cNvCxnSpPr>
            <a:cxnSpLocks/>
          </p:cNvCxnSpPr>
          <p:nvPr/>
        </p:nvCxnSpPr>
        <p:spPr>
          <a:xfrm flipH="1">
            <a:off x="1178332" y="3119223"/>
            <a:ext cx="5626535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화살표 연결선 76">
            <a:extLst>
              <a:ext uri="{FF2B5EF4-FFF2-40B4-BE49-F238E27FC236}">
                <a16:creationId xmlns:a16="http://schemas.microsoft.com/office/drawing/2014/main" id="{586898F0-5B17-25E0-D1B9-F2EC0A594B63}"/>
              </a:ext>
            </a:extLst>
          </p:cNvPr>
          <p:cNvCxnSpPr>
            <a:cxnSpLocks/>
          </p:cNvCxnSpPr>
          <p:nvPr/>
        </p:nvCxnSpPr>
        <p:spPr>
          <a:xfrm>
            <a:off x="3887166" y="3119223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직선 화살표 연결선 77">
            <a:extLst>
              <a:ext uri="{FF2B5EF4-FFF2-40B4-BE49-F238E27FC236}">
                <a16:creationId xmlns:a16="http://schemas.microsoft.com/office/drawing/2014/main" id="{07BC5810-21AF-5A1E-AE4B-E8A081E3CAB7}"/>
              </a:ext>
            </a:extLst>
          </p:cNvPr>
          <p:cNvCxnSpPr>
            <a:cxnSpLocks/>
          </p:cNvCxnSpPr>
          <p:nvPr/>
        </p:nvCxnSpPr>
        <p:spPr>
          <a:xfrm>
            <a:off x="1178332" y="3119223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타원 78">
            <a:extLst>
              <a:ext uri="{FF2B5EF4-FFF2-40B4-BE49-F238E27FC236}">
                <a16:creationId xmlns:a16="http://schemas.microsoft.com/office/drawing/2014/main" id="{1BBCFE8D-BC78-2701-1DEC-F93C40684FBC}"/>
              </a:ext>
            </a:extLst>
          </p:cNvPr>
          <p:cNvSpPr/>
          <p:nvPr/>
        </p:nvSpPr>
        <p:spPr>
          <a:xfrm>
            <a:off x="891900" y="327325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0" name="타원 79">
            <a:extLst>
              <a:ext uri="{FF2B5EF4-FFF2-40B4-BE49-F238E27FC236}">
                <a16:creationId xmlns:a16="http://schemas.microsoft.com/office/drawing/2014/main" id="{E9F913E1-F18B-D393-3443-2013FBACB4E4}"/>
              </a:ext>
            </a:extLst>
          </p:cNvPr>
          <p:cNvSpPr/>
          <p:nvPr/>
        </p:nvSpPr>
        <p:spPr>
          <a:xfrm>
            <a:off x="2221315" y="3273251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1" name="타원 80">
            <a:extLst>
              <a:ext uri="{FF2B5EF4-FFF2-40B4-BE49-F238E27FC236}">
                <a16:creationId xmlns:a16="http://schemas.microsoft.com/office/drawing/2014/main" id="{C9D50EAF-87D6-3DB0-BB75-8AC3F4B9FBCC}"/>
              </a:ext>
            </a:extLst>
          </p:cNvPr>
          <p:cNvSpPr/>
          <p:nvPr/>
        </p:nvSpPr>
        <p:spPr>
          <a:xfrm>
            <a:off x="3592504" y="3271159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0.1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2" name="모서리가 둥근 직사각형 167">
            <a:extLst>
              <a:ext uri="{FF2B5EF4-FFF2-40B4-BE49-F238E27FC236}">
                <a16:creationId xmlns:a16="http://schemas.microsoft.com/office/drawing/2014/main" id="{9BD1ACB3-3D7D-311C-29A2-75A13CFC9F97}"/>
              </a:ext>
            </a:extLst>
          </p:cNvPr>
          <p:cNvSpPr/>
          <p:nvPr/>
        </p:nvSpPr>
        <p:spPr>
          <a:xfrm>
            <a:off x="3383166" y="3629814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츠운용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3" name="모서리가 둥근 직사각형 167">
            <a:extLst>
              <a:ext uri="{FF2B5EF4-FFF2-40B4-BE49-F238E27FC236}">
                <a16:creationId xmlns:a16="http://schemas.microsoft.com/office/drawing/2014/main" id="{27F2D78D-A93D-4ECD-9536-EAA0F9BDCC3C}"/>
              </a:ext>
            </a:extLst>
          </p:cNvPr>
          <p:cNvSpPr/>
          <p:nvPr/>
        </p:nvSpPr>
        <p:spPr>
          <a:xfrm>
            <a:off x="674332" y="3629544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위코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4" name="모서리가 둥근 직사각형 167">
            <a:extLst>
              <a:ext uri="{FF2B5EF4-FFF2-40B4-BE49-F238E27FC236}">
                <a16:creationId xmlns:a16="http://schemas.microsoft.com/office/drawing/2014/main" id="{1B84B993-5E72-1052-A50E-C05B65171F09}"/>
              </a:ext>
            </a:extLst>
          </p:cNvPr>
          <p:cNvSpPr/>
          <p:nvPr/>
        </p:nvSpPr>
        <p:spPr>
          <a:xfrm>
            <a:off x="2007862" y="3629814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이제이한라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5" name="직선 화살표 연결선 84">
            <a:extLst>
              <a:ext uri="{FF2B5EF4-FFF2-40B4-BE49-F238E27FC236}">
                <a16:creationId xmlns:a16="http://schemas.microsoft.com/office/drawing/2014/main" id="{DA5413ED-0E76-4C89-6444-DF889DE89F70}"/>
              </a:ext>
            </a:extLst>
          </p:cNvPr>
          <p:cNvCxnSpPr>
            <a:cxnSpLocks/>
          </p:cNvCxnSpPr>
          <p:nvPr/>
        </p:nvCxnSpPr>
        <p:spPr>
          <a:xfrm>
            <a:off x="5363338" y="3119361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타원 85">
            <a:extLst>
              <a:ext uri="{FF2B5EF4-FFF2-40B4-BE49-F238E27FC236}">
                <a16:creationId xmlns:a16="http://schemas.microsoft.com/office/drawing/2014/main" id="{BACD64B2-FADA-9026-05DB-3B54D8E6AD24}"/>
              </a:ext>
            </a:extLst>
          </p:cNvPr>
          <p:cNvSpPr/>
          <p:nvPr/>
        </p:nvSpPr>
        <p:spPr>
          <a:xfrm>
            <a:off x="5068676" y="327129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6.3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0" name="직선 화살표 연결선 89">
            <a:extLst>
              <a:ext uri="{FF2B5EF4-FFF2-40B4-BE49-F238E27FC236}">
                <a16:creationId xmlns:a16="http://schemas.microsoft.com/office/drawing/2014/main" id="{9B1A394A-7EFA-95A3-48BD-69BF29E9437C}"/>
              </a:ext>
            </a:extLst>
          </p:cNvPr>
          <p:cNvCxnSpPr>
            <a:cxnSpLocks/>
          </p:cNvCxnSpPr>
          <p:nvPr/>
        </p:nvCxnSpPr>
        <p:spPr>
          <a:xfrm>
            <a:off x="6804867" y="3119361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타원 93">
            <a:extLst>
              <a:ext uri="{FF2B5EF4-FFF2-40B4-BE49-F238E27FC236}">
                <a16:creationId xmlns:a16="http://schemas.microsoft.com/office/drawing/2014/main" id="{7E4FB347-F159-1270-1B25-41800238F0BB}"/>
              </a:ext>
            </a:extLst>
          </p:cNvPr>
          <p:cNvSpPr/>
          <p:nvPr/>
        </p:nvSpPr>
        <p:spPr>
          <a:xfrm>
            <a:off x="6510205" y="327129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.3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8" name="타원 97">
            <a:extLst>
              <a:ext uri="{FF2B5EF4-FFF2-40B4-BE49-F238E27FC236}">
                <a16:creationId xmlns:a16="http://schemas.microsoft.com/office/drawing/2014/main" id="{3E10619F-6CCE-C6DF-D174-1595E14B8714}"/>
              </a:ext>
            </a:extLst>
          </p:cNvPr>
          <p:cNvSpPr/>
          <p:nvPr/>
        </p:nvSpPr>
        <p:spPr>
          <a:xfrm>
            <a:off x="7381445" y="371954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A24B57C9-81C1-BF12-CCF3-C95D9F9217E9}"/>
              </a:ext>
            </a:extLst>
          </p:cNvPr>
          <p:cNvSpPr/>
          <p:nvPr/>
        </p:nvSpPr>
        <p:spPr>
          <a:xfrm>
            <a:off x="8126984" y="3629544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레무브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00" name="직선 화살표 연결선 99">
            <a:extLst>
              <a:ext uri="{FF2B5EF4-FFF2-40B4-BE49-F238E27FC236}">
                <a16:creationId xmlns:a16="http://schemas.microsoft.com/office/drawing/2014/main" id="{350D2ECC-84F0-F029-70AA-3F685197F3EC}"/>
              </a:ext>
            </a:extLst>
          </p:cNvPr>
          <p:cNvCxnSpPr>
            <a:cxnSpLocks/>
          </p:cNvCxnSpPr>
          <p:nvPr/>
        </p:nvCxnSpPr>
        <p:spPr>
          <a:xfrm>
            <a:off x="4660399" y="2916785"/>
            <a:ext cx="0" cy="202168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직선 화살표 연결선 104">
            <a:extLst>
              <a:ext uri="{FF2B5EF4-FFF2-40B4-BE49-F238E27FC236}">
                <a16:creationId xmlns:a16="http://schemas.microsoft.com/office/drawing/2014/main" id="{A6B880DA-38FA-6441-A908-08B7AF2FAF56}"/>
              </a:ext>
            </a:extLst>
          </p:cNvPr>
          <p:cNvCxnSpPr>
            <a:cxnSpLocks/>
            <a:endCxn id="107" idx="1"/>
          </p:cNvCxnSpPr>
          <p:nvPr/>
        </p:nvCxnSpPr>
        <p:spPr>
          <a:xfrm>
            <a:off x="7216140" y="3933287"/>
            <a:ext cx="910248" cy="448247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타원 105">
            <a:extLst>
              <a:ext uri="{FF2B5EF4-FFF2-40B4-BE49-F238E27FC236}">
                <a16:creationId xmlns:a16="http://schemas.microsoft.com/office/drawing/2014/main" id="{843CBB92-C4D5-14F8-DE2A-3CCA031DC93F}"/>
              </a:ext>
            </a:extLst>
          </p:cNvPr>
          <p:cNvSpPr/>
          <p:nvPr/>
        </p:nvSpPr>
        <p:spPr>
          <a:xfrm>
            <a:off x="7365264" y="4070537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7" name="모서리가 둥근 직사각형 167">
            <a:extLst>
              <a:ext uri="{FF2B5EF4-FFF2-40B4-BE49-F238E27FC236}">
                <a16:creationId xmlns:a16="http://schemas.microsoft.com/office/drawing/2014/main" id="{9B4E5B3B-A6F6-F80C-F45E-8BDFA4055BE8}"/>
              </a:ext>
            </a:extLst>
          </p:cNvPr>
          <p:cNvSpPr/>
          <p:nvPr/>
        </p:nvSpPr>
        <p:spPr>
          <a:xfrm>
            <a:off x="8126388" y="4201534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도브로제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5" name="모서리가 둥근 직사각형 167">
            <a:extLst>
              <a:ext uri="{FF2B5EF4-FFF2-40B4-BE49-F238E27FC236}">
                <a16:creationId xmlns:a16="http://schemas.microsoft.com/office/drawing/2014/main" id="{4C85C131-6794-4164-7069-94EB487BF41A}"/>
              </a:ext>
            </a:extLst>
          </p:cNvPr>
          <p:cNvSpPr/>
          <p:nvPr/>
        </p:nvSpPr>
        <p:spPr>
          <a:xfrm>
            <a:off x="6300867" y="3629952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도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09" name="직선 화살표 연결선 108">
            <a:extLst>
              <a:ext uri="{FF2B5EF4-FFF2-40B4-BE49-F238E27FC236}">
                <a16:creationId xmlns:a16="http://schemas.microsoft.com/office/drawing/2014/main" id="{EBAF007C-6F15-755E-E604-84131B87E9FE}"/>
              </a:ext>
            </a:extLst>
          </p:cNvPr>
          <p:cNvCxnSpPr>
            <a:cxnSpLocks/>
            <a:endCxn id="113" idx="0"/>
          </p:cNvCxnSpPr>
          <p:nvPr/>
        </p:nvCxnSpPr>
        <p:spPr>
          <a:xfrm>
            <a:off x="5432009" y="3809544"/>
            <a:ext cx="0" cy="691136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직선 화살표 연결선 109">
            <a:extLst>
              <a:ext uri="{FF2B5EF4-FFF2-40B4-BE49-F238E27FC236}">
                <a16:creationId xmlns:a16="http://schemas.microsoft.com/office/drawing/2014/main" id="{155F890B-0A20-8C76-F739-10EFEE36AF6D}"/>
              </a:ext>
            </a:extLst>
          </p:cNvPr>
          <p:cNvCxnSpPr>
            <a:cxnSpLocks/>
            <a:endCxn id="114" idx="0"/>
          </p:cNvCxnSpPr>
          <p:nvPr/>
        </p:nvCxnSpPr>
        <p:spPr>
          <a:xfrm>
            <a:off x="6022434" y="4156601"/>
            <a:ext cx="0" cy="344079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타원 110">
            <a:extLst>
              <a:ext uri="{FF2B5EF4-FFF2-40B4-BE49-F238E27FC236}">
                <a16:creationId xmlns:a16="http://schemas.microsoft.com/office/drawing/2014/main" id="{7219A107-4AFF-3D7C-E58D-0B61B985D203}"/>
              </a:ext>
            </a:extLst>
          </p:cNvPr>
          <p:cNvSpPr/>
          <p:nvPr/>
        </p:nvSpPr>
        <p:spPr>
          <a:xfrm>
            <a:off x="5159573" y="426020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2" name="타원 111">
            <a:extLst>
              <a:ext uri="{FF2B5EF4-FFF2-40B4-BE49-F238E27FC236}">
                <a16:creationId xmlns:a16="http://schemas.microsoft.com/office/drawing/2014/main" id="{4E767E58-B808-E3FA-90F3-1FA7A5401F79}"/>
              </a:ext>
            </a:extLst>
          </p:cNvPr>
          <p:cNvSpPr/>
          <p:nvPr/>
        </p:nvSpPr>
        <p:spPr>
          <a:xfrm>
            <a:off x="5746947" y="426670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5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13" name="모서리가 둥근 직사각형 167">
            <a:extLst>
              <a:ext uri="{FF2B5EF4-FFF2-40B4-BE49-F238E27FC236}">
                <a16:creationId xmlns:a16="http://schemas.microsoft.com/office/drawing/2014/main" id="{20DE692D-CF36-6F19-A695-C6438E9EF9BE}"/>
              </a:ext>
            </a:extLst>
          </p:cNvPr>
          <p:cNvSpPr/>
          <p:nvPr/>
        </p:nvSpPr>
        <p:spPr>
          <a:xfrm>
            <a:off x="5246072" y="450068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L</a:t>
            </a:r>
            <a:br>
              <a:rPr lang="en-US" altLang="ko-KR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로지스앤코</a:t>
            </a:r>
            <a:endParaRPr kumimoji="0" lang="ko-KR" altLang="en-US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114" name="모서리가 둥근 직사각형 167">
            <a:extLst>
              <a:ext uri="{FF2B5EF4-FFF2-40B4-BE49-F238E27FC236}">
                <a16:creationId xmlns:a16="http://schemas.microsoft.com/office/drawing/2014/main" id="{F41A3EDB-92F5-9E59-DB7A-D43965C76C0D}"/>
              </a:ext>
            </a:extLst>
          </p:cNvPr>
          <p:cNvSpPr/>
          <p:nvPr/>
        </p:nvSpPr>
        <p:spPr>
          <a:xfrm>
            <a:off x="5836497" y="450068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배곧</a:t>
            </a:r>
            <a:br>
              <a:rPr kumimoji="0" lang="en-US" altLang="ko-KR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도시지역</a:t>
            </a:r>
            <a:br>
              <a:rPr kumimoji="0" lang="en-US" altLang="ko-KR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특성화타운</a:t>
            </a:r>
            <a:endParaRPr kumimoji="0" lang="ko-KR" altLang="en-US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15" name="직선 화살표 연결선 114">
            <a:extLst>
              <a:ext uri="{FF2B5EF4-FFF2-40B4-BE49-F238E27FC236}">
                <a16:creationId xmlns:a16="http://schemas.microsoft.com/office/drawing/2014/main" id="{58ECF5D3-BBCB-F591-9529-8692E2B9A21B}"/>
              </a:ext>
            </a:extLst>
          </p:cNvPr>
          <p:cNvCxnSpPr>
            <a:cxnSpLocks/>
          </p:cNvCxnSpPr>
          <p:nvPr/>
        </p:nvCxnSpPr>
        <p:spPr>
          <a:xfrm flipH="1">
            <a:off x="4251157" y="4156515"/>
            <a:ext cx="1771277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직선 화살표 연결선 115">
            <a:extLst>
              <a:ext uri="{FF2B5EF4-FFF2-40B4-BE49-F238E27FC236}">
                <a16:creationId xmlns:a16="http://schemas.microsoft.com/office/drawing/2014/main" id="{7180BE9B-6128-1F53-C6EC-FC96C41A3244}"/>
              </a:ext>
            </a:extLst>
          </p:cNvPr>
          <p:cNvCxnSpPr>
            <a:cxnSpLocks/>
            <a:endCxn id="130" idx="0"/>
          </p:cNvCxnSpPr>
          <p:nvPr/>
        </p:nvCxnSpPr>
        <p:spPr>
          <a:xfrm flipH="1">
            <a:off x="4841583" y="4156601"/>
            <a:ext cx="4753" cy="344079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모서리가 둥근 직사각형 167">
            <a:extLst>
              <a:ext uri="{FF2B5EF4-FFF2-40B4-BE49-F238E27FC236}">
                <a16:creationId xmlns:a16="http://schemas.microsoft.com/office/drawing/2014/main" id="{75703C4E-35C0-DDCD-40D6-586BFA2DF99D}"/>
              </a:ext>
            </a:extLst>
          </p:cNvPr>
          <p:cNvSpPr/>
          <p:nvPr/>
        </p:nvSpPr>
        <p:spPr>
          <a:xfrm>
            <a:off x="4655646" y="450068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HL</a:t>
            </a:r>
            <a:br>
              <a:rPr kumimoji="0" lang="en-US" altLang="ko-KR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에코텍</a:t>
            </a:r>
            <a:endParaRPr kumimoji="0" lang="ko-KR" altLang="en-US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cxnSp>
        <p:nvCxnSpPr>
          <p:cNvPr id="131" name="직선 화살표 연결선 130">
            <a:extLst>
              <a:ext uri="{FF2B5EF4-FFF2-40B4-BE49-F238E27FC236}">
                <a16:creationId xmlns:a16="http://schemas.microsoft.com/office/drawing/2014/main" id="{AEE4208B-A430-8D79-AEDE-AC08E8ED8874}"/>
              </a:ext>
            </a:extLst>
          </p:cNvPr>
          <p:cNvCxnSpPr>
            <a:cxnSpLocks/>
            <a:endCxn id="132" idx="0"/>
          </p:cNvCxnSpPr>
          <p:nvPr/>
        </p:nvCxnSpPr>
        <p:spPr>
          <a:xfrm>
            <a:off x="4251157" y="4156601"/>
            <a:ext cx="0" cy="344079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모서리가 둥근 직사각형 167">
            <a:extLst>
              <a:ext uri="{FF2B5EF4-FFF2-40B4-BE49-F238E27FC236}">
                <a16:creationId xmlns:a16="http://schemas.microsoft.com/office/drawing/2014/main" id="{F4D66856-315E-1BD1-FE73-936997046DF8}"/>
              </a:ext>
            </a:extLst>
          </p:cNvPr>
          <p:cNvSpPr/>
          <p:nvPr/>
        </p:nvSpPr>
        <p:spPr>
          <a:xfrm>
            <a:off x="4065220" y="450068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목포</a:t>
            </a:r>
            <a:br>
              <a:rPr kumimoji="0" lang="en-US" altLang="ko-KR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</a:b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신항만운영</a:t>
            </a:r>
          </a:p>
        </p:txBody>
      </p:sp>
      <p:sp>
        <p:nvSpPr>
          <p:cNvPr id="88" name="모서리가 둥근 직사각형 167">
            <a:extLst>
              <a:ext uri="{FF2B5EF4-FFF2-40B4-BE49-F238E27FC236}">
                <a16:creationId xmlns:a16="http://schemas.microsoft.com/office/drawing/2014/main" id="{1C3E80EB-2851-5642-B1AB-7A90844172FD}"/>
              </a:ext>
            </a:extLst>
          </p:cNvPr>
          <p:cNvSpPr/>
          <p:nvPr/>
        </p:nvSpPr>
        <p:spPr>
          <a:xfrm>
            <a:off x="4859338" y="3629952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 D&amp;I </a:t>
            </a:r>
            <a:r>
              <a:rPr lang="ko-KR" altLang="en-US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한라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7" name="타원 136">
            <a:extLst>
              <a:ext uri="{FF2B5EF4-FFF2-40B4-BE49-F238E27FC236}">
                <a16:creationId xmlns:a16="http://schemas.microsoft.com/office/drawing/2014/main" id="{6D09CF11-8448-A190-7E7F-1B086BFBD964}"/>
              </a:ext>
            </a:extLst>
          </p:cNvPr>
          <p:cNvSpPr/>
          <p:nvPr/>
        </p:nvSpPr>
        <p:spPr>
          <a:xfrm>
            <a:off x="4550159" y="426020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38" name="타원 137">
            <a:extLst>
              <a:ext uri="{FF2B5EF4-FFF2-40B4-BE49-F238E27FC236}">
                <a16:creationId xmlns:a16="http://schemas.microsoft.com/office/drawing/2014/main" id="{0ACCA69E-DC4E-99D4-348E-330783797F23}"/>
              </a:ext>
            </a:extLst>
          </p:cNvPr>
          <p:cNvSpPr/>
          <p:nvPr/>
        </p:nvSpPr>
        <p:spPr>
          <a:xfrm>
            <a:off x="3993149" y="426670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4426115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엘만도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동차부품 생산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찌감치 해외 공급망을 구축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고 현대차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아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외에도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GM, 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폭스바겐 등 글로벌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OEM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들의 비중 高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연결 기준으로 수요처가 다변화되면서 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2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평균 영업이익률이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2%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양호한 영업수익성을 보이나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국내 별도 법인은 판가 </a:t>
            </a:r>
            <a:r>
              <a:rPr lang="ko-KR" altLang="en-US" sz="900" b="1" i="0" err="1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가력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약화로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연속 적자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에 주요 고객사인 현대자동차와 기아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글로벌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V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업체의 판매량이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전보다 증가해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매출 상승 변수로 작용</a:t>
            </a:r>
            <a:b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반기에도 고객사의 가동률이 지속해서 높아져 수익성 개선 흐름을 이어갈 것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&amp;D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가 많이 투입됐던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IDB(Integrated Dynamic Brake)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품이 현대차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아의 중대형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UV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전기차에 공급될 예정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국과 인도 등 지역의 연구개발에 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중투자할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계획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판교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R&amp;D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센터를 중심으로 중국 소주와 인도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첸나이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·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뱅갈로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자율주행 부품 생산기지와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R&amp;D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센터를 이끈다는 목표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는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4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현대차그룹과 북미 및 인도 공장 동반 증설로 연간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에서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300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수준을 유지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엘만도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0861700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6828652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2118044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9218" name="Picture 2" descr="블라인드 | HL만도 기업정보">
            <a:extLst>
              <a:ext uri="{FF2B5EF4-FFF2-40B4-BE49-F238E27FC236}">
                <a16:creationId xmlns:a16="http://schemas.microsoft.com/office/drawing/2014/main" id="{BAD8D664-D9F0-7690-CE6A-E6D7BD0B4B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48" b="39620"/>
          <a:stretch/>
        </p:blipFill>
        <p:spPr bwMode="auto">
          <a:xfrm>
            <a:off x="530331" y="2257779"/>
            <a:ext cx="1598908" cy="491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021946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엘디앤아이한라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종합건설업체로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에 매출액이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5%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했지만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 분양경기 둔화 및 원가율 상승의 여파로 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이익은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6.5% 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감소</a:t>
            </a:r>
            <a:endParaRPr lang="en-US" altLang="ko-KR" sz="900" b="1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 분양경기 둔화 및 원가율 상승의 여파는 지속되겠지만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체 사업을 통한 실적 방어는 강점으로 작용할 전망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수주잔고가 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8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00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에서 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000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증가</a:t>
            </a:r>
            <a:r>
              <a:rPr lang="ko-KR" altLang="en-US" sz="900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여 향후 실적회복의 가능성이 있음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프로젝트파이낸싱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PF)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우발채무 등 위험도 크지 않다는 평가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 D&amp;I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</a:t>
            </a:r>
            <a:r>
              <a:rPr lang="ko-KR" altLang="en-US" sz="900" err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착공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액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670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중 절반 이상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950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 상반기 중 본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환 예정이어서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 리스크는 제한적</a:t>
            </a:r>
            <a:endParaRPr lang="en-US" altLang="ko-KR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564866" y="1707464"/>
            <a:ext cx="1370715" cy="245055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엘디앤아이한라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8089421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8781935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8229897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1266" name="Picture 2" descr="블라인드 | HL디앤아이한라 기업정보">
            <a:extLst>
              <a:ext uri="{FF2B5EF4-FFF2-40B4-BE49-F238E27FC236}">
                <a16:creationId xmlns:a16="http://schemas.microsoft.com/office/drawing/2014/main" id="{798FB69D-2490-C60C-BE3A-FE4183FE80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93" b="38547"/>
          <a:stretch/>
        </p:blipFill>
        <p:spPr bwMode="auto">
          <a:xfrm>
            <a:off x="561745" y="2334576"/>
            <a:ext cx="1472083" cy="42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704221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 err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엘클레무브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900" b="0" i="0" err="1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도가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보유한 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율주행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전문 자회사</a:t>
            </a:r>
            <a:endParaRPr lang="en-US" altLang="ko-KR" sz="900" b="1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DAS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인식 관련 부품과 브레이크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티어링 등의 </a:t>
            </a:r>
            <a:r>
              <a:rPr lang="ko-KR" altLang="en-US" sz="900" b="0" i="0" err="1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단∙제어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관련 핵심 부품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ECU)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 설계∙ 생산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에만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수주</a:t>
            </a:r>
            <a:r>
              <a:rPr lang="en-US" altLang="ko-KR" sz="9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매출은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1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337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서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2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661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324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86.2%) </a:t>
            </a: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L</a:t>
            </a:r>
            <a:r>
              <a:rPr lang="ko-KR" altLang="en-US" sz="900" b="1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레무브는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역별 거점을 활용해 현지 맞춤형 자율주행 솔루션을 제공할 계획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해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완공되는 멕시코 생산 법인은 최대 고객사인 현대차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아의 북미 현지화를 지원하고 북미 지역 신규 고객사 확보에 집중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6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까지 연평균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5%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성장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을 거두겠다는 목표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&amp; 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봇 플랫폼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데이터 솔루션 등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에도 도전해 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에는 매출을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원으로 끌어올리겠다는 방침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 CAPEX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투자 多</a:t>
            </a:r>
            <a:endParaRPr lang="ko-KR" altLang="en-US" sz="900" b="1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66235" y="1707465"/>
            <a:ext cx="1193430" cy="213360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이치엘클레무브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9485725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8283950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4456841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2292" name="Picture 4" descr="주)에이치엘클레무브 2023년 기업정보 | 사원수, 회사소개, 근무환경, 복리후생 등 - 사람인">
            <a:extLst>
              <a:ext uri="{FF2B5EF4-FFF2-40B4-BE49-F238E27FC236}">
                <a16:creationId xmlns:a16="http://schemas.microsoft.com/office/drawing/2014/main" id="{4CA14B16-46CC-3744-3992-67113C9C7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5" y="2341360"/>
            <a:ext cx="1509900" cy="369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509246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77" y="2504374"/>
            <a:ext cx="5602916" cy="3379189"/>
          </a:xfrm>
        </p:spPr>
        <p:txBody>
          <a:bodyPr/>
          <a:lstStyle/>
          <a:p>
            <a:r>
              <a:rPr lang="ko-KR" altLang="en-US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태영그룹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9313615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488950" y="2018488"/>
            <a:ext cx="1871999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2420276" y="2018488"/>
            <a:ext cx="2340000" cy="216000"/>
          </a:xfrm>
          <a:prstGeom prst="rect">
            <a:avLst/>
          </a:prstGeom>
          <a:solidFill>
            <a:srgbClr val="2272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재무실적 추이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4835308" y="2018488"/>
            <a:ext cx="2340000" cy="216000"/>
          </a:xfrm>
          <a:prstGeom prst="rect">
            <a:avLst/>
          </a:prstGeom>
          <a:solidFill>
            <a:srgbClr val="00C0A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7250340" y="2018488"/>
            <a:ext cx="2340000" cy="216000"/>
          </a:xfrm>
          <a:prstGeom prst="rect">
            <a:avLst/>
          </a:prstGeom>
          <a:solidFill>
            <a:srgbClr val="7213E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</a:t>
            </a: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예상액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4" name="왼쪽 대괄호 103">
            <a:extLst>
              <a:ext uri="{FF2B5EF4-FFF2-40B4-BE49-F238E27FC236}">
                <a16:creationId xmlns:a16="http://schemas.microsoft.com/office/drawing/2014/main" id="{9BA191F7-F96A-E665-0DBF-8BA4246E6402}"/>
              </a:ext>
            </a:extLst>
          </p:cNvPr>
          <p:cNvSpPr/>
          <p:nvPr/>
        </p:nvSpPr>
        <p:spPr>
          <a:xfrm>
            <a:off x="-3657731" y="3453347"/>
            <a:ext cx="142173" cy="4280292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5C48764E-C38A-1F94-8707-248F849582C6}"/>
              </a:ext>
            </a:extLst>
          </p:cNvPr>
          <p:cNvSpPr txBox="1"/>
          <p:nvPr/>
        </p:nvSpPr>
        <p:spPr>
          <a:xfrm>
            <a:off x="488950" y="1269270"/>
            <a:ext cx="9101390" cy="652140"/>
          </a:xfrm>
          <a:prstGeom prst="rect">
            <a:avLst/>
          </a:prstGeom>
          <a:solidFill>
            <a:srgbClr val="E5F4FB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유동성 확보 </a:t>
            </a:r>
            <a:r>
              <a:rPr lang="en-US" altLang="ko-KR" sz="1400" b="1" kern="0" dirty="0">
                <a:solidFill>
                  <a:srgbClr val="1E49E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Needs</a:t>
            </a:r>
            <a:br>
              <a:rPr lang="en-US" altLang="ko-KR" sz="11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</a:b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판단 근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: 1.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태영건설의 과중한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PF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보증 규모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(2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조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6,299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억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),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.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 다만 침체된 분양경기 속에서도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’23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년 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2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분기의 실적이 양호한 점</a:t>
            </a:r>
            <a:r>
              <a:rPr lang="en-US" altLang="ko-KR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, SBS </a:t>
            </a:r>
            <a:r>
              <a:rPr lang="ko-KR" altLang="en-US" sz="1200" b="1" kern="0" dirty="0">
                <a:latin typeface="KoPub돋움체 Bold" panose="00000800000000000000" pitchFamily="2" charset="-127"/>
                <a:ea typeface="KoPub돋움체 Bold" panose="00000800000000000000" pitchFamily="2" charset="-127"/>
                <a:cs typeface="Arial" panose="020B0604020202020204" pitchFamily="34" charset="0"/>
              </a:rPr>
              <a:t>실적도 안정적인 점을 감안하여 방향성 고려</a:t>
            </a:r>
            <a:endParaRPr lang="ko-KR" altLang="en-US" sz="1200" b="1" u="sng" kern="0" dirty="0">
              <a:solidFill>
                <a:srgbClr val="C00000"/>
              </a:solidFill>
              <a:latin typeface="KoPub돋움체 Bold" panose="00000800000000000000" pitchFamily="2" charset="-127"/>
              <a:ea typeface="KoPub돋움체 Bold" panose="000008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2" name="직선 연결선 1">
            <a:extLst>
              <a:ext uri="{FF2B5EF4-FFF2-40B4-BE49-F238E27FC236}">
                <a16:creationId xmlns:a16="http://schemas.microsoft.com/office/drawing/2014/main" id="{717405BA-5376-F382-DCFA-E8F70208F13B}"/>
              </a:ext>
            </a:extLst>
          </p:cNvPr>
          <p:cNvCxnSpPr>
            <a:cxnSpLocks/>
          </p:cNvCxnSpPr>
          <p:nvPr/>
        </p:nvCxnSpPr>
        <p:spPr>
          <a:xfrm>
            <a:off x="503453" y="4036758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직사각형 3">
            <a:extLst>
              <a:ext uri="{FF2B5EF4-FFF2-40B4-BE49-F238E27FC236}">
                <a16:creationId xmlns:a16="http://schemas.microsoft.com/office/drawing/2014/main" id="{99DCF681-7EEF-312B-C707-683CE8570475}"/>
              </a:ext>
            </a:extLst>
          </p:cNvPr>
          <p:cNvSpPr/>
          <p:nvPr/>
        </p:nvSpPr>
        <p:spPr>
          <a:xfrm>
            <a:off x="4492421" y="264791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36B8DF74-BB91-348F-FD39-DF9F521FE103}"/>
              </a:ext>
            </a:extLst>
          </p:cNvPr>
          <p:cNvSpPr/>
          <p:nvPr/>
        </p:nvSpPr>
        <p:spPr>
          <a:xfrm>
            <a:off x="4492421" y="283311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1C9EBD72-47B8-EC66-72D3-926E5586E504}"/>
              </a:ext>
            </a:extLst>
          </p:cNvPr>
          <p:cNvSpPr/>
          <p:nvPr/>
        </p:nvSpPr>
        <p:spPr>
          <a:xfrm>
            <a:off x="4492421" y="3018320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6840E98C-0FC5-006C-A193-443CC8C86186}"/>
              </a:ext>
            </a:extLst>
          </p:cNvPr>
          <p:cNvSpPr/>
          <p:nvPr/>
        </p:nvSpPr>
        <p:spPr>
          <a:xfrm>
            <a:off x="4492421" y="3203523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AF5663BE-57DD-7A62-E97E-451B4C58976D}"/>
              </a:ext>
            </a:extLst>
          </p:cNvPr>
          <p:cNvSpPr/>
          <p:nvPr/>
        </p:nvSpPr>
        <p:spPr>
          <a:xfrm>
            <a:off x="4492421" y="3395275"/>
            <a:ext cx="267855" cy="128969"/>
          </a:xfrm>
          <a:prstGeom prst="rect">
            <a:avLst/>
          </a:prstGeom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18FADB58-F8CF-F6A7-6930-C90F16F0A351}"/>
              </a:ext>
            </a:extLst>
          </p:cNvPr>
          <p:cNvSpPr/>
          <p:nvPr/>
        </p:nvSpPr>
        <p:spPr>
          <a:xfrm>
            <a:off x="6907453" y="2648405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68A79A34-3FF7-13F2-0BDB-C82C87E929B0}"/>
              </a:ext>
            </a:extLst>
          </p:cNvPr>
          <p:cNvSpPr/>
          <p:nvPr/>
        </p:nvSpPr>
        <p:spPr>
          <a:xfrm>
            <a:off x="6907453" y="283360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3AC021E8-B2CD-AEEF-CE59-E9661F5A2C74}"/>
              </a:ext>
            </a:extLst>
          </p:cNvPr>
          <p:cNvSpPr/>
          <p:nvPr/>
        </p:nvSpPr>
        <p:spPr>
          <a:xfrm>
            <a:off x="6907453" y="301881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F3A49763-AE2E-887D-4FA4-FD1F8D2ACD0B}"/>
              </a:ext>
            </a:extLst>
          </p:cNvPr>
          <p:cNvSpPr/>
          <p:nvPr/>
        </p:nvSpPr>
        <p:spPr>
          <a:xfrm>
            <a:off x="6907453" y="320401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F077E0E8-EF2E-C49A-DAB8-E32705FE23D6}"/>
              </a:ext>
            </a:extLst>
          </p:cNvPr>
          <p:cNvSpPr/>
          <p:nvPr/>
        </p:nvSpPr>
        <p:spPr>
          <a:xfrm>
            <a:off x="6907453" y="3395766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66CB1775-302B-D287-1CAC-FC85C1B26109}"/>
              </a:ext>
            </a:extLst>
          </p:cNvPr>
          <p:cNvSpPr/>
          <p:nvPr/>
        </p:nvSpPr>
        <p:spPr>
          <a:xfrm>
            <a:off x="9322485" y="2661196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76F7D17-89CF-FDFE-05D2-887B587276E2}"/>
              </a:ext>
            </a:extLst>
          </p:cNvPr>
          <p:cNvSpPr/>
          <p:nvPr/>
        </p:nvSpPr>
        <p:spPr>
          <a:xfrm>
            <a:off x="9322485" y="2846399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D98293B-26E9-2211-E1E0-5F5577B32150}"/>
              </a:ext>
            </a:extLst>
          </p:cNvPr>
          <p:cNvSpPr/>
          <p:nvPr/>
        </p:nvSpPr>
        <p:spPr>
          <a:xfrm>
            <a:off x="9322485" y="3031602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F0905CD2-F658-DA2E-35BC-4B653A865AA9}"/>
              </a:ext>
            </a:extLst>
          </p:cNvPr>
          <p:cNvSpPr/>
          <p:nvPr/>
        </p:nvSpPr>
        <p:spPr>
          <a:xfrm>
            <a:off x="9322485" y="321680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9BE2FB6-6F7E-9338-2E2D-9F5B8610E966}"/>
              </a:ext>
            </a:extLst>
          </p:cNvPr>
          <p:cNvSpPr/>
          <p:nvPr/>
        </p:nvSpPr>
        <p:spPr>
          <a:xfrm>
            <a:off x="9322485" y="3408557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16B727-2EBA-1ED3-9616-1371F4066CFB}"/>
              </a:ext>
            </a:extLst>
          </p:cNvPr>
          <p:cNvSpPr txBox="1"/>
          <p:nvPr/>
        </p:nvSpPr>
        <p:spPr>
          <a:xfrm>
            <a:off x="2420276" y="2647063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u="sng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 시장이 주춤한 가운데에도 양호한 분양 성적을 거둠</a:t>
            </a:r>
            <a:endParaRPr lang="en-US" altLang="ko-KR" sz="900" i="0" u="sng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3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누계 매출액과 영업이익이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430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771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을 기록해 전년 동기 대비 각각 </a:t>
            </a: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%, 269% 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ko-KR" altLang="en-US" sz="900" b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A4C865-0BAB-C68E-DB06-3C1576280D32}"/>
              </a:ext>
            </a:extLst>
          </p:cNvPr>
          <p:cNvSpPr txBox="1"/>
          <p:nvPr/>
        </p:nvSpPr>
        <p:spPr>
          <a:xfrm>
            <a:off x="4789290" y="2647063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중한 </a:t>
            </a:r>
            <a:r>
              <a:rPr lang="en-US" altLang="ko-KR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</a:t>
            </a: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증 규모 </a:t>
            </a:r>
            <a:b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‘23</a:t>
            </a: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년 상반기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기준 민자사업 제외한 태영건설이 보증한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개발 등과 관련된 </a:t>
            </a:r>
            <a:r>
              <a:rPr lang="en-US" altLang="ko-KR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 잔액은 </a:t>
            </a:r>
            <a:r>
              <a:rPr lang="en-US" altLang="ko-KR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6,299</a:t>
            </a:r>
            <a:r>
              <a:rPr lang="ko-KR" altLang="en-US" sz="900" b="1" u="sng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</a:t>
            </a:r>
            <a:r>
              <a:rPr lang="ko-KR" altLang="en-US" sz="900" b="1" i="0" u="sng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</a:t>
            </a:r>
            <a:endParaRPr lang="en-US" altLang="ko-KR" sz="900" b="1" i="0" u="sng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채비율 </a:t>
            </a:r>
            <a:r>
              <a:rPr lang="en-US" altLang="ko-KR" sz="900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40%</a:t>
            </a:r>
            <a:endParaRPr lang="ko-KR" altLang="en-US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8B1FE4-163E-A92E-FACC-12CF203B4256}"/>
              </a:ext>
            </a:extLst>
          </p:cNvPr>
          <p:cNvSpPr txBox="1"/>
          <p:nvPr/>
        </p:nvSpPr>
        <p:spPr>
          <a:xfrm>
            <a:off x="7231622" y="26556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으로 공시된 계획 無</a:t>
            </a:r>
            <a:endParaRPr lang="en-US" altLang="ko-KR" sz="900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68FBC450-AFB1-559A-7C64-934D45FF567F}"/>
              </a:ext>
            </a:extLst>
          </p:cNvPr>
          <p:cNvCxnSpPr>
            <a:cxnSpLocks/>
          </p:cNvCxnSpPr>
          <p:nvPr/>
        </p:nvCxnSpPr>
        <p:spPr>
          <a:xfrm>
            <a:off x="503453" y="5833223"/>
            <a:ext cx="9108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26138647-9985-6D2A-C257-438FBE33D941}"/>
              </a:ext>
            </a:extLst>
          </p:cNvPr>
          <p:cNvSpPr/>
          <p:nvPr/>
        </p:nvSpPr>
        <p:spPr>
          <a:xfrm>
            <a:off x="4492421" y="447752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29" name="직사각형 28">
            <a:extLst>
              <a:ext uri="{FF2B5EF4-FFF2-40B4-BE49-F238E27FC236}">
                <a16:creationId xmlns:a16="http://schemas.microsoft.com/office/drawing/2014/main" id="{77C14A4C-DC9C-E8FF-6130-9FF16117A566}"/>
              </a:ext>
            </a:extLst>
          </p:cNvPr>
          <p:cNvSpPr/>
          <p:nvPr/>
        </p:nvSpPr>
        <p:spPr>
          <a:xfrm>
            <a:off x="4492421" y="466272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9C87798E-11EA-C1B3-25AA-1A5C00D65DAB}"/>
              </a:ext>
            </a:extLst>
          </p:cNvPr>
          <p:cNvSpPr/>
          <p:nvPr/>
        </p:nvSpPr>
        <p:spPr>
          <a:xfrm>
            <a:off x="4492421" y="484793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454560EB-7096-BCE7-A8C9-C611153E6C1D}"/>
              </a:ext>
            </a:extLst>
          </p:cNvPr>
          <p:cNvSpPr/>
          <p:nvPr/>
        </p:nvSpPr>
        <p:spPr>
          <a:xfrm>
            <a:off x="4492421" y="503313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41E1E079-3807-D2F4-9980-B5097F40659E}"/>
              </a:ext>
            </a:extLst>
          </p:cNvPr>
          <p:cNvSpPr/>
          <p:nvPr/>
        </p:nvSpPr>
        <p:spPr>
          <a:xfrm>
            <a:off x="4492421" y="521833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63069AB4-D2B0-7910-2D7B-F245A964DF60}"/>
              </a:ext>
            </a:extLst>
          </p:cNvPr>
          <p:cNvSpPr/>
          <p:nvPr/>
        </p:nvSpPr>
        <p:spPr>
          <a:xfrm>
            <a:off x="6907453" y="447752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4F99314-3BC8-5E45-DC55-6DBC07928831}"/>
              </a:ext>
            </a:extLst>
          </p:cNvPr>
          <p:cNvSpPr/>
          <p:nvPr/>
        </p:nvSpPr>
        <p:spPr>
          <a:xfrm>
            <a:off x="6907453" y="466272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577F7000-97E5-E81D-D651-10C7A79340BE}"/>
              </a:ext>
            </a:extLst>
          </p:cNvPr>
          <p:cNvSpPr/>
          <p:nvPr/>
        </p:nvSpPr>
        <p:spPr>
          <a:xfrm>
            <a:off x="6907453" y="4847931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E743BC8B-E655-4143-3E66-8404C86057F8}"/>
              </a:ext>
            </a:extLst>
          </p:cNvPr>
          <p:cNvSpPr/>
          <p:nvPr/>
        </p:nvSpPr>
        <p:spPr>
          <a:xfrm>
            <a:off x="6907453" y="5033134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8A26B185-CE28-C299-1A16-43BF74AF7225}"/>
              </a:ext>
            </a:extLst>
          </p:cNvPr>
          <p:cNvSpPr/>
          <p:nvPr/>
        </p:nvSpPr>
        <p:spPr>
          <a:xfrm>
            <a:off x="6907453" y="521833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B11FDD70-A7CC-FFEC-2ABD-22D41FAF2C12}"/>
              </a:ext>
            </a:extLst>
          </p:cNvPr>
          <p:cNvSpPr/>
          <p:nvPr/>
        </p:nvSpPr>
        <p:spPr>
          <a:xfrm>
            <a:off x="9322485" y="4477525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755BF3D3-409C-FE28-3C4C-1A9350ED293E}"/>
              </a:ext>
            </a:extLst>
          </p:cNvPr>
          <p:cNvSpPr/>
          <p:nvPr/>
        </p:nvSpPr>
        <p:spPr>
          <a:xfrm>
            <a:off x="9322485" y="4662728"/>
            <a:ext cx="267855" cy="1289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1345B23-320B-7E6A-437E-ACEF79A02102}"/>
              </a:ext>
            </a:extLst>
          </p:cNvPr>
          <p:cNvSpPr/>
          <p:nvPr/>
        </p:nvSpPr>
        <p:spPr>
          <a:xfrm>
            <a:off x="9322485" y="4847931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F300773D-823D-1D79-AA87-978472F62813}"/>
              </a:ext>
            </a:extLst>
          </p:cNvPr>
          <p:cNvSpPr/>
          <p:nvPr/>
        </p:nvSpPr>
        <p:spPr>
          <a:xfrm>
            <a:off x="9322485" y="5033134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1439A5CA-429A-0DC9-0C4B-B266B499A0F7}"/>
              </a:ext>
            </a:extLst>
          </p:cNvPr>
          <p:cNvSpPr/>
          <p:nvPr/>
        </p:nvSpPr>
        <p:spPr>
          <a:xfrm>
            <a:off x="9322485" y="5218338"/>
            <a:ext cx="267855" cy="128969"/>
          </a:xfrm>
          <a:prstGeom prst="rect">
            <a:avLst/>
          </a:prstGeom>
          <a:solidFill>
            <a:srgbClr val="1E49E2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883B7E5-580A-EDA4-FB88-E362B4072486}"/>
              </a:ext>
            </a:extLst>
          </p:cNvPr>
          <p:cNvSpPr txBox="1"/>
          <p:nvPr/>
        </p:nvSpPr>
        <p:spPr>
          <a:xfrm>
            <a:off x="2420276" y="4433411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언론사들 모두 실적 좋았으며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SBS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는 처음으로 매출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돌파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3DF1A5A-E28A-312D-B2F8-1AB68B5E852B}"/>
              </a:ext>
            </a:extLst>
          </p:cNvPr>
          <p:cNvSpPr txBox="1"/>
          <p:nvPr/>
        </p:nvSpPr>
        <p:spPr>
          <a:xfrm>
            <a:off x="4789290" y="4427134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채비율 </a:t>
            </a:r>
            <a:r>
              <a:rPr lang="en-US" altLang="ko-KR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64%</a:t>
            </a:r>
            <a:r>
              <a:rPr lang="ko-KR" altLang="en-US" sz="900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로 낮은 수준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94229C9-76C1-A66E-59F9-B8633828CAE5}"/>
              </a:ext>
            </a:extLst>
          </p:cNvPr>
          <p:cNvSpPr txBox="1"/>
          <p:nvPr/>
        </p:nvSpPr>
        <p:spPr>
          <a:xfrm>
            <a:off x="7231622" y="4415100"/>
            <a:ext cx="2016000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콘텐츠 사업 관련 투자 많을 것으로 전망됨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59" name="Picture 2" descr="태영건설 - 나무위키">
            <a:extLst>
              <a:ext uri="{FF2B5EF4-FFF2-40B4-BE49-F238E27FC236}">
                <a16:creationId xmlns:a16="http://schemas.microsoft.com/office/drawing/2014/main" id="{9AFDF1B0-7A1A-5998-33E8-144487979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338" y="2754391"/>
            <a:ext cx="1741222" cy="70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>
            <a:extLst>
              <a:ext uri="{FF2B5EF4-FFF2-40B4-BE49-F238E27FC236}">
                <a16:creationId xmlns:a16="http://schemas.microsoft.com/office/drawing/2014/main" id="{EC3FE357-63FC-F7B5-2B09-AE448083A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88" y="4163665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0667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kumimoji="0" lang="ko-K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j-cs"/>
              </a:rPr>
              <a:t>자금조달 필요성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그룹사 현황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5E3F9D0-57DC-BE59-F2F7-AC520AC683DB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360BD38B-6D7A-FF0F-4730-5C51FFB3AA2F}"/>
              </a:ext>
            </a:extLst>
          </p:cNvPr>
          <p:cNvSpPr/>
          <p:nvPr/>
        </p:nvSpPr>
        <p:spPr>
          <a:xfrm>
            <a:off x="488950" y="1724907"/>
            <a:ext cx="826503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1B20C252-6E5E-2C1F-F76D-D0C6352C6EB2}"/>
              </a:ext>
            </a:extLst>
          </p:cNvPr>
          <p:cNvSpPr/>
          <p:nvPr/>
        </p:nvSpPr>
        <p:spPr>
          <a:xfrm>
            <a:off x="1379622" y="1724907"/>
            <a:ext cx="5111572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자재유통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양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레미콘 출하량 늘자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익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쑥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8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멘트값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상 압력에도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업익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30%↑, </a:t>
            </a:r>
            <a:r>
              <a:rPr lang="ko-KR" altLang="en-US" sz="10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순익은 </a:t>
            </a:r>
            <a:r>
              <a:rPr lang="ko-KR" altLang="en-US" sz="10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흑전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재사업의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매출은 전년 동기 대비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6.4%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늘어난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20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을 기록</a:t>
            </a:r>
            <a:br>
              <a:rPr lang="en-US" altLang="ko-KR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부문 매출은 전년 대비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2.5% 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장한 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86</a:t>
            </a:r>
            <a:r>
              <a:rPr lang="ko-KR" altLang="en-US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나타났다</a:t>
            </a:r>
            <a:r>
              <a:rPr lang="en-US" altLang="ko-KR" sz="9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  <a:r>
              <a:rPr lang="en-US" altLang="ko-KR" sz="100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900" b="1">
              <a:solidFill>
                <a:schemeClr val="tx1">
                  <a:lumMod val="50000"/>
                  <a:lumOff val="50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서비스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증권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정성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개선 핵심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PF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실채권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6) / </a:t>
            </a: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               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소형 증권사 자산 건전성 ‘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빨간불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PF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실 후폭풍 탓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3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PF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부실채권 이어 우발채무 리스크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잔재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…"2024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까지 청산 계획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“</a:t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고정이하자산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중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PF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부실채권 규모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1004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</a:t>
            </a:r>
            <a:b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PF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부실채권의 경우 충당금과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현금성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자산 등으로 리스크를 감내할 수 있도록 관리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 2024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 말까지 해당 부실자산을 정리하고자 정리 작업을 진행 중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유진투자증권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재무 건전성 부정평가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1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</a:t>
            </a:r>
            <a:b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</a:b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-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국내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30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개 증권사의 </a:t>
            </a:r>
            <a:r>
              <a:rPr kumimoji="0" lang="ko-KR" alt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고정이하자산금액은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조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5,915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으로 지난해 같은 시점보다 </a:t>
            </a:r>
            <a:r>
              <a:rPr kumimoji="0" lang="en-US" altLang="ko-KR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15.2% 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증가</a:t>
            </a: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92EBCAA-8CFE-F5C0-9D3F-B401CF285D93}"/>
              </a:ext>
            </a:extLst>
          </p:cNvPr>
          <p:cNvSpPr/>
          <p:nvPr/>
        </p:nvSpPr>
        <p:spPr>
          <a:xfrm>
            <a:off x="6555363" y="1724907"/>
            <a:ext cx="2861687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안정적 실적을 보이는 건자재유통부문과 달리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서비스부문에서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실채권 관련 자산건전성 문제에 직면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진투자증권은 자산건전성 개선을 위해 충당금과 현금성자산 확보가 중요</a:t>
            </a:r>
            <a:b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→ </a:t>
            </a:r>
            <a:r>
              <a:rPr lang="ko-KR" altLang="en-US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조달 </a:t>
            </a:r>
            <a:r>
              <a:rPr lang="en-US" altLang="ko-KR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존재 가능성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시장 침체 지속 시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우발채무 현실화 등에 대비한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조달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 예상</a:t>
            </a:r>
          </a:p>
        </p:txBody>
      </p:sp>
      <p:pic>
        <p:nvPicPr>
          <p:cNvPr id="10" name="Picture 2" descr="유진그룹">
            <a:extLst>
              <a:ext uri="{FF2B5EF4-FFF2-40B4-BE49-F238E27FC236}">
                <a16:creationId xmlns:a16="http://schemas.microsoft.com/office/drawing/2014/main" id="{A4883039-BFE4-9326-4002-C994971009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70" t="38390" r="22086" b="38349"/>
          <a:stretch/>
        </p:blipFill>
        <p:spPr bwMode="auto">
          <a:xfrm>
            <a:off x="572997" y="2614589"/>
            <a:ext cx="714376" cy="21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직사각형 12">
            <a:extLst>
              <a:ext uri="{FF2B5EF4-FFF2-40B4-BE49-F238E27FC236}">
                <a16:creationId xmlns:a16="http://schemas.microsoft.com/office/drawing/2014/main" id="{3BA8823A-5545-CEA4-CF36-9A868652822B}"/>
              </a:ext>
            </a:extLst>
          </p:cNvPr>
          <p:cNvSpPr/>
          <p:nvPr/>
        </p:nvSpPr>
        <p:spPr>
          <a:xfrm>
            <a:off x="488950" y="3928656"/>
            <a:ext cx="826503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</a:t>
            </a:r>
            <a:b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37A9B281-FE25-B8DA-35FB-A542FB9DF9F9}"/>
              </a:ext>
            </a:extLst>
          </p:cNvPr>
          <p:cNvSpPr/>
          <p:nvPr/>
        </p:nvSpPr>
        <p:spPr>
          <a:xfrm>
            <a:off x="1379622" y="3928656"/>
            <a:ext cx="5111572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 및 환경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경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 올인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동서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간판 떼나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‘23.06) / </a:t>
            </a: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                   IS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순위 떨어졌지만 환경 신사업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믿을 구석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 (‘23.04)</a:t>
            </a:r>
            <a:endParaRPr kumimoji="0" lang="en-US" altLang="ko-KR" sz="105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건설부문 부진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원자재쇼크와 경기침체 등으로 계획했던 분양물량이 미뤄지고 미분양도 적체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반면 신사업으로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점찍은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환경부문은 승승장구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 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자체 최대실적을 갱신하고 매출비중도 확대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endParaRPr kumimoji="0" lang="en-US" altLang="ko-KR" sz="900" b="1" i="0" u="none" strike="noStrike" kern="1200" cap="none" spc="0" normalizeH="0" baseline="0" noProof="0">
              <a:ln>
                <a:noFill/>
              </a:ln>
              <a:solidFill>
                <a:srgbClr val="1E49E2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경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]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</a:t>
            </a:r>
            <a:r>
              <a:rPr kumimoji="0" lang="ko-KR" alt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아이에스동서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13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만 매출 최대치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폐배터리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·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폐기물처리 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</a:t>
            </a:r>
            <a:r>
              <a:rPr kumimoji="0" lang="ko-KR" alt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효자노릇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’ (’23.02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019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업계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1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위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'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인선이엔티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인수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폐기물처리업체 잇단 합병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환경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464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→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4227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71.5%↑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altLang="ko-KR" sz="10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환경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1E49E2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]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</a:t>
            </a:r>
            <a:r>
              <a:rPr kumimoji="0" lang="ko-KR" alt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아이에스지주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, 800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 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EB 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발행 추진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…</a:t>
            </a:r>
            <a:r>
              <a:rPr kumimoji="0" lang="ko-KR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올들어 최대 규모</a:t>
            </a:r>
            <a:r>
              <a:rPr kumimoji="0" lang="en-US" altLang="ko-KR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(’23.02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올해 경기도 화성에 수도권 최대 수준인 연간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7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천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t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의 폐배터리를 처리하는 </a:t>
            </a:r>
            <a:r>
              <a:rPr kumimoji="0" lang="ko-KR" alt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전처리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 공장 착공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025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년부터는 약 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2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천</a:t>
            </a: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500</a:t>
            </a:r>
            <a:r>
              <a:rPr kumimoji="0" lang="ko-K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억원을 투자해 자원순환시설을 건립할 예정</a:t>
            </a:r>
            <a:endParaRPr kumimoji="0" lang="en-US" altLang="ko-K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99A693A1-ABB0-2DD9-9CF3-78BB3B5B5908}"/>
              </a:ext>
            </a:extLst>
          </p:cNvPr>
          <p:cNvSpPr/>
          <p:nvPr/>
        </p:nvSpPr>
        <p:spPr>
          <a:xfrm>
            <a:off x="6555363" y="3928656"/>
            <a:ext cx="2861687" cy="215367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아이에스그룹은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자재쇼크 및 경기침체로 미분양 적체되면서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부문의 실적은 악화된 반면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사업 환경부문 최대실적 갱신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폐배터리 </a:t>
            </a:r>
            <a:r>
              <a:rPr lang="ko-KR" altLang="en-US" sz="12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처리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공장 착공 및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5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이후 약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,500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의 신사업 관련 투자有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→ </a:t>
            </a:r>
            <a:r>
              <a:rPr lang="ko-KR" altLang="en-US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조달 </a:t>
            </a:r>
            <a:r>
              <a:rPr lang="en-US" altLang="ko-KR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1200" b="1" spc="-7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존재 가능성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확보 필요 시점에서 건설부문 관리 방향 주목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026" name="Picture 2" descr="아이에스동서">
            <a:extLst>
              <a:ext uri="{FF2B5EF4-FFF2-40B4-BE49-F238E27FC236}">
                <a16:creationId xmlns:a16="http://schemas.microsoft.com/office/drawing/2014/main" id="{7485EDC2-29E4-009E-1DA5-DD0CA85F8C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7" t="26352" r="74599" b="27359"/>
          <a:stretch/>
        </p:blipFill>
        <p:spPr bwMode="auto">
          <a:xfrm>
            <a:off x="567723" y="4287535"/>
            <a:ext cx="707992" cy="701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385407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태영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350065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태영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윤세영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서울특별시 영등포구 여의공원로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11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7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0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40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6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1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9,35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109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246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태영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904602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15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9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10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31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1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8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6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70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87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2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.4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7,99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2,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9,3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,26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7,4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,8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태영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0883A176-F6CF-E0C0-C74F-C64C05347AFD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설업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769F3728-A95E-B4C8-374E-1F61C5D9D4FC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송사업부문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95FBE2C6-27C1-FD31-7059-9B5F37E4D047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폐기물 처리업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2F116F0-A750-7D4B-423B-5A00462A6B4C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건설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C43C168B-CA93-611A-E773-1518ED15699B}"/>
              </a:ext>
            </a:extLst>
          </p:cNvPr>
          <p:cNvSpPr/>
          <p:nvPr/>
        </p:nvSpPr>
        <p:spPr>
          <a:xfrm>
            <a:off x="5076000" y="2549292"/>
            <a:ext cx="1044001" cy="990503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D0EB0B8B-0201-5BD4-A508-161A4D4D17DF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레저업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물류창고업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1233E059-D40D-CB87-E823-13BAC32BA4FC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68AA4776-362A-B295-81A6-80A31521079C}"/>
              </a:ext>
            </a:extLst>
          </p:cNvPr>
          <p:cNvSpPr/>
          <p:nvPr/>
        </p:nvSpPr>
        <p:spPr>
          <a:xfrm>
            <a:off x="6162200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77349F4C-66A3-120F-6C63-B2536BA0C38A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코비트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266D3D57-776C-7627-F8C4-4C026A314244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04F9785C-1F8D-0B49-54D0-E63E33A3800A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블루원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449BE2EE-9CBF-80EB-0610-84AB4A7C1D01}"/>
              </a:ext>
            </a:extLst>
          </p:cNvPr>
          <p:cNvSpPr/>
          <p:nvPr/>
        </p:nvSpPr>
        <p:spPr>
          <a:xfrm>
            <a:off x="8328788" y="2549291"/>
            <a:ext cx="1044001" cy="1454134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10360EC0-2223-628A-8F6B-FA8C7B45F52D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건설 </a:t>
            </a:r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C/PF </a:t>
            </a:r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회사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3A4BC23-C751-3FCB-D621-E32C82C19811}"/>
              </a:ext>
            </a:extLst>
          </p:cNvPr>
          <p:cNvSpPr/>
          <p:nvPr/>
        </p:nvSpPr>
        <p:spPr>
          <a:xfrm>
            <a:off x="8380040" y="3065453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평택싸이로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40B9ED96-2F83-0936-52FD-D52A1DE5A64F}"/>
              </a:ext>
            </a:extLst>
          </p:cNvPr>
          <p:cNvSpPr/>
          <p:nvPr/>
        </p:nvSpPr>
        <p:spPr>
          <a:xfrm>
            <a:off x="8380040" y="3539795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인더스트리</a:t>
            </a:r>
            <a:endParaRPr lang="ko-KR" altLang="en-US" sz="7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7640408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태영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C1042455-CCF4-00E2-217F-7663ED36F55B}"/>
              </a:ext>
            </a:extLst>
          </p:cNvPr>
          <p:cNvCxnSpPr>
            <a:cxnSpLocks/>
          </p:cNvCxnSpPr>
          <p:nvPr/>
        </p:nvCxnSpPr>
        <p:spPr>
          <a:xfrm>
            <a:off x="2866751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모서리가 둥근 직사각형 167">
            <a:extLst>
              <a:ext uri="{FF2B5EF4-FFF2-40B4-BE49-F238E27FC236}">
                <a16:creationId xmlns:a16="http://schemas.microsoft.com/office/drawing/2014/main" id="{92ECD957-A01B-46C6-D5BF-1E0D1738A36C}"/>
              </a:ext>
            </a:extLst>
          </p:cNvPr>
          <p:cNvSpPr/>
          <p:nvPr/>
        </p:nvSpPr>
        <p:spPr>
          <a:xfrm>
            <a:off x="4450131" y="2535959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티와이홀딩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9" name="직선 화살표 연결선 38">
            <a:extLst>
              <a:ext uri="{FF2B5EF4-FFF2-40B4-BE49-F238E27FC236}">
                <a16:creationId xmlns:a16="http://schemas.microsoft.com/office/drawing/2014/main" id="{B212B3BC-0D53-4758-E83E-24DB06837347}"/>
              </a:ext>
            </a:extLst>
          </p:cNvPr>
          <p:cNvCxnSpPr>
            <a:cxnSpLocks/>
          </p:cNvCxnSpPr>
          <p:nvPr/>
        </p:nvCxnSpPr>
        <p:spPr>
          <a:xfrm flipH="1">
            <a:off x="1472064" y="3090418"/>
            <a:ext cx="7101925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화살표 연결선 42">
            <a:extLst>
              <a:ext uri="{FF2B5EF4-FFF2-40B4-BE49-F238E27FC236}">
                <a16:creationId xmlns:a16="http://schemas.microsoft.com/office/drawing/2014/main" id="{E7F9013D-B3AA-F356-691F-D1013411D180}"/>
              </a:ext>
            </a:extLst>
          </p:cNvPr>
          <p:cNvCxnSpPr>
            <a:cxnSpLocks/>
          </p:cNvCxnSpPr>
          <p:nvPr/>
        </p:nvCxnSpPr>
        <p:spPr>
          <a:xfrm>
            <a:off x="1472064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타원 43">
            <a:extLst>
              <a:ext uri="{FF2B5EF4-FFF2-40B4-BE49-F238E27FC236}">
                <a16:creationId xmlns:a16="http://schemas.microsoft.com/office/drawing/2014/main" id="{5E848F03-8B4F-3B13-574F-9CADAB15F38B}"/>
              </a:ext>
            </a:extLst>
          </p:cNvPr>
          <p:cNvSpPr/>
          <p:nvPr/>
        </p:nvSpPr>
        <p:spPr>
          <a:xfrm>
            <a:off x="1185632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7.8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5" name="타원 44">
            <a:extLst>
              <a:ext uri="{FF2B5EF4-FFF2-40B4-BE49-F238E27FC236}">
                <a16:creationId xmlns:a16="http://schemas.microsoft.com/office/drawing/2014/main" id="{AFBE8AFA-F77B-6D8B-F913-A43F2728D165}"/>
              </a:ext>
            </a:extLst>
          </p:cNvPr>
          <p:cNvSpPr/>
          <p:nvPr/>
        </p:nvSpPr>
        <p:spPr>
          <a:xfrm>
            <a:off x="2576204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7.7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8" name="모서리가 둥근 직사각형 167">
            <a:extLst>
              <a:ext uri="{FF2B5EF4-FFF2-40B4-BE49-F238E27FC236}">
                <a16:creationId xmlns:a16="http://schemas.microsoft.com/office/drawing/2014/main" id="{436F448B-737A-0AF1-217A-A522F29EE9B2}"/>
              </a:ext>
            </a:extLst>
          </p:cNvPr>
          <p:cNvSpPr/>
          <p:nvPr/>
        </p:nvSpPr>
        <p:spPr>
          <a:xfrm>
            <a:off x="968064" y="360073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건설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모서리가 둥근 직사각형 167">
            <a:extLst>
              <a:ext uri="{FF2B5EF4-FFF2-40B4-BE49-F238E27FC236}">
                <a16:creationId xmlns:a16="http://schemas.microsoft.com/office/drawing/2014/main" id="{613398E2-6BAA-8D4D-0239-BE3DB8E15018}"/>
              </a:ext>
            </a:extLst>
          </p:cNvPr>
          <p:cNvSpPr/>
          <p:nvPr/>
        </p:nvSpPr>
        <p:spPr>
          <a:xfrm>
            <a:off x="2362751" y="3601009"/>
            <a:ext cx="1008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블루원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0" name="직선 화살표 연결선 49">
            <a:extLst>
              <a:ext uri="{FF2B5EF4-FFF2-40B4-BE49-F238E27FC236}">
                <a16:creationId xmlns:a16="http://schemas.microsoft.com/office/drawing/2014/main" id="{8A3D9E26-AA2E-C6DE-60BB-5E76AB633A3C}"/>
              </a:ext>
            </a:extLst>
          </p:cNvPr>
          <p:cNvCxnSpPr>
            <a:cxnSpLocks/>
          </p:cNvCxnSpPr>
          <p:nvPr/>
        </p:nvCxnSpPr>
        <p:spPr>
          <a:xfrm>
            <a:off x="4265601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타원 50">
            <a:extLst>
              <a:ext uri="{FF2B5EF4-FFF2-40B4-BE49-F238E27FC236}">
                <a16:creationId xmlns:a16="http://schemas.microsoft.com/office/drawing/2014/main" id="{8238153A-C943-4425-A0D3-D4C0F1033CA4}"/>
              </a:ext>
            </a:extLst>
          </p:cNvPr>
          <p:cNvSpPr/>
          <p:nvPr/>
        </p:nvSpPr>
        <p:spPr>
          <a:xfrm>
            <a:off x="3970939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2" name="모서리가 둥근 직사각형 167">
            <a:extLst>
              <a:ext uri="{FF2B5EF4-FFF2-40B4-BE49-F238E27FC236}">
                <a16:creationId xmlns:a16="http://schemas.microsoft.com/office/drawing/2014/main" id="{5CC1EDF7-0599-8F5E-42D7-AD06883BBA15}"/>
              </a:ext>
            </a:extLst>
          </p:cNvPr>
          <p:cNvSpPr/>
          <p:nvPr/>
        </p:nvSpPr>
        <p:spPr>
          <a:xfrm>
            <a:off x="3761601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코비트</a:t>
            </a:r>
          </a:p>
        </p:txBody>
      </p:sp>
      <p:cxnSp>
        <p:nvCxnSpPr>
          <p:cNvPr id="53" name="직선 화살표 연결선 52">
            <a:extLst>
              <a:ext uri="{FF2B5EF4-FFF2-40B4-BE49-F238E27FC236}">
                <a16:creationId xmlns:a16="http://schemas.microsoft.com/office/drawing/2014/main" id="{70D5223F-7AA0-A25B-87BF-501365F58F4E}"/>
              </a:ext>
            </a:extLst>
          </p:cNvPr>
          <p:cNvCxnSpPr>
            <a:cxnSpLocks/>
          </p:cNvCxnSpPr>
          <p:nvPr/>
        </p:nvCxnSpPr>
        <p:spPr>
          <a:xfrm>
            <a:off x="5643398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타원 53">
            <a:extLst>
              <a:ext uri="{FF2B5EF4-FFF2-40B4-BE49-F238E27FC236}">
                <a16:creationId xmlns:a16="http://schemas.microsoft.com/office/drawing/2014/main" id="{07CCBA34-CE42-81AD-4776-6A6F6E153628}"/>
              </a:ext>
            </a:extLst>
          </p:cNvPr>
          <p:cNvSpPr/>
          <p:nvPr/>
        </p:nvSpPr>
        <p:spPr>
          <a:xfrm>
            <a:off x="5348736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6.9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5" name="모서리가 둥근 직사각형 167">
            <a:extLst>
              <a:ext uri="{FF2B5EF4-FFF2-40B4-BE49-F238E27FC236}">
                <a16:creationId xmlns:a16="http://schemas.microsoft.com/office/drawing/2014/main" id="{B7847E14-A0AD-62E2-7F99-334AAC112580}"/>
              </a:ext>
            </a:extLst>
          </p:cNvPr>
          <p:cNvSpPr/>
          <p:nvPr/>
        </p:nvSpPr>
        <p:spPr>
          <a:xfrm>
            <a:off x="5139398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</a:t>
            </a: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SBS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2" name="직선 화살표 연결선 61">
            <a:extLst>
              <a:ext uri="{FF2B5EF4-FFF2-40B4-BE49-F238E27FC236}">
                <a16:creationId xmlns:a16="http://schemas.microsoft.com/office/drawing/2014/main" id="{4F183AD1-3DBA-488E-F6C6-0C84E05116B8}"/>
              </a:ext>
            </a:extLst>
          </p:cNvPr>
          <p:cNvCxnSpPr>
            <a:cxnSpLocks/>
          </p:cNvCxnSpPr>
          <p:nvPr/>
        </p:nvCxnSpPr>
        <p:spPr>
          <a:xfrm>
            <a:off x="1472064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모서리가 둥근 직사각형 167">
            <a:extLst>
              <a:ext uri="{FF2B5EF4-FFF2-40B4-BE49-F238E27FC236}">
                <a16:creationId xmlns:a16="http://schemas.microsoft.com/office/drawing/2014/main" id="{8BEF1865-E742-2467-9FDC-11EB172E3165}"/>
              </a:ext>
            </a:extLst>
          </p:cNvPr>
          <p:cNvSpPr/>
          <p:nvPr/>
        </p:nvSpPr>
        <p:spPr>
          <a:xfrm>
            <a:off x="968063" y="4360971"/>
            <a:ext cx="1007995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C/PF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법인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9" name="직선 화살표 연결선 68">
            <a:extLst>
              <a:ext uri="{FF2B5EF4-FFF2-40B4-BE49-F238E27FC236}">
                <a16:creationId xmlns:a16="http://schemas.microsoft.com/office/drawing/2014/main" id="{49F7D5D0-1782-968F-4456-BB020382BBA9}"/>
              </a:ext>
            </a:extLst>
          </p:cNvPr>
          <p:cNvCxnSpPr>
            <a:cxnSpLocks/>
          </p:cNvCxnSpPr>
          <p:nvPr/>
        </p:nvCxnSpPr>
        <p:spPr>
          <a:xfrm>
            <a:off x="2870919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타원 72">
            <a:extLst>
              <a:ext uri="{FF2B5EF4-FFF2-40B4-BE49-F238E27FC236}">
                <a16:creationId xmlns:a16="http://schemas.microsoft.com/office/drawing/2014/main" id="{7DD4DECC-1397-D5F4-D577-7B8B739D6545}"/>
              </a:ext>
            </a:extLst>
          </p:cNvPr>
          <p:cNvSpPr/>
          <p:nvPr/>
        </p:nvSpPr>
        <p:spPr>
          <a:xfrm>
            <a:off x="2578746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9" name="직선 화살표 연결선 88">
            <a:extLst>
              <a:ext uri="{FF2B5EF4-FFF2-40B4-BE49-F238E27FC236}">
                <a16:creationId xmlns:a16="http://schemas.microsoft.com/office/drawing/2014/main" id="{BDF2789D-5109-25D3-BE22-D76FF40B1462}"/>
              </a:ext>
            </a:extLst>
          </p:cNvPr>
          <p:cNvCxnSpPr>
            <a:cxnSpLocks/>
          </p:cNvCxnSpPr>
          <p:nvPr/>
        </p:nvCxnSpPr>
        <p:spPr>
          <a:xfrm>
            <a:off x="4259484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직선 화살표 연결선 120">
            <a:extLst>
              <a:ext uri="{FF2B5EF4-FFF2-40B4-BE49-F238E27FC236}">
                <a16:creationId xmlns:a16="http://schemas.microsoft.com/office/drawing/2014/main" id="{C901FDC6-E521-81BA-52AE-B41BAB476146}"/>
              </a:ext>
            </a:extLst>
          </p:cNvPr>
          <p:cNvCxnSpPr>
            <a:cxnSpLocks/>
          </p:cNvCxnSpPr>
          <p:nvPr/>
        </p:nvCxnSpPr>
        <p:spPr>
          <a:xfrm>
            <a:off x="4954131" y="2887980"/>
            <a:ext cx="0" cy="202168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직선 화살표 연결선 122">
            <a:extLst>
              <a:ext uri="{FF2B5EF4-FFF2-40B4-BE49-F238E27FC236}">
                <a16:creationId xmlns:a16="http://schemas.microsoft.com/office/drawing/2014/main" id="{EDFCA656-3C8D-17A8-E19C-01DCD992F795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4954131" y="2352834"/>
            <a:ext cx="0" cy="292437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모서리가 둥근 직사각형 167">
            <a:extLst>
              <a:ext uri="{FF2B5EF4-FFF2-40B4-BE49-F238E27FC236}">
                <a16:creationId xmlns:a16="http://schemas.microsoft.com/office/drawing/2014/main" id="{915C67B4-ED4D-89B7-B4FC-DB5C134980C8}"/>
              </a:ext>
            </a:extLst>
          </p:cNvPr>
          <p:cNvSpPr/>
          <p:nvPr/>
        </p:nvSpPr>
        <p:spPr>
          <a:xfrm>
            <a:off x="4450131" y="1992834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및 특수관계자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5" name="직사각형 124">
            <a:extLst>
              <a:ext uri="{FF2B5EF4-FFF2-40B4-BE49-F238E27FC236}">
                <a16:creationId xmlns:a16="http://schemas.microsoft.com/office/drawing/2014/main" id="{9890548B-9F4E-A7F7-497E-6A364C3B4BD6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6" name="모서리가 둥근 직사각형 167">
            <a:extLst>
              <a:ext uri="{FF2B5EF4-FFF2-40B4-BE49-F238E27FC236}">
                <a16:creationId xmlns:a16="http://schemas.microsoft.com/office/drawing/2014/main" id="{ECA06F66-9B12-5DED-73A9-08A61804DE1D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7" name="모서리가 둥근 직사각형 167">
            <a:extLst>
              <a:ext uri="{FF2B5EF4-FFF2-40B4-BE49-F238E27FC236}">
                <a16:creationId xmlns:a16="http://schemas.microsoft.com/office/drawing/2014/main" id="{CF8DEF5C-FE80-7D1D-DFAF-71BFA5087FD5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9" name="모서리가 둥근 직사각형 167">
            <a:extLst>
              <a:ext uri="{FF2B5EF4-FFF2-40B4-BE49-F238E27FC236}">
                <a16:creationId xmlns:a16="http://schemas.microsoft.com/office/drawing/2014/main" id="{CCC7FEA1-52F7-5562-67AF-44AA40022D65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0" name="모서리가 둥근 직사각형 167">
            <a:extLst>
              <a:ext uri="{FF2B5EF4-FFF2-40B4-BE49-F238E27FC236}">
                <a16:creationId xmlns:a16="http://schemas.microsoft.com/office/drawing/2014/main" id="{242228B5-509F-43D9-242A-384B05D4A278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131" name="모서리가 둥근 직사각형 167">
            <a:extLst>
              <a:ext uri="{FF2B5EF4-FFF2-40B4-BE49-F238E27FC236}">
                <a16:creationId xmlns:a16="http://schemas.microsoft.com/office/drawing/2014/main" id="{2FD03CAF-38D2-E78E-6476-2CBD833F36DE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4" name="모서리가 둥근 직사각형 167">
            <a:extLst>
              <a:ext uri="{FF2B5EF4-FFF2-40B4-BE49-F238E27FC236}">
                <a16:creationId xmlns:a16="http://schemas.microsoft.com/office/drawing/2014/main" id="{702C1996-A8F8-CB3F-0D2C-4239BC016EE5}"/>
              </a:ext>
            </a:extLst>
          </p:cNvPr>
          <p:cNvSpPr/>
          <p:nvPr/>
        </p:nvSpPr>
        <p:spPr>
          <a:xfrm>
            <a:off x="8293212" y="1933361"/>
            <a:ext cx="1013519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및 특수관계자</a:t>
            </a:r>
          </a:p>
        </p:txBody>
      </p:sp>
      <p:sp>
        <p:nvSpPr>
          <p:cNvPr id="135" name="모서리가 둥근 직사각형 167">
            <a:extLst>
              <a:ext uri="{FF2B5EF4-FFF2-40B4-BE49-F238E27FC236}">
                <a16:creationId xmlns:a16="http://schemas.microsoft.com/office/drawing/2014/main" id="{C9F43839-7231-6ED1-F197-014C7368AD68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6" name="모서리가 둥근 직사각형 167">
            <a:extLst>
              <a:ext uri="{FF2B5EF4-FFF2-40B4-BE49-F238E27FC236}">
                <a16:creationId xmlns:a16="http://schemas.microsoft.com/office/drawing/2014/main" id="{CA9D4594-6951-21E9-1567-8CC09A626A82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7" name="모서리가 둥근 직사각형 167">
            <a:extLst>
              <a:ext uri="{FF2B5EF4-FFF2-40B4-BE49-F238E27FC236}">
                <a16:creationId xmlns:a16="http://schemas.microsoft.com/office/drawing/2014/main" id="{AEB8C415-21A4-B421-982F-4CC6EAFDF91E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38" name="타원 137">
            <a:extLst>
              <a:ext uri="{FF2B5EF4-FFF2-40B4-BE49-F238E27FC236}">
                <a16:creationId xmlns:a16="http://schemas.microsoft.com/office/drawing/2014/main" id="{07BCD0F5-6D74-1D4A-C623-0984275DF51C}"/>
              </a:ext>
            </a:extLst>
          </p:cNvPr>
          <p:cNvSpPr/>
          <p:nvPr/>
        </p:nvSpPr>
        <p:spPr>
          <a:xfrm>
            <a:off x="4874816" y="2351592"/>
            <a:ext cx="612000" cy="180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3.6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39" name="직선 화살표 연결선 138">
            <a:extLst>
              <a:ext uri="{FF2B5EF4-FFF2-40B4-BE49-F238E27FC236}">
                <a16:creationId xmlns:a16="http://schemas.microsoft.com/office/drawing/2014/main" id="{0BB52E34-BAD2-4773-A0A2-2A797B83BF84}"/>
              </a:ext>
            </a:extLst>
          </p:cNvPr>
          <p:cNvCxnSpPr>
            <a:cxnSpLocks/>
          </p:cNvCxnSpPr>
          <p:nvPr/>
        </p:nvCxnSpPr>
        <p:spPr>
          <a:xfrm>
            <a:off x="5643399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모서리가 둥근 직사각형 167">
            <a:extLst>
              <a:ext uri="{FF2B5EF4-FFF2-40B4-BE49-F238E27FC236}">
                <a16:creationId xmlns:a16="http://schemas.microsoft.com/office/drawing/2014/main" id="{89FE79BD-76DB-284A-739C-366D7C54F52F}"/>
              </a:ext>
            </a:extLst>
          </p:cNvPr>
          <p:cNvSpPr/>
          <p:nvPr/>
        </p:nvSpPr>
        <p:spPr>
          <a:xfrm>
            <a:off x="5139398" y="4360971"/>
            <a:ext cx="1007995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송 자회사 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1" name="모서리가 둥근 직사각형 167">
            <a:extLst>
              <a:ext uri="{FF2B5EF4-FFF2-40B4-BE49-F238E27FC236}">
                <a16:creationId xmlns:a16="http://schemas.microsoft.com/office/drawing/2014/main" id="{95439370-BA3B-A935-834D-55317E059A65}"/>
              </a:ext>
            </a:extLst>
          </p:cNvPr>
          <p:cNvSpPr/>
          <p:nvPr/>
        </p:nvSpPr>
        <p:spPr>
          <a:xfrm>
            <a:off x="3755486" y="4360971"/>
            <a:ext cx="1007995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에코비트 자회사 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2" name="모서리가 둥근 직사각형 167">
            <a:extLst>
              <a:ext uri="{FF2B5EF4-FFF2-40B4-BE49-F238E27FC236}">
                <a16:creationId xmlns:a16="http://schemas.microsoft.com/office/drawing/2014/main" id="{30B8BC4C-764A-40EC-BD05-B49359C8EAB6}"/>
              </a:ext>
            </a:extLst>
          </p:cNvPr>
          <p:cNvSpPr/>
          <p:nvPr/>
        </p:nvSpPr>
        <p:spPr>
          <a:xfrm>
            <a:off x="2362751" y="4360971"/>
            <a:ext cx="1007995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블루원레저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3" name="직선 화살표 연결선 142">
            <a:extLst>
              <a:ext uri="{FF2B5EF4-FFF2-40B4-BE49-F238E27FC236}">
                <a16:creationId xmlns:a16="http://schemas.microsoft.com/office/drawing/2014/main" id="{52AC9A5E-2B01-05A0-FE55-A57F5521469C}"/>
              </a:ext>
            </a:extLst>
          </p:cNvPr>
          <p:cNvCxnSpPr>
            <a:cxnSpLocks/>
          </p:cNvCxnSpPr>
          <p:nvPr/>
        </p:nvCxnSpPr>
        <p:spPr>
          <a:xfrm>
            <a:off x="8573989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타원 143">
            <a:extLst>
              <a:ext uri="{FF2B5EF4-FFF2-40B4-BE49-F238E27FC236}">
                <a16:creationId xmlns:a16="http://schemas.microsoft.com/office/drawing/2014/main" id="{B2399802-1271-F314-7581-8EF1EDC815F9}"/>
              </a:ext>
            </a:extLst>
          </p:cNvPr>
          <p:cNvSpPr/>
          <p:nvPr/>
        </p:nvSpPr>
        <p:spPr>
          <a:xfrm>
            <a:off x="8287557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45" name="모서리가 둥근 직사각형 167">
            <a:extLst>
              <a:ext uri="{FF2B5EF4-FFF2-40B4-BE49-F238E27FC236}">
                <a16:creationId xmlns:a16="http://schemas.microsoft.com/office/drawing/2014/main" id="{3B2BACC9-431B-DCBB-D583-68831AFDFD68}"/>
              </a:ext>
            </a:extLst>
          </p:cNvPr>
          <p:cNvSpPr/>
          <p:nvPr/>
        </p:nvSpPr>
        <p:spPr>
          <a:xfrm>
            <a:off x="8069989" y="3600739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인더스트리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6" name="직선 화살표 연결선 145">
            <a:extLst>
              <a:ext uri="{FF2B5EF4-FFF2-40B4-BE49-F238E27FC236}">
                <a16:creationId xmlns:a16="http://schemas.microsoft.com/office/drawing/2014/main" id="{07387081-3F3A-25AE-E092-E358282E762A}"/>
              </a:ext>
            </a:extLst>
          </p:cNvPr>
          <p:cNvCxnSpPr>
            <a:cxnSpLocks/>
          </p:cNvCxnSpPr>
          <p:nvPr/>
        </p:nvCxnSpPr>
        <p:spPr>
          <a:xfrm>
            <a:off x="8573989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모서리가 둥근 직사각형 167">
            <a:extLst>
              <a:ext uri="{FF2B5EF4-FFF2-40B4-BE49-F238E27FC236}">
                <a16:creationId xmlns:a16="http://schemas.microsoft.com/office/drawing/2014/main" id="{FCAB0F9E-F353-6E2D-4687-022876908629}"/>
              </a:ext>
            </a:extLst>
          </p:cNvPr>
          <p:cNvSpPr/>
          <p:nvPr/>
        </p:nvSpPr>
        <p:spPr>
          <a:xfrm>
            <a:off x="8069988" y="4360971"/>
            <a:ext cx="1007995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레인터미널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48" name="직선 화살표 연결선 147">
            <a:extLst>
              <a:ext uri="{FF2B5EF4-FFF2-40B4-BE49-F238E27FC236}">
                <a16:creationId xmlns:a16="http://schemas.microsoft.com/office/drawing/2014/main" id="{2EB5E74F-5D48-2F78-5114-AE1ABD054085}"/>
              </a:ext>
            </a:extLst>
          </p:cNvPr>
          <p:cNvCxnSpPr>
            <a:cxnSpLocks/>
          </p:cNvCxnSpPr>
          <p:nvPr/>
        </p:nvCxnSpPr>
        <p:spPr>
          <a:xfrm>
            <a:off x="7124146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타원 148">
            <a:extLst>
              <a:ext uri="{FF2B5EF4-FFF2-40B4-BE49-F238E27FC236}">
                <a16:creationId xmlns:a16="http://schemas.microsoft.com/office/drawing/2014/main" id="{3768323F-F784-E437-6393-FA52F6B4837C}"/>
              </a:ext>
            </a:extLst>
          </p:cNvPr>
          <p:cNvSpPr/>
          <p:nvPr/>
        </p:nvSpPr>
        <p:spPr>
          <a:xfrm>
            <a:off x="6829484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0" name="모서리가 둥근 직사각형 167">
            <a:extLst>
              <a:ext uri="{FF2B5EF4-FFF2-40B4-BE49-F238E27FC236}">
                <a16:creationId xmlns:a16="http://schemas.microsoft.com/office/drawing/2014/main" id="{EA2C47E1-07F3-84B8-4C82-F919CC154A32}"/>
              </a:ext>
            </a:extLst>
          </p:cNvPr>
          <p:cNvSpPr/>
          <p:nvPr/>
        </p:nvSpPr>
        <p:spPr>
          <a:xfrm>
            <a:off x="6620146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평택싸이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51" name="직선 화살표 연결선 150">
            <a:extLst>
              <a:ext uri="{FF2B5EF4-FFF2-40B4-BE49-F238E27FC236}">
                <a16:creationId xmlns:a16="http://schemas.microsoft.com/office/drawing/2014/main" id="{68724D2B-5D10-098B-7A0B-52088B58C50C}"/>
              </a:ext>
            </a:extLst>
          </p:cNvPr>
          <p:cNvCxnSpPr>
            <a:cxnSpLocks/>
          </p:cNvCxnSpPr>
          <p:nvPr/>
        </p:nvCxnSpPr>
        <p:spPr>
          <a:xfrm>
            <a:off x="7124147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모서리가 둥근 직사각형 167">
            <a:extLst>
              <a:ext uri="{FF2B5EF4-FFF2-40B4-BE49-F238E27FC236}">
                <a16:creationId xmlns:a16="http://schemas.microsoft.com/office/drawing/2014/main" id="{B8A56DD0-774E-048A-C422-ED45873939AF}"/>
              </a:ext>
            </a:extLst>
          </p:cNvPr>
          <p:cNvSpPr/>
          <p:nvPr/>
        </p:nvSpPr>
        <p:spPr>
          <a:xfrm>
            <a:off x="6620146" y="4360971"/>
            <a:ext cx="1007995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송 자회사 </a:t>
            </a:r>
            <a:r>
              <a:rPr lang="en-US" altLang="ko-KR" sz="900" b="1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2</a:t>
            </a:r>
            <a:r>
              <a:rPr lang="ko-KR" altLang="en-US" sz="900" b="1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852053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건설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건축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토목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택사업 등 건설사업 부문과 미래 성장 산업인 환경플랜트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신재생에너지 사업 등을 제공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3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누계 매출액과 영업이익이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430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771</a:t>
            </a:r>
            <a:r>
              <a:rPr lang="ko-KR" altLang="en-US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을 기록해 전년 동기 대비 각각 </a:t>
            </a:r>
            <a:r>
              <a:rPr lang="en-US" altLang="ko-KR" sz="900" b="1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7%, 269%</a:t>
            </a:r>
            <a:r>
              <a:rPr lang="ko-KR" altLang="en-US" sz="900" b="1">
                <a:solidFill>
                  <a:srgbClr val="20212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증가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양 시장이 주춤한 가운데에도 양호한 분양 성적을 거두며 미분양 부담이 없는 상태 유지</a:t>
            </a:r>
            <a:endParaRPr lang="en-US" altLang="ko-KR" sz="900" b="1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실적 향상의 주요 요인은 </a:t>
            </a:r>
            <a:r>
              <a:rPr lang="ko-KR" altLang="en-US" sz="900" i="0" err="1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양산사송</a:t>
            </a: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자체사업 준공과 종속회사를 포함해 추진 중인 사업이 본격화 한 영향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히 국내 대형 규모 사업에서 태영건설은 신규 사업 수주에 꾸준한 성과</a:t>
            </a:r>
            <a:endParaRPr lang="en-US" altLang="ko-KR" sz="900" i="0"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‘23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글로벌 사모펀드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PEF)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등으로부터 약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,0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 원의 유동성을 수혈 받고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회사인 </a:t>
            </a:r>
            <a:r>
              <a:rPr lang="ko-KR" altLang="en-US" sz="900" i="0" err="1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티와이홀딩스로부터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00</a:t>
            </a: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차입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과중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증 규모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 ‘23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년 상반기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기준 민자 사업을 제외한 태영건설이 보증한 부동산 개발 등과 관련된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F 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출 잔액은 총 </a:t>
            </a:r>
            <a:r>
              <a:rPr lang="en-US" altLang="ko-KR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6,299</a:t>
            </a: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</a:t>
            </a:r>
            <a:r>
              <a:rPr lang="ko-KR" altLang="en-US" sz="900" b="1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원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696330" y="1716363"/>
            <a:ext cx="1051729" cy="188027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ko-KR" altLang="en-US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건설</a:t>
            </a: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2107815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1140013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9524846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4338" name="Picture 2" descr="태영건설 - 나무위키">
            <a:extLst>
              <a:ext uri="{FF2B5EF4-FFF2-40B4-BE49-F238E27FC236}">
                <a16:creationId xmlns:a16="http://schemas.microsoft.com/office/drawing/2014/main" id="{0EAE532A-64A1-0986-2A38-0CAD68206F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41" y="2182763"/>
            <a:ext cx="1490371" cy="603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29731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 주요 계열사 </a:t>
            </a:r>
            <a:r>
              <a:rPr lang="en-US" altLang="ko-KR" sz="28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SBS)</a:t>
            </a:r>
            <a:endParaRPr lang="en-US" sz="28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6EC611B4-D0ED-12AF-D1DA-4B4ED0163449}"/>
              </a:ext>
            </a:extLst>
          </p:cNvPr>
          <p:cNvSpPr/>
          <p:nvPr/>
        </p:nvSpPr>
        <p:spPr>
          <a:xfrm>
            <a:off x="488950" y="1440000"/>
            <a:ext cx="1548000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 열 사</a:t>
            </a: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DBC159B1-87C0-7DDB-BF4E-EC5FE49F375B}"/>
              </a:ext>
            </a:extLst>
          </p:cNvPr>
          <p:cNvSpPr/>
          <p:nvPr/>
        </p:nvSpPr>
        <p:spPr>
          <a:xfrm>
            <a:off x="2087857" y="1440000"/>
            <a:ext cx="2340000" cy="216000"/>
          </a:xfrm>
          <a:prstGeom prst="rect">
            <a:avLst/>
          </a:prstGeom>
          <a:solidFill>
            <a:srgbClr val="649C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 업 영 역</a:t>
            </a:r>
          </a:p>
        </p:txBody>
      </p: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D08DCCC1-DFAA-9641-885C-7AE969421E0A}"/>
              </a:ext>
            </a:extLst>
          </p:cNvPr>
          <p:cNvSpPr/>
          <p:nvPr/>
        </p:nvSpPr>
        <p:spPr>
          <a:xfrm>
            <a:off x="4478764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징 및 최근 동향</a:t>
            </a:r>
          </a:p>
        </p:txBody>
      </p:sp>
      <p:sp>
        <p:nvSpPr>
          <p:cNvPr id="50" name="직사각형 49">
            <a:extLst>
              <a:ext uri="{FF2B5EF4-FFF2-40B4-BE49-F238E27FC236}">
                <a16:creationId xmlns:a16="http://schemas.microsoft.com/office/drawing/2014/main" id="{2B1A5BC6-C11F-21F8-1079-8BDD65578542}"/>
              </a:ext>
            </a:extLst>
          </p:cNvPr>
          <p:cNvSpPr/>
          <p:nvPr/>
        </p:nvSpPr>
        <p:spPr>
          <a:xfrm>
            <a:off x="6869671" y="1440000"/>
            <a:ext cx="2340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및 자금조달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386566B-C5F3-E26B-3285-C55175F2DCE0}"/>
              </a:ext>
            </a:extLst>
          </p:cNvPr>
          <p:cNvSpPr txBox="1"/>
          <p:nvPr/>
        </p:nvSpPr>
        <p:spPr>
          <a:xfrm>
            <a:off x="2087857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송 콘텐츠 기획</a:t>
            </a:r>
            <a:r>
              <a:rPr lang="en-US" altLang="ko-KR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</a:t>
            </a:r>
            <a:r>
              <a:rPr lang="en-US" altLang="ko-KR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작</a:t>
            </a:r>
            <a:r>
              <a:rPr lang="en-US" altLang="ko-KR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통</a:t>
            </a:r>
            <a:endParaRPr lang="en-US" altLang="ko-KR" sz="90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V </a:t>
            </a:r>
            <a:r>
              <a:rPr lang="ko-KR" altLang="en-US" sz="90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고 부문과 콘텐츠 사업 확장으로 성장이 예상 </a:t>
            </a:r>
            <a:endParaRPr lang="en-US" altLang="ko-KR" sz="90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DC1F4424-5E90-BC13-C300-04659DFC8594}"/>
              </a:ext>
            </a:extLst>
          </p:cNvPr>
          <p:cNvSpPr/>
          <p:nvPr/>
        </p:nvSpPr>
        <p:spPr>
          <a:xfrm>
            <a:off x="488949" y="1813560"/>
            <a:ext cx="8720721" cy="1513840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D21BA0-AF97-11A1-BD52-C042E0043BBC}"/>
              </a:ext>
            </a:extLst>
          </p:cNvPr>
          <p:cNvSpPr txBox="1"/>
          <p:nvPr/>
        </p:nvSpPr>
        <p:spPr>
          <a:xfrm>
            <a:off x="4478764" y="1837651"/>
            <a:ext cx="2340000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언론사들 모두 실적 좋았으며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SBS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는 처음으로 매출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돌파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3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분기 별도기준 매출은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,609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전년 동기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,917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대비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6%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증가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같은 기간 영업이익은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46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으로 전년 동기 </a:t>
            </a:r>
            <a:r>
              <a:rPr lang="en-US" altLang="ko-KR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8</a:t>
            </a:r>
            <a:r>
              <a:rPr lang="ko-KR" altLang="en-US" sz="900" b="0" i="0">
                <a:solidFill>
                  <a:srgbClr val="202122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에서 적자전환</a:t>
            </a:r>
            <a:endParaRPr lang="en-US" altLang="ko-KR" sz="900" b="0" i="0">
              <a:solidFill>
                <a:srgbClr val="202122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B6DB16-1DA0-9799-F781-29BCAD04F42E}"/>
              </a:ext>
            </a:extLst>
          </p:cNvPr>
          <p:cNvSpPr txBox="1"/>
          <p:nvPr/>
        </p:nvSpPr>
        <p:spPr>
          <a:xfrm>
            <a:off x="6869670" y="1837651"/>
            <a:ext cx="2339999" cy="144311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900" i="0">
                <a:solidFill>
                  <a:srgbClr val="000000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디어기업이 콘텐츠 사업에 공을 들이면서 해당 부분에 투자가 많이 이루어질 것으로 예상됨</a:t>
            </a:r>
            <a:endParaRPr lang="en-US" altLang="ko-KR" sz="900" i="0">
              <a:solidFill>
                <a:srgbClr val="000000"/>
              </a:solidFill>
              <a:effectLst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9FF616-0E91-22E6-212E-41649E5A4706}"/>
              </a:ext>
            </a:extLst>
          </p:cNvPr>
          <p:cNvSpPr txBox="1"/>
          <p:nvPr/>
        </p:nvSpPr>
        <p:spPr>
          <a:xfrm>
            <a:off x="831273" y="1707464"/>
            <a:ext cx="868218" cy="245055"/>
          </a:xfrm>
          <a:prstGeom prst="rect">
            <a:avLst/>
          </a:prstGeom>
          <a:solidFill>
            <a:schemeClr val="bg1"/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kumimoji="1" lang="en-US" altLang="ko-KR" sz="11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</a:t>
            </a:r>
            <a:endParaRPr kumimoji="1" lang="ko-KR" altLang="en-US" sz="11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14" name="차트 13">
            <a:extLst>
              <a:ext uri="{FF2B5EF4-FFF2-40B4-BE49-F238E27FC236}">
                <a16:creationId xmlns:a16="http://schemas.microsoft.com/office/drawing/2014/main" id="{509F6B21-113D-116C-F39E-719EA1CD9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679905"/>
              </p:ext>
            </p:extLst>
          </p:nvPr>
        </p:nvGraphicFramePr>
        <p:xfrm>
          <a:off x="5046662" y="3433495"/>
          <a:ext cx="4369185" cy="258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차트 14">
            <a:extLst>
              <a:ext uri="{FF2B5EF4-FFF2-40B4-BE49-F238E27FC236}">
                <a16:creationId xmlns:a16="http://schemas.microsoft.com/office/drawing/2014/main" id="{FE6124B8-5473-900A-4361-A68D629354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1166517"/>
              </p:ext>
            </p:extLst>
          </p:nvPr>
        </p:nvGraphicFramePr>
        <p:xfrm>
          <a:off x="488950" y="4896065"/>
          <a:ext cx="4370388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C58FF07-3FCF-DE14-E439-B6E9081A7A30}"/>
              </a:ext>
            </a:extLst>
          </p:cNvPr>
          <p:cNvSpPr txBox="1"/>
          <p:nvPr/>
        </p:nvSpPr>
        <p:spPr>
          <a:xfrm>
            <a:off x="490153" y="4669477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이자보상배율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9B774-DAB3-2429-3593-CE0BFDDCC4CD}"/>
              </a:ext>
            </a:extLst>
          </p:cNvPr>
          <p:cNvSpPr txBox="1"/>
          <p:nvPr/>
        </p:nvSpPr>
        <p:spPr>
          <a:xfrm>
            <a:off x="5046663" y="3369473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altLang="ko-KR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Financ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D8FFC6-17A4-970D-82E6-E1FF5AAB7451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934C9E-0D49-0FE8-3D15-0E3C75A9F42D}"/>
              </a:ext>
            </a:extLst>
          </p:cNvPr>
          <p:cNvSpPr txBox="1"/>
          <p:nvPr/>
        </p:nvSpPr>
        <p:spPr>
          <a:xfrm>
            <a:off x="488949" y="3364915"/>
            <a:ext cx="1999968" cy="1848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ko-KR" altLang="en-US" sz="900">
                <a:solidFill>
                  <a:schemeClr val="tx2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손익지표 추이</a:t>
            </a:r>
            <a:endParaRPr lang="en-US" altLang="ko-KR" sz="900">
              <a:solidFill>
                <a:schemeClr val="tx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graphicFrame>
        <p:nvGraphicFramePr>
          <p:cNvPr id="23" name="차트 22">
            <a:extLst>
              <a:ext uri="{FF2B5EF4-FFF2-40B4-BE49-F238E27FC236}">
                <a16:creationId xmlns:a16="http://schemas.microsoft.com/office/drawing/2014/main" id="{67039865-E4B1-0438-0B09-5FFEE70FE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8503104"/>
              </p:ext>
            </p:extLst>
          </p:nvPr>
        </p:nvGraphicFramePr>
        <p:xfrm>
          <a:off x="488948" y="3557278"/>
          <a:ext cx="4972960" cy="1207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DF742EFD-D9D5-B0EE-651B-D6801935C5F9}"/>
              </a:ext>
            </a:extLst>
          </p:cNvPr>
          <p:cNvSpPr txBox="1"/>
          <p:nvPr/>
        </p:nvSpPr>
        <p:spPr>
          <a:xfrm>
            <a:off x="8573029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CADE395-FB03-029D-3228-20F5CD8486C6}"/>
              </a:ext>
            </a:extLst>
          </p:cNvPr>
          <p:cNvSpPr txBox="1"/>
          <p:nvPr/>
        </p:nvSpPr>
        <p:spPr>
          <a:xfrm>
            <a:off x="4077460" y="3395745"/>
            <a:ext cx="996089" cy="21544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단위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 : </a:t>
            </a:r>
            <a:r>
              <a:rPr lang="ko-KR" altLang="en-US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억원</a:t>
            </a:r>
            <a:r>
              <a:rPr lang="en-US" altLang="ko-KR" sz="80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, %) </a:t>
            </a:r>
            <a:endParaRPr lang="en-US" altLang="ko-KR" sz="800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79A26ED6-68D0-04FD-5626-E3FEBC73F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30" y="1959988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451426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별첨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 매물화 가능성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AAEA3DB1-9E6A-946E-522A-9E392DB13ED5}"/>
              </a:ext>
            </a:extLst>
          </p:cNvPr>
          <p:cNvSpPr/>
          <p:nvPr/>
        </p:nvSpPr>
        <p:spPr>
          <a:xfrm>
            <a:off x="488950" y="1724907"/>
            <a:ext cx="6002244" cy="244069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ko-KR" altLang="en-US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체제 굳히며 </a:t>
            </a:r>
            <a:r>
              <a:rPr lang="ko-KR" altLang="en-US" sz="12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너쉽</a:t>
            </a:r>
            <a:r>
              <a:rPr lang="ko-KR" altLang="en-US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강화</a:t>
            </a:r>
            <a:r>
              <a:rPr lang="en-US" altLang="ko-KR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··SBS </a:t>
            </a:r>
            <a:r>
              <a:rPr lang="ko-KR" altLang="en-US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처리 숙제 </a:t>
            </a:r>
            <a:r>
              <a:rPr lang="en-US" altLang="ko-KR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3)</a:t>
            </a:r>
          </a:p>
          <a:p>
            <a:pPr>
              <a:buClr>
                <a:srgbClr val="00338D"/>
              </a:buClr>
            </a:pPr>
            <a:endParaRPr lang="en-US" altLang="ko-KR" sz="12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전략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…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은 지난해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대기업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상호출자제한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단으로 지정됐다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산규모가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원을 넘어섰기 때문이다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행법에 따르면 대기업집단은 방송사의 지분을 </a:t>
            </a:r>
            <a:r>
              <a:rPr lang="en-US" altLang="ko-KR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%</a:t>
            </a:r>
            <a:r>
              <a:rPr lang="ko-KR" altLang="en-US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넘겨서 소유할 수 없다</a:t>
            </a:r>
            <a:r>
              <a:rPr lang="en-US" altLang="ko-KR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난해 말 사업보고서에 따르면 태영그룹은 지주사인 </a:t>
            </a:r>
            <a:r>
              <a:rPr lang="en-US" altLang="ko-KR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Y</a:t>
            </a:r>
            <a:r>
              <a:rPr lang="ko-KR" altLang="en-US" sz="11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가</a:t>
            </a:r>
            <a:r>
              <a:rPr lang="ko-KR" altLang="en-US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</a:t>
            </a:r>
            <a:r>
              <a:rPr lang="ko-KR" altLang="en-US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 지분 </a:t>
            </a:r>
            <a:r>
              <a:rPr lang="en-US" altLang="ko-KR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6.92%</a:t>
            </a:r>
            <a:r>
              <a:rPr lang="ko-KR" altLang="en-US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소유하고 있다</a:t>
            </a:r>
            <a:r>
              <a:rPr lang="en-US" altLang="ko-KR" sz="11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…(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략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…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은 방송법의 부칙에 따라 지분을 정리할 필요가 없다는 입장이다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'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방송법 부칙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는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00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방송법 제정 이전에 방송사업 허가를 받은 사업자가 대기업으로 성장하는 경우 소유 제한 규정과 관계없이 원래 지분을 인정하도록 하고 있다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1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11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약 방송통신위원회가 부칙 적용을 인정하지 않으면 태영그룹은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Y</a:t>
            </a:r>
            <a:r>
              <a:rPr lang="ko-KR" altLang="en-US" sz="11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가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소유한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%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만으로 낮추거나 그룹의 자산총액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이하로 줄여야 한다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을 매각하게 되면 </a:t>
            </a:r>
            <a:r>
              <a:rPr lang="ko-KR" altLang="en-US" sz="11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대주주로서의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위와 지배력을 잃게 될 수도 있다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.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D369F969-DBBB-4B03-1FC9-8BD8FD03716C}"/>
              </a:ext>
            </a:extLst>
          </p:cNvPr>
          <p:cNvSpPr/>
          <p:nvPr/>
        </p:nvSpPr>
        <p:spPr>
          <a:xfrm>
            <a:off x="6555363" y="1724907"/>
            <a:ext cx="2861687" cy="2440693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영그룹은 현재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의결권을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%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제한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는 공문을 받은 상황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칙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9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가 미적용 시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기존 지분을 팔아 지분을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%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만으로 낮추거나 태영그룹의 자산총액을 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이하로 줄이는 방법 뿐</a:t>
            </a:r>
            <a:endParaRPr lang="en-US" altLang="ko-KR" sz="1200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TY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홀딩스 보유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BS 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 중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% </a:t>
            </a:r>
            <a:r>
              <a:rPr lang="ko-KR" altLang="en-US" sz="1200" b="1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과분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6.9%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매물화 가능성 존재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5" name="표 17">
            <a:extLst>
              <a:ext uri="{FF2B5EF4-FFF2-40B4-BE49-F238E27FC236}">
                <a16:creationId xmlns:a16="http://schemas.microsoft.com/office/drawing/2014/main" id="{6EE4E39F-30BE-D458-C7BD-6ADA7CB732F0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회사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6" name="표 5">
            <a:extLst>
              <a:ext uri="{FF2B5EF4-FFF2-40B4-BE49-F238E27FC236}">
                <a16:creationId xmlns:a16="http://schemas.microsoft.com/office/drawing/2014/main" id="{7DC2B7CB-172D-10BC-1E08-1381F8CFE3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885404"/>
              </p:ext>
            </p:extLst>
          </p:nvPr>
        </p:nvGraphicFramePr>
        <p:xfrm>
          <a:off x="488950" y="1421847"/>
          <a:ext cx="6002244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02244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관련 언론보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6B47E63A-3A26-DA28-2C55-1C26EA554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85494"/>
              </p:ext>
            </p:extLst>
          </p:nvPr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응방안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pic>
        <p:nvPicPr>
          <p:cNvPr id="1026" name="Picture 2" descr="태영그룹 - 나무위키">
            <a:extLst>
              <a:ext uri="{FF2B5EF4-FFF2-40B4-BE49-F238E27FC236}">
                <a16:creationId xmlns:a16="http://schemas.microsoft.com/office/drawing/2014/main" id="{66EDFC97-DD55-B65E-C584-7EA5108AFB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835" y="1780326"/>
            <a:ext cx="1764145" cy="385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표 8">
            <a:extLst>
              <a:ext uri="{FF2B5EF4-FFF2-40B4-BE49-F238E27FC236}">
                <a16:creationId xmlns:a16="http://schemas.microsoft.com/office/drawing/2014/main" id="{D25F2AC5-23FA-F393-9E20-DA625F604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143838"/>
              </p:ext>
            </p:extLst>
          </p:nvPr>
        </p:nvGraphicFramePr>
        <p:xfrm>
          <a:off x="488950" y="4252799"/>
          <a:ext cx="892810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28100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유사 사례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23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10" name="직사각형 9">
            <a:extLst>
              <a:ext uri="{FF2B5EF4-FFF2-40B4-BE49-F238E27FC236}">
                <a16:creationId xmlns:a16="http://schemas.microsoft.com/office/drawing/2014/main" id="{74BD1ED7-727B-A581-3C71-3F74AC6D0165}"/>
              </a:ext>
            </a:extLst>
          </p:cNvPr>
          <p:cNvSpPr/>
          <p:nvPr/>
        </p:nvSpPr>
        <p:spPr>
          <a:xfrm>
            <a:off x="488950" y="4574603"/>
            <a:ext cx="8928100" cy="166918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ko-KR" altLang="en-US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  울산방송 최대주주 삼라의 지분처리 숙제</a:t>
            </a:r>
            <a:endParaRPr lang="en-US" altLang="ko-KR" sz="12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M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의 삼라는 </a:t>
            </a:r>
            <a:r>
              <a:rPr lang="ko-KR" altLang="en-US" sz="11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상파방송사업자인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울산방송의 주식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%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소유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b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M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은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1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상호출자제한기업집단으로 지정됐고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해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일 방통위는 삼라에 대해 초과지분 처분 시정명령을 내림</a:t>
            </a:r>
            <a:b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2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삼라에 대해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 시정명령을 부과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&amp;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시정명령 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개월 이내에 위반사항을 해소하지 못할 시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이하 징역 또는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만원 이하 벌금</a:t>
            </a:r>
            <a:b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sym typeface="Wingdings" panose="05000000000000000000" pitchFamily="2" charset="2"/>
              </a:rPr>
              <a:t>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삼라 관계자는 초과지분 해소를 위해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구노력을 다하고 있다고 발표</a:t>
            </a:r>
            <a:endParaRPr lang="en-US" altLang="ko-KR" sz="11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8D"/>
              </a:buClr>
              <a:buSzTx/>
              <a:buFontTx/>
              <a:buNone/>
              <a:tabLst/>
              <a:defRPr/>
            </a:pPr>
            <a:r>
              <a:rPr lang="ko-KR" altLang="en-US" sz="12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   광주방송 최대주주 호반건설의 지분처리 숙제</a:t>
            </a:r>
            <a:endParaRPr kumimoji="0" lang="en-US" altLang="ko-KR" sz="12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  <a:cs typeface="+mn-cs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  <a:cs typeface="+mn-cs"/>
              </a:rPr>
              <a:t>과거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주방송의 </a:t>
            </a:r>
            <a:r>
              <a:rPr lang="ko-KR" altLang="en-US" sz="11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다출자자였던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호반건설은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1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광주방송 지분을 유한회사에 처분하는 방법으로 방송법 위반 사유 해소</a:t>
            </a:r>
            <a:endParaRPr lang="en-US" altLang="ko-KR" sz="11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반건설과 </a:t>
            </a:r>
            <a:r>
              <a:rPr lang="ko-KR" altLang="en-US" sz="11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호반프라퍼티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태성문화재단 등은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’21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월 광주방송 지분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5.0%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유한회사 </a:t>
            </a:r>
            <a:r>
              <a:rPr lang="ko-KR" altLang="en-US" sz="1100" err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이디투자에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처분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재 광주방송의 최대주주는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KBC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와 그 특수관계자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율 </a:t>
            </a:r>
            <a:r>
              <a:rPr lang="en-US" altLang="ko-KR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0%)</a:t>
            </a:r>
            <a:r>
              <a:rPr lang="ko-KR" altLang="en-US" sz="11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로 변경</a:t>
            </a:r>
            <a:endParaRPr lang="en-US" altLang="ko-KR" sz="11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" name="순서도: 연결자 10">
            <a:extLst>
              <a:ext uri="{FF2B5EF4-FFF2-40B4-BE49-F238E27FC236}">
                <a16:creationId xmlns:a16="http://schemas.microsoft.com/office/drawing/2014/main" id="{5A7E18A1-E44F-D875-0773-0BCE8EED6FED}"/>
              </a:ext>
            </a:extLst>
          </p:cNvPr>
          <p:cNvSpPr/>
          <p:nvPr/>
        </p:nvSpPr>
        <p:spPr bwMode="auto">
          <a:xfrm>
            <a:off x="525033" y="4597895"/>
            <a:ext cx="180000" cy="180000"/>
          </a:xfrm>
          <a:prstGeom prst="flowChartConnector">
            <a:avLst/>
          </a:prstGeom>
          <a:solidFill>
            <a:srgbClr val="00338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715000" algn="l"/>
              </a:tabLst>
              <a:defRPr/>
            </a:pPr>
            <a:r>
              <a:rPr kumimoji="0" lang="en-US" altLang="ko-KR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1</a:t>
            </a:r>
            <a:endParaRPr kumimoji="0" lang="ko-KR" altLang="en-US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2" name="순서도: 연결자 11">
            <a:extLst>
              <a:ext uri="{FF2B5EF4-FFF2-40B4-BE49-F238E27FC236}">
                <a16:creationId xmlns:a16="http://schemas.microsoft.com/office/drawing/2014/main" id="{FEC1E4CC-117E-532F-6A87-C2A47B578A9E}"/>
              </a:ext>
            </a:extLst>
          </p:cNvPr>
          <p:cNvSpPr/>
          <p:nvPr/>
        </p:nvSpPr>
        <p:spPr bwMode="auto">
          <a:xfrm>
            <a:off x="525033" y="5498441"/>
            <a:ext cx="180000" cy="180000"/>
          </a:xfrm>
          <a:prstGeom prst="flowChartConnector">
            <a:avLst/>
          </a:prstGeom>
          <a:solidFill>
            <a:srgbClr val="00338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715000" algn="l"/>
              </a:tabLst>
              <a:defRPr/>
            </a:pPr>
            <a:r>
              <a:rPr kumimoji="0" lang="en-US" altLang="ko-KR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2</a:t>
            </a:r>
            <a:endParaRPr kumimoji="0" lang="ko-KR" altLang="en-US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347A19-12BF-7C88-8100-8792F1324031}"/>
              </a:ext>
            </a:extLst>
          </p:cNvPr>
          <p:cNvSpPr txBox="1"/>
          <p:nvPr/>
        </p:nvSpPr>
        <p:spPr>
          <a:xfrm>
            <a:off x="488948" y="626728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230622515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ko-KR" altLang="en-US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스타트업 소수지분 보유 집단</a:t>
            </a:r>
            <a:br>
              <a:rPr lang="en-US" altLang="ko-KR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br>
              <a:rPr lang="en-US" altLang="ko-KR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20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(1) </a:t>
            </a:r>
            <a:r>
              <a:rPr lang="ko-KR" altLang="en-US" sz="20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네이버</a:t>
            </a:r>
            <a:br>
              <a:rPr lang="en-US" altLang="ko-KR" sz="200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endParaRPr lang="ko-KR" altLang="en-US" sz="2000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682306C5-EC26-49DF-918A-91B791999B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ko-KR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III.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DDE1CBD-A657-811F-B5CC-72123F3CE8D9}"/>
              </a:ext>
            </a:extLst>
          </p:cNvPr>
          <p:cNvSpPr/>
          <p:nvPr/>
        </p:nvSpPr>
        <p:spPr>
          <a:xfrm>
            <a:off x="-2114550" y="76200"/>
            <a:ext cx="1409700" cy="790575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55948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네이버 로고">
            <a:extLst>
              <a:ext uri="{FF2B5EF4-FFF2-40B4-BE49-F238E27FC236}">
                <a16:creationId xmlns:a16="http://schemas.microsoft.com/office/drawing/2014/main" id="{41109C14-AF38-8CC4-23A7-4A595648C0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8" b="25945"/>
          <a:stretch/>
        </p:blipFill>
        <p:spPr bwMode="auto">
          <a:xfrm>
            <a:off x="497112" y="3261781"/>
            <a:ext cx="826504" cy="19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조달 필요성 </a:t>
            </a:r>
            <a:r>
              <a:rPr lang="en-US" altLang="ko-KR" sz="2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</a:t>
            </a:r>
            <a:endParaRPr lang="en-US" sz="24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CEA1077C-39CF-01D5-BF60-FBBBD40ACDFB}"/>
              </a:ext>
            </a:extLst>
          </p:cNvPr>
          <p:cNvSpPr/>
          <p:nvPr/>
        </p:nvSpPr>
        <p:spPr>
          <a:xfrm>
            <a:off x="488950" y="1724907"/>
            <a:ext cx="826503" cy="35522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551998E-0BF2-97B1-777E-3745978E4215}"/>
              </a:ext>
            </a:extLst>
          </p:cNvPr>
          <p:cNvSpPr/>
          <p:nvPr/>
        </p:nvSpPr>
        <p:spPr>
          <a:xfrm>
            <a:off x="1379622" y="1724906"/>
            <a:ext cx="5111572" cy="3552265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건 회수해와라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지부진한 투자 성과에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명내린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네이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2.10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트폴리오 기업 부진한 성과에 </a:t>
            </a:r>
            <a:r>
              <a:rPr lang="ko-KR" altLang="en-US" sz="9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처펀드 출자 중단</a:t>
            </a:r>
            <a:endParaRPr lang="en-US" altLang="ko-KR" sz="9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사와 계열사에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금지 및 회수’ 특명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9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처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큰 손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늘의집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 매각 추진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스타트업 지분 매각 통해 선제적 투자금 확보 노력</a:t>
            </a:r>
            <a:b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는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버킷플레이스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늘의집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~7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곳의 투자 스타트업 지분 매각을 추진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각 대상은 네이버와 사업적 연관성이 적은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타트업들을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선별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90487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tabLst/>
              <a:defRPr/>
            </a:pPr>
            <a:endParaRPr lang="en-US" altLang="ko-KR" sz="900" b="1" u="sng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C2C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인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美유니콘 지분 매각 추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1)</a:t>
            </a:r>
            <a:endParaRPr lang="ko-KR" altLang="en-US" sz="105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8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투자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kumimoji="0" lang="ko-KR" altLang="en-US" sz="900" b="1" i="0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허니북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, '</a:t>
            </a:r>
            <a:r>
              <a:rPr kumimoji="0" lang="ko-KR" altLang="en-US" sz="900" b="1" i="0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탬플리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 매각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타트업 지분 매각 후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확대 계획</a:t>
            </a:r>
            <a:b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는 지난해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수연 대표 취임 이후 스타트업 투자에 있어 소수 지분 확보 보다는 대규모 투자로 경영권을 갖는 방향으로 투자 정책을 변경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〮〮〮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연관성이 적은 스타트업 지분을 매각해 현금을 확보하고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를 바탕으로 다양한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확대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려는 것</a:t>
            </a:r>
            <a:endParaRPr lang="en-US" altLang="ko-KR" sz="900">
              <a:solidFill>
                <a:srgbClr val="7F7F7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 “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I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중”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교 빌딩 팔아 현금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대 확보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8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펀드 매각 통해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,000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실탄 확보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AI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 대규모 투자 계획</a:t>
            </a:r>
            <a:endParaRPr kumimoji="0" lang="en-US" altLang="ko-KR" sz="9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90487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tabLst/>
              <a:defRPr/>
            </a:pPr>
            <a:endParaRPr lang="en-US" altLang="ko-KR" sz="10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금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 적자 누적 카카오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금 확보 비상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9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공지능 등 신사업 확장에 자금 필요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버킷플레이스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퓨처플레이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lang="ko-KR" altLang="en-US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유망 스타트업 지분 정리 노력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1641B38-1285-8CB7-D8AE-AC4E2F574E72}"/>
              </a:ext>
            </a:extLst>
          </p:cNvPr>
          <p:cNvSpPr/>
          <p:nvPr/>
        </p:nvSpPr>
        <p:spPr>
          <a:xfrm>
            <a:off x="6555363" y="1724907"/>
            <a:ext cx="2861687" cy="3552264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은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공지능 등 신사업 확장에 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필요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재원 마련 위해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매각 및 </a:t>
            </a:r>
            <a:r>
              <a:rPr lang="ko-KR" altLang="en-US" sz="12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연관성이 적은 국내외 스타트업 보유 지분 매각 추진 중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BC0CAF-3A94-1E11-ADDE-96196F47F97E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235182667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네이버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106761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네이버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이해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경기도 성남시 분당구 정자일로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95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9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3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,79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71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53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4" name="직사각형 13">
            <a:extLst>
              <a:ext uri="{FF2B5EF4-FFF2-40B4-BE49-F238E27FC236}">
                <a16:creationId xmlns:a16="http://schemas.microsoft.com/office/drawing/2014/main" id="{62B6B4A7-0840-4D30-D68F-23E39E9DC252}"/>
              </a:ext>
            </a:extLst>
          </p:cNvPr>
          <p:cNvSpPr/>
          <p:nvPr/>
        </p:nvSpPr>
        <p:spPr>
          <a:xfrm>
            <a:off x="10792565" y="8493056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영유아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726383AC-8D03-878E-D03D-F1879E3A5B5E}"/>
              </a:ext>
            </a:extLst>
          </p:cNvPr>
          <p:cNvSpPr/>
          <p:nvPr/>
        </p:nvSpPr>
        <p:spPr>
          <a:xfrm>
            <a:off x="10792565" y="894196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초등학생</a:t>
            </a: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중학생</a:t>
            </a:r>
            <a:b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고등학생</a:t>
            </a: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B315E03B-FCAC-57CB-E188-4B51B4D714BB}"/>
              </a:ext>
            </a:extLst>
          </p:cNvPr>
          <p:cNvSpPr/>
          <p:nvPr/>
        </p:nvSpPr>
        <p:spPr>
          <a:xfrm>
            <a:off x="10792565" y="9390868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학생 </a:t>
            </a: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57FF4C5E-8841-659E-6559-F831F1FB6F82}"/>
              </a:ext>
            </a:extLst>
          </p:cNvPr>
          <p:cNvSpPr/>
          <p:nvPr/>
        </p:nvSpPr>
        <p:spPr>
          <a:xfrm>
            <a:off x="10792565" y="9839774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성인</a:t>
            </a: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DD7F1845-04E3-5EEB-197D-6C76E0A28077}"/>
              </a:ext>
            </a:extLst>
          </p:cNvPr>
          <p:cNvSpPr/>
          <p:nvPr/>
        </p:nvSpPr>
        <p:spPr>
          <a:xfrm>
            <a:off x="10792565" y="10288682"/>
            <a:ext cx="1159567" cy="360000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근로자</a:t>
            </a:r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9139F042-40C6-65CC-55FB-FCF6511141C4}"/>
              </a:ext>
            </a:extLst>
          </p:cNvPr>
          <p:cNvCxnSpPr>
            <a:cxnSpLocks/>
          </p:cNvCxnSpPr>
          <p:nvPr/>
        </p:nvCxnSpPr>
        <p:spPr>
          <a:xfrm>
            <a:off x="81115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9959F6D5-458A-4E0B-0A25-EC0B1F9A5A0E}"/>
              </a:ext>
            </a:extLst>
          </p:cNvPr>
          <p:cNvSpPr/>
          <p:nvPr/>
        </p:nvSpPr>
        <p:spPr>
          <a:xfrm>
            <a:off x="10734301" y="8406708"/>
            <a:ext cx="1275521" cy="2310494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0B13F233-2A0D-7205-08A0-885728588840}"/>
              </a:ext>
            </a:extLst>
          </p:cNvPr>
          <p:cNvCxnSpPr>
            <a:cxnSpLocks/>
          </p:cNvCxnSpPr>
          <p:nvPr/>
        </p:nvCxnSpPr>
        <p:spPr>
          <a:xfrm>
            <a:off x="9744406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연결선 28">
            <a:extLst>
              <a:ext uri="{FF2B5EF4-FFF2-40B4-BE49-F238E27FC236}">
                <a16:creationId xmlns:a16="http://schemas.microsoft.com/office/drawing/2014/main" id="{35F0795E-7704-CF8D-13C7-006E192F450D}"/>
              </a:ext>
            </a:extLst>
          </p:cNvPr>
          <p:cNvCxnSpPr>
            <a:cxnSpLocks/>
          </p:cNvCxnSpPr>
          <p:nvPr/>
        </p:nvCxnSpPr>
        <p:spPr>
          <a:xfrm>
            <a:off x="9744406" y="8919727"/>
            <a:ext cx="0" cy="935287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CA93D520-6CE6-472B-E93A-1B0FC20D7022}"/>
              </a:ext>
            </a:extLst>
          </p:cNvPr>
          <p:cNvCxnSpPr>
            <a:cxnSpLocks/>
          </p:cNvCxnSpPr>
          <p:nvPr/>
        </p:nvCxnSpPr>
        <p:spPr>
          <a:xfrm>
            <a:off x="11372348" y="8155250"/>
            <a:ext cx="0" cy="252000"/>
          </a:xfrm>
          <a:prstGeom prst="line">
            <a:avLst/>
          </a:prstGeom>
          <a:ln>
            <a:solidFill>
              <a:srgbClr val="00338D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A4CF2A07-6A49-AF19-DDBA-E2245EC7F71C}"/>
              </a:ext>
            </a:extLst>
          </p:cNvPr>
          <p:cNvSpPr/>
          <p:nvPr/>
        </p:nvSpPr>
        <p:spPr>
          <a:xfrm>
            <a:off x="9166856" y="8449155"/>
            <a:ext cx="1159567" cy="419141"/>
          </a:xfrm>
          <a:prstGeom prst="rect">
            <a:avLst/>
          </a:prstGeom>
          <a:solidFill>
            <a:srgbClr val="E5F4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학생 진로 상담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원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b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 임직원 </a:t>
            </a:r>
            <a:r>
              <a:rPr lang="en-US" altLang="ko-KR" sz="1000" b="1" spc="-1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EAP</a:t>
            </a:r>
            <a:r>
              <a:rPr lang="en-US" altLang="ko-KR" sz="1000" b="1" spc="-100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</a:t>
            </a:r>
            <a:endParaRPr lang="ko-KR" altLang="en-US" sz="1000" b="1" spc="-10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BA770611-577F-67C4-11D8-9D47D9EAC3FE}"/>
              </a:ext>
            </a:extLst>
          </p:cNvPr>
          <p:cNvSpPr/>
          <p:nvPr/>
        </p:nvSpPr>
        <p:spPr>
          <a:xfrm>
            <a:off x="9106644" y="8415944"/>
            <a:ext cx="1275523" cy="492699"/>
          </a:xfrm>
          <a:prstGeom prst="rect">
            <a:avLst/>
          </a:prstGeom>
          <a:noFill/>
          <a:ln w="9525">
            <a:solidFill>
              <a:srgbClr val="00338D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네이버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3834182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,74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,6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8,7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,62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8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8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.4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65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41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0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0,02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0,37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1,79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6,59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2,9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7,1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.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.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.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네이버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0883A176-F6CF-E0C0-C74F-C64C05347AFD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서치플랫폼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/</a:t>
            </a:r>
          </a:p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769F3728-A95E-B4C8-374E-1F61C5D9D4FC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커머스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95FBE2C6-27C1-FD31-7059-9B5F37E4D047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핀테크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2F116F0-A750-7D4B-423B-5A00462A6B4C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C43C168B-CA93-611A-E773-1518ED15699B}"/>
              </a:ext>
            </a:extLst>
          </p:cNvPr>
          <p:cNvSpPr/>
          <p:nvPr/>
        </p:nvSpPr>
        <p:spPr>
          <a:xfrm>
            <a:off x="5076000" y="2549292"/>
            <a:ext cx="1044001" cy="1460516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D0EB0B8B-0201-5BD4-A508-161A4D4D17DF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콘텐츠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1233E059-D40D-CB87-E823-13BAC32BA4FC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b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마트스토어</a:t>
            </a:r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68AA4776-362A-B295-81A6-80A31521079C}"/>
              </a:ext>
            </a:extLst>
          </p:cNvPr>
          <p:cNvSpPr/>
          <p:nvPr/>
        </p:nvSpPr>
        <p:spPr>
          <a:xfrm>
            <a:off x="6162200" y="2549291"/>
            <a:ext cx="1044001" cy="1460516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77349F4C-66A3-120F-6C63-B2536BA0C38A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파이낸셜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266D3D57-776C-7627-F8C4-4C026A314244}"/>
              </a:ext>
            </a:extLst>
          </p:cNvPr>
          <p:cNvSpPr/>
          <p:nvPr/>
        </p:nvSpPr>
        <p:spPr>
          <a:xfrm>
            <a:off x="7248399" y="2549291"/>
            <a:ext cx="1044001" cy="516162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04F9785C-1F8D-0B49-54D0-E63E33A3800A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웹툰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449BE2EE-9CBF-80EB-0610-84AB4A7C1D01}"/>
              </a:ext>
            </a:extLst>
          </p:cNvPr>
          <p:cNvSpPr/>
          <p:nvPr/>
        </p:nvSpPr>
        <p:spPr>
          <a:xfrm>
            <a:off x="8328788" y="2549291"/>
            <a:ext cx="1044001" cy="1460516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10360EC0-2223-628A-8F6B-FA8C7B45F52D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클라우드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A3A4BC23-C751-3FCB-D621-E32C82C19811}"/>
              </a:ext>
            </a:extLst>
          </p:cNvPr>
          <p:cNvSpPr/>
          <p:nvPr/>
        </p:nvSpPr>
        <p:spPr>
          <a:xfrm>
            <a:off x="8380040" y="3065453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노우</a:t>
            </a:r>
          </a:p>
        </p:txBody>
      </p:sp>
      <p:sp>
        <p:nvSpPr>
          <p:cNvPr id="54" name="직사각형 53">
            <a:extLst>
              <a:ext uri="{FF2B5EF4-FFF2-40B4-BE49-F238E27FC236}">
                <a16:creationId xmlns:a16="http://schemas.microsoft.com/office/drawing/2014/main" id="{40B9ED96-2F83-0936-52FD-D52A1DE5A64F}"/>
              </a:ext>
            </a:extLst>
          </p:cNvPr>
          <p:cNvSpPr/>
          <p:nvPr/>
        </p:nvSpPr>
        <p:spPr>
          <a:xfrm>
            <a:off x="8380040" y="3539795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케트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E7A8A812-9AFF-37CE-49EB-1EF87E7E74D4}"/>
              </a:ext>
            </a:extLst>
          </p:cNvPr>
          <p:cNvSpPr/>
          <p:nvPr/>
        </p:nvSpPr>
        <p:spPr>
          <a:xfrm>
            <a:off x="5125647" y="3539794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라인플러스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52D88FE8-993F-8D11-741C-3390A4547548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oshmark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46D19780-37CC-7263-5894-85F249E845B3}"/>
              </a:ext>
            </a:extLst>
          </p:cNvPr>
          <p:cNvSpPr/>
          <p:nvPr/>
        </p:nvSpPr>
        <p:spPr>
          <a:xfrm>
            <a:off x="6213452" y="3539794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크림</a:t>
            </a:r>
          </a:p>
        </p:txBody>
      </p:sp>
    </p:spTree>
    <p:extLst>
      <p:ext uri="{BB962C8B-B14F-4D97-AF65-F5344CB8AC3E}">
        <p14:creationId xmlns:p14="http://schemas.microsoft.com/office/powerpoint/2010/main" val="41837404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네이버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 지분구조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모서리가 둥근 직사각형 167">
            <a:extLst>
              <a:ext uri="{FF2B5EF4-FFF2-40B4-BE49-F238E27FC236}">
                <a16:creationId xmlns:a16="http://schemas.microsoft.com/office/drawing/2014/main" id="{1CD961FF-8AF4-264F-A69D-BE096CB8C702}"/>
              </a:ext>
            </a:extLst>
          </p:cNvPr>
          <p:cNvSpPr/>
          <p:nvPr/>
        </p:nvSpPr>
        <p:spPr>
          <a:xfrm>
            <a:off x="4450131" y="2535959"/>
            <a:ext cx="1008000" cy="360000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45973D29-2C48-FFD5-6929-D2F9E7BD91A7}"/>
              </a:ext>
            </a:extLst>
          </p:cNvPr>
          <p:cNvCxnSpPr>
            <a:cxnSpLocks/>
          </p:cNvCxnSpPr>
          <p:nvPr/>
        </p:nvCxnSpPr>
        <p:spPr>
          <a:xfrm>
            <a:off x="4954131" y="2887980"/>
            <a:ext cx="0" cy="202168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94B35AEC-7320-9450-8DC1-9C5A8E2F973C}"/>
              </a:ext>
            </a:extLst>
          </p:cNvPr>
          <p:cNvCxnSpPr>
            <a:cxnSpLocks/>
            <a:stCxn id="82" idx="2"/>
          </p:cNvCxnSpPr>
          <p:nvPr/>
        </p:nvCxnSpPr>
        <p:spPr>
          <a:xfrm>
            <a:off x="4954131" y="2352834"/>
            <a:ext cx="0" cy="292437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모서리가 둥근 직사각형 167">
            <a:extLst>
              <a:ext uri="{FF2B5EF4-FFF2-40B4-BE49-F238E27FC236}">
                <a16:creationId xmlns:a16="http://schemas.microsoft.com/office/drawing/2014/main" id="{8B0C232A-E66D-7DE4-3646-C3B6761A6851}"/>
              </a:ext>
            </a:extLst>
          </p:cNvPr>
          <p:cNvSpPr/>
          <p:nvPr/>
        </p:nvSpPr>
        <p:spPr>
          <a:xfrm>
            <a:off x="4450131" y="1992834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해진</a:t>
            </a:r>
            <a:r>
              <a:rPr lang="en-US" altLang="ko-KR" sz="900" b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771E7D92-7A21-E3EE-A5A4-20375ADDDABE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4" name="모서리가 둥근 직사각형 167">
            <a:extLst>
              <a:ext uri="{FF2B5EF4-FFF2-40B4-BE49-F238E27FC236}">
                <a16:creationId xmlns:a16="http://schemas.microsoft.com/office/drawing/2014/main" id="{DA5DA839-7C40-BC26-9568-46A43048F1A8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5" name="모서리가 둥근 직사각형 167">
            <a:extLst>
              <a:ext uri="{FF2B5EF4-FFF2-40B4-BE49-F238E27FC236}">
                <a16:creationId xmlns:a16="http://schemas.microsoft.com/office/drawing/2014/main" id="{2BDFC84A-0537-8A3B-5441-AEB9C5FCFD08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모서리가 둥근 직사각형 167">
            <a:extLst>
              <a:ext uri="{FF2B5EF4-FFF2-40B4-BE49-F238E27FC236}">
                <a16:creationId xmlns:a16="http://schemas.microsoft.com/office/drawing/2014/main" id="{F7B3F394-EB78-D1FE-DE8B-028B3D84FDC8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7" name="모서리가 둥근 직사각형 167">
            <a:extLst>
              <a:ext uri="{FF2B5EF4-FFF2-40B4-BE49-F238E27FC236}">
                <a16:creationId xmlns:a16="http://schemas.microsoft.com/office/drawing/2014/main" id="{75C9348F-24C8-6935-1411-FF5B58DDC047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88" name="모서리가 둥근 직사각형 167">
            <a:extLst>
              <a:ext uri="{FF2B5EF4-FFF2-40B4-BE49-F238E27FC236}">
                <a16:creationId xmlns:a16="http://schemas.microsoft.com/office/drawing/2014/main" id="{773B5933-8E78-DF6E-2B7B-A29D9DB8081F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13B8D11E-8BBE-D365-B1B9-DB50D2178761}"/>
              </a:ext>
            </a:extLst>
          </p:cNvPr>
          <p:cNvSpPr/>
          <p:nvPr/>
        </p:nvSpPr>
        <p:spPr>
          <a:xfrm>
            <a:off x="8293213" y="193336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895E174D-02ED-0E12-C4A5-C7BAE20CCBC0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A3FD774C-D667-19C5-1F3B-3D0D6D112BE2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3" name="모서리가 둥근 직사각형 167">
            <a:extLst>
              <a:ext uri="{FF2B5EF4-FFF2-40B4-BE49-F238E27FC236}">
                <a16:creationId xmlns:a16="http://schemas.microsoft.com/office/drawing/2014/main" id="{25114AA7-9560-FEFE-1222-066813048739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373ED2B0-23E5-E4DC-8577-6B966989F48B}"/>
              </a:ext>
            </a:extLst>
          </p:cNvPr>
          <p:cNvSpPr/>
          <p:nvPr/>
        </p:nvSpPr>
        <p:spPr>
          <a:xfrm>
            <a:off x="4874816" y="2359212"/>
            <a:ext cx="612000" cy="180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.7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1A688801-F404-0D36-200E-06B1E411D94C}"/>
              </a:ext>
            </a:extLst>
          </p:cNvPr>
          <p:cNvCxnSpPr>
            <a:cxnSpLocks/>
          </p:cNvCxnSpPr>
          <p:nvPr/>
        </p:nvCxnSpPr>
        <p:spPr>
          <a:xfrm>
            <a:off x="2866751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3FB8E268-E82B-16E2-3647-8F4AB15BD151}"/>
              </a:ext>
            </a:extLst>
          </p:cNvPr>
          <p:cNvCxnSpPr>
            <a:cxnSpLocks/>
          </p:cNvCxnSpPr>
          <p:nvPr/>
        </p:nvCxnSpPr>
        <p:spPr>
          <a:xfrm flipH="1">
            <a:off x="1472064" y="3090418"/>
            <a:ext cx="7101925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53605DB1-3991-EDA8-3121-28BE8BA7325E}"/>
              </a:ext>
            </a:extLst>
          </p:cNvPr>
          <p:cNvCxnSpPr>
            <a:cxnSpLocks/>
          </p:cNvCxnSpPr>
          <p:nvPr/>
        </p:nvCxnSpPr>
        <p:spPr>
          <a:xfrm>
            <a:off x="1472064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타원 21">
            <a:extLst>
              <a:ext uri="{FF2B5EF4-FFF2-40B4-BE49-F238E27FC236}">
                <a16:creationId xmlns:a16="http://schemas.microsoft.com/office/drawing/2014/main" id="{6D8529FE-1C55-0BBE-7358-D7744675CA80}"/>
              </a:ext>
            </a:extLst>
          </p:cNvPr>
          <p:cNvSpPr/>
          <p:nvPr/>
        </p:nvSpPr>
        <p:spPr>
          <a:xfrm>
            <a:off x="1216112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9.2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61F7DDFB-C75E-7D20-ACF5-8500090A8E7E}"/>
              </a:ext>
            </a:extLst>
          </p:cNvPr>
          <p:cNvSpPr/>
          <p:nvPr/>
        </p:nvSpPr>
        <p:spPr>
          <a:xfrm>
            <a:off x="2576204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EB567A73-F2F2-4CA2-5414-29E1E1526C15}"/>
              </a:ext>
            </a:extLst>
          </p:cNvPr>
          <p:cNvSpPr/>
          <p:nvPr/>
        </p:nvSpPr>
        <p:spPr>
          <a:xfrm>
            <a:off x="968064" y="360073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파이낸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5" name="모서리가 둥근 직사각형 167">
            <a:extLst>
              <a:ext uri="{FF2B5EF4-FFF2-40B4-BE49-F238E27FC236}">
                <a16:creationId xmlns:a16="http://schemas.microsoft.com/office/drawing/2014/main" id="{4349AC4E-9382-AE0C-ACA6-92B38F7F4553}"/>
              </a:ext>
            </a:extLst>
          </p:cNvPr>
          <p:cNvSpPr/>
          <p:nvPr/>
        </p:nvSpPr>
        <p:spPr>
          <a:xfrm>
            <a:off x="2362751" y="360100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클라우드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6" name="직선 화살표 연결선 25">
            <a:extLst>
              <a:ext uri="{FF2B5EF4-FFF2-40B4-BE49-F238E27FC236}">
                <a16:creationId xmlns:a16="http://schemas.microsoft.com/office/drawing/2014/main" id="{8973A8D4-E916-0AEC-62E4-79981DB60071}"/>
              </a:ext>
            </a:extLst>
          </p:cNvPr>
          <p:cNvCxnSpPr>
            <a:cxnSpLocks/>
          </p:cNvCxnSpPr>
          <p:nvPr/>
        </p:nvCxnSpPr>
        <p:spPr>
          <a:xfrm>
            <a:off x="4265601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타원 26">
            <a:extLst>
              <a:ext uri="{FF2B5EF4-FFF2-40B4-BE49-F238E27FC236}">
                <a16:creationId xmlns:a16="http://schemas.microsoft.com/office/drawing/2014/main" id="{DD2D3012-C4D7-6EE1-FC73-7088A13F623F}"/>
              </a:ext>
            </a:extLst>
          </p:cNvPr>
          <p:cNvSpPr/>
          <p:nvPr/>
        </p:nvSpPr>
        <p:spPr>
          <a:xfrm>
            <a:off x="3970939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1.2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8" name="모서리가 둥근 직사각형 167">
            <a:extLst>
              <a:ext uri="{FF2B5EF4-FFF2-40B4-BE49-F238E27FC236}">
                <a16:creationId xmlns:a16="http://schemas.microsoft.com/office/drawing/2014/main" id="{1B7FE772-3189-2DE4-1A97-71F2F345C3B8}"/>
              </a:ext>
            </a:extLst>
          </p:cNvPr>
          <p:cNvSpPr/>
          <p:nvPr/>
        </p:nvSpPr>
        <p:spPr>
          <a:xfrm>
            <a:off x="3761601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Webtoon Entertainment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F2E55978-D1FA-FDDB-9AD9-C6F2966299CB}"/>
              </a:ext>
            </a:extLst>
          </p:cNvPr>
          <p:cNvCxnSpPr>
            <a:cxnSpLocks/>
          </p:cNvCxnSpPr>
          <p:nvPr/>
        </p:nvCxnSpPr>
        <p:spPr>
          <a:xfrm>
            <a:off x="5643398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타원 29">
            <a:extLst>
              <a:ext uri="{FF2B5EF4-FFF2-40B4-BE49-F238E27FC236}">
                <a16:creationId xmlns:a16="http://schemas.microsoft.com/office/drawing/2014/main" id="{F90C0ABA-26DA-8C26-01C1-09535AEC83F9}"/>
              </a:ext>
            </a:extLst>
          </p:cNvPr>
          <p:cNvSpPr/>
          <p:nvPr/>
        </p:nvSpPr>
        <p:spPr>
          <a:xfrm>
            <a:off x="5348736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1" name="모서리가 둥근 직사각형 167">
            <a:extLst>
              <a:ext uri="{FF2B5EF4-FFF2-40B4-BE49-F238E27FC236}">
                <a16:creationId xmlns:a16="http://schemas.microsoft.com/office/drawing/2014/main" id="{7EE2005B-EFB0-4C0C-C0FF-B19582C30125}"/>
              </a:ext>
            </a:extLst>
          </p:cNvPr>
          <p:cNvSpPr/>
          <p:nvPr/>
        </p:nvSpPr>
        <p:spPr>
          <a:xfrm>
            <a:off x="5139398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</a:t>
            </a: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rgbClr val="7F7F7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oldings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791C66E9-763F-7E92-594F-4AF9C6006AAE}"/>
              </a:ext>
            </a:extLst>
          </p:cNvPr>
          <p:cNvCxnSpPr>
            <a:cxnSpLocks/>
          </p:cNvCxnSpPr>
          <p:nvPr/>
        </p:nvCxnSpPr>
        <p:spPr>
          <a:xfrm>
            <a:off x="1472064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모서리가 둥근 직사각형 167">
            <a:extLst>
              <a:ext uri="{FF2B5EF4-FFF2-40B4-BE49-F238E27FC236}">
                <a16:creationId xmlns:a16="http://schemas.microsoft.com/office/drawing/2014/main" id="{E96D3093-38D6-E2BE-29A1-16669CFC3AEB}"/>
              </a:ext>
            </a:extLst>
          </p:cNvPr>
          <p:cNvSpPr/>
          <p:nvPr/>
        </p:nvSpPr>
        <p:spPr>
          <a:xfrm>
            <a:off x="968063" y="4360971"/>
            <a:ext cx="1007995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에프보험서비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37" name="직선 화살표 연결선 36">
            <a:extLst>
              <a:ext uri="{FF2B5EF4-FFF2-40B4-BE49-F238E27FC236}">
                <a16:creationId xmlns:a16="http://schemas.microsoft.com/office/drawing/2014/main" id="{09C6C69F-B231-93B2-35E3-1D751F9B63E4}"/>
              </a:ext>
            </a:extLst>
          </p:cNvPr>
          <p:cNvCxnSpPr>
            <a:cxnSpLocks/>
          </p:cNvCxnSpPr>
          <p:nvPr/>
        </p:nvCxnSpPr>
        <p:spPr>
          <a:xfrm>
            <a:off x="4259484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화살표 연결선 37">
            <a:extLst>
              <a:ext uri="{FF2B5EF4-FFF2-40B4-BE49-F238E27FC236}">
                <a16:creationId xmlns:a16="http://schemas.microsoft.com/office/drawing/2014/main" id="{C7AE47BF-6EA8-AD6E-432B-B4D23A8177D0}"/>
              </a:ext>
            </a:extLst>
          </p:cNvPr>
          <p:cNvCxnSpPr>
            <a:cxnSpLocks/>
          </p:cNvCxnSpPr>
          <p:nvPr/>
        </p:nvCxnSpPr>
        <p:spPr>
          <a:xfrm>
            <a:off x="5643399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모서리가 둥근 직사각형 167">
            <a:extLst>
              <a:ext uri="{FF2B5EF4-FFF2-40B4-BE49-F238E27FC236}">
                <a16:creationId xmlns:a16="http://schemas.microsoft.com/office/drawing/2014/main" id="{AA1C5A36-6EB3-F63C-0D8B-0AE69E3C5DDD}"/>
              </a:ext>
            </a:extLst>
          </p:cNvPr>
          <p:cNvSpPr/>
          <p:nvPr/>
        </p:nvSpPr>
        <p:spPr>
          <a:xfrm>
            <a:off x="5139398" y="4360971"/>
            <a:ext cx="1007995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Z</a:t>
            </a: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en-US" altLang="ko-KR" sz="900" b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Holdings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3" name="모서리가 둥근 직사각형 167">
            <a:extLst>
              <a:ext uri="{FF2B5EF4-FFF2-40B4-BE49-F238E27FC236}">
                <a16:creationId xmlns:a16="http://schemas.microsoft.com/office/drawing/2014/main" id="{4FE2F1B2-4AC4-69D5-56D5-FB67DF22B96C}"/>
              </a:ext>
            </a:extLst>
          </p:cNvPr>
          <p:cNvSpPr/>
          <p:nvPr/>
        </p:nvSpPr>
        <p:spPr>
          <a:xfrm>
            <a:off x="3755486" y="4360971"/>
            <a:ext cx="1007995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err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웹툰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9542BE0D-4F2B-2D0F-6C76-338ED6D58C9D}"/>
              </a:ext>
            </a:extLst>
          </p:cNvPr>
          <p:cNvCxnSpPr>
            <a:cxnSpLocks/>
          </p:cNvCxnSpPr>
          <p:nvPr/>
        </p:nvCxnSpPr>
        <p:spPr>
          <a:xfrm>
            <a:off x="8573989" y="30904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타원 47">
            <a:extLst>
              <a:ext uri="{FF2B5EF4-FFF2-40B4-BE49-F238E27FC236}">
                <a16:creationId xmlns:a16="http://schemas.microsoft.com/office/drawing/2014/main" id="{3317CC85-8310-894C-6210-FFBFADA74E9F}"/>
              </a:ext>
            </a:extLst>
          </p:cNvPr>
          <p:cNvSpPr/>
          <p:nvPr/>
        </p:nvSpPr>
        <p:spPr>
          <a:xfrm>
            <a:off x="8287557" y="32444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모서리가 둥근 직사각형 167">
            <a:extLst>
              <a:ext uri="{FF2B5EF4-FFF2-40B4-BE49-F238E27FC236}">
                <a16:creationId xmlns:a16="http://schemas.microsoft.com/office/drawing/2014/main" id="{FE5011DC-CAAE-9750-7E63-FB10858695B2}"/>
              </a:ext>
            </a:extLst>
          </p:cNvPr>
          <p:cNvSpPr/>
          <p:nvPr/>
        </p:nvSpPr>
        <p:spPr>
          <a:xfrm>
            <a:off x="8069989" y="360073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Poshmark</a:t>
            </a: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E88D3932-AD8D-5312-2141-179D0B27A9C4}"/>
              </a:ext>
            </a:extLst>
          </p:cNvPr>
          <p:cNvCxnSpPr>
            <a:cxnSpLocks/>
          </p:cNvCxnSpPr>
          <p:nvPr/>
        </p:nvCxnSpPr>
        <p:spPr>
          <a:xfrm>
            <a:off x="7124146" y="30905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4C50BA61-96ED-36E3-B6DD-978A13C25798}"/>
              </a:ext>
            </a:extLst>
          </p:cNvPr>
          <p:cNvSpPr/>
          <p:nvPr/>
        </p:nvSpPr>
        <p:spPr>
          <a:xfrm>
            <a:off x="6829484" y="32424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3.6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4" name="모서리가 둥근 직사각형 167">
            <a:extLst>
              <a:ext uri="{FF2B5EF4-FFF2-40B4-BE49-F238E27FC236}">
                <a16:creationId xmlns:a16="http://schemas.microsoft.com/office/drawing/2014/main" id="{BA98424B-CA36-2B05-7943-C4242304B7BC}"/>
              </a:ext>
            </a:extLst>
          </p:cNvPr>
          <p:cNvSpPr/>
          <p:nvPr/>
        </p:nvSpPr>
        <p:spPr>
          <a:xfrm>
            <a:off x="6620146" y="3601147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노우</a:t>
            </a:r>
          </a:p>
        </p:txBody>
      </p:sp>
      <p:sp>
        <p:nvSpPr>
          <p:cNvPr id="64" name="타원 63">
            <a:extLst>
              <a:ext uri="{FF2B5EF4-FFF2-40B4-BE49-F238E27FC236}">
                <a16:creationId xmlns:a16="http://schemas.microsoft.com/office/drawing/2014/main" id="{CD6C7D9A-6B06-4B32-1909-0624E111F92F}"/>
              </a:ext>
            </a:extLst>
          </p:cNvPr>
          <p:cNvSpPr/>
          <p:nvPr/>
        </p:nvSpPr>
        <p:spPr>
          <a:xfrm>
            <a:off x="1216112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4.9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9" name="타원 68">
            <a:extLst>
              <a:ext uri="{FF2B5EF4-FFF2-40B4-BE49-F238E27FC236}">
                <a16:creationId xmlns:a16="http://schemas.microsoft.com/office/drawing/2014/main" id="{2D8F0877-93C3-2BF6-EF72-9EE7222E0099}"/>
              </a:ext>
            </a:extLst>
          </p:cNvPr>
          <p:cNvSpPr/>
          <p:nvPr/>
        </p:nvSpPr>
        <p:spPr>
          <a:xfrm>
            <a:off x="3993799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6DE3FC73-0E8D-CFBF-083E-B57879DEE599}"/>
              </a:ext>
            </a:extLst>
          </p:cNvPr>
          <p:cNvCxnSpPr>
            <a:cxnSpLocks/>
          </p:cNvCxnSpPr>
          <p:nvPr/>
        </p:nvCxnSpPr>
        <p:spPr>
          <a:xfrm>
            <a:off x="4590989" y="471973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타원 88">
            <a:extLst>
              <a:ext uri="{FF2B5EF4-FFF2-40B4-BE49-F238E27FC236}">
                <a16:creationId xmlns:a16="http://schemas.microsoft.com/office/drawing/2014/main" id="{5D339F72-D90F-0B8A-509E-8D7CFBE838A7}"/>
              </a:ext>
            </a:extLst>
          </p:cNvPr>
          <p:cNvSpPr/>
          <p:nvPr/>
        </p:nvSpPr>
        <p:spPr>
          <a:xfrm>
            <a:off x="4336916" y="481466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6.3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5" name="모서리가 둥근 직사각형 167">
            <a:extLst>
              <a:ext uri="{FF2B5EF4-FFF2-40B4-BE49-F238E27FC236}">
                <a16:creationId xmlns:a16="http://schemas.microsoft.com/office/drawing/2014/main" id="{FCD26143-5CFC-490E-A554-82A9413F0C5E}"/>
              </a:ext>
            </a:extLst>
          </p:cNvPr>
          <p:cNvSpPr/>
          <p:nvPr/>
        </p:nvSpPr>
        <p:spPr>
          <a:xfrm>
            <a:off x="4297503" y="5130685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문피아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96" name="직선 화살표 연결선 95">
            <a:extLst>
              <a:ext uri="{FF2B5EF4-FFF2-40B4-BE49-F238E27FC236}">
                <a16:creationId xmlns:a16="http://schemas.microsoft.com/office/drawing/2014/main" id="{03B45C04-AF2E-EB1B-7A3D-FADCA80F7CC5}"/>
              </a:ext>
            </a:extLst>
          </p:cNvPr>
          <p:cNvCxnSpPr>
            <a:cxnSpLocks/>
          </p:cNvCxnSpPr>
          <p:nvPr/>
        </p:nvCxnSpPr>
        <p:spPr>
          <a:xfrm>
            <a:off x="3930237" y="471973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타원 96">
            <a:extLst>
              <a:ext uri="{FF2B5EF4-FFF2-40B4-BE49-F238E27FC236}">
                <a16:creationId xmlns:a16="http://schemas.microsoft.com/office/drawing/2014/main" id="{34BBB862-8C2F-F465-0F9A-8351B4F16623}"/>
              </a:ext>
            </a:extLst>
          </p:cNvPr>
          <p:cNvSpPr/>
          <p:nvPr/>
        </p:nvSpPr>
        <p:spPr>
          <a:xfrm>
            <a:off x="3650764" y="481466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8" name="모서리가 둥근 직사각형 167">
            <a:extLst>
              <a:ext uri="{FF2B5EF4-FFF2-40B4-BE49-F238E27FC236}">
                <a16:creationId xmlns:a16="http://schemas.microsoft.com/office/drawing/2014/main" id="{E30E962F-DCB9-21B0-170C-8A9046DCECBA}"/>
              </a:ext>
            </a:extLst>
          </p:cNvPr>
          <p:cNvSpPr/>
          <p:nvPr/>
        </p:nvSpPr>
        <p:spPr>
          <a:xfrm>
            <a:off x="3631477" y="5130685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코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9" name="모서리가 둥근 직사각형 167">
            <a:extLst>
              <a:ext uri="{FF2B5EF4-FFF2-40B4-BE49-F238E27FC236}">
                <a16:creationId xmlns:a16="http://schemas.microsoft.com/office/drawing/2014/main" id="{2A7CAB51-F17C-8DF1-918C-424B11F65A46}"/>
              </a:ext>
            </a:extLst>
          </p:cNvPr>
          <p:cNvSpPr/>
          <p:nvPr/>
        </p:nvSpPr>
        <p:spPr>
          <a:xfrm>
            <a:off x="3631477" y="5530464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튜디오엔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0" name="타원 99">
            <a:extLst>
              <a:ext uri="{FF2B5EF4-FFF2-40B4-BE49-F238E27FC236}">
                <a16:creationId xmlns:a16="http://schemas.microsoft.com/office/drawing/2014/main" id="{874B7CBB-55D6-29A8-9A78-FC89F84A56FD}"/>
              </a:ext>
            </a:extLst>
          </p:cNvPr>
          <p:cNvSpPr/>
          <p:nvPr/>
        </p:nvSpPr>
        <p:spPr>
          <a:xfrm>
            <a:off x="5384736" y="40512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01" name="직선 화살표 연결선 100">
            <a:extLst>
              <a:ext uri="{FF2B5EF4-FFF2-40B4-BE49-F238E27FC236}">
                <a16:creationId xmlns:a16="http://schemas.microsoft.com/office/drawing/2014/main" id="{FEF65ABB-8286-D960-8D04-CD3879B4987E}"/>
              </a:ext>
            </a:extLst>
          </p:cNvPr>
          <p:cNvCxnSpPr>
            <a:cxnSpLocks/>
          </p:cNvCxnSpPr>
          <p:nvPr/>
        </p:nvCxnSpPr>
        <p:spPr>
          <a:xfrm>
            <a:off x="5643399" y="4719733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타원 101">
            <a:extLst>
              <a:ext uri="{FF2B5EF4-FFF2-40B4-BE49-F238E27FC236}">
                <a16:creationId xmlns:a16="http://schemas.microsoft.com/office/drawing/2014/main" id="{EC3B2DC9-E1DC-B506-B6EF-3B32132D244E}"/>
              </a:ext>
            </a:extLst>
          </p:cNvPr>
          <p:cNvSpPr/>
          <p:nvPr/>
        </p:nvSpPr>
        <p:spPr>
          <a:xfrm>
            <a:off x="5384736" y="4814664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3" name="모서리가 둥근 직사각형 167">
            <a:extLst>
              <a:ext uri="{FF2B5EF4-FFF2-40B4-BE49-F238E27FC236}">
                <a16:creationId xmlns:a16="http://schemas.microsoft.com/office/drawing/2014/main" id="{FB4D454D-7433-C8FB-ADC0-336BB9264102}"/>
              </a:ext>
            </a:extLst>
          </p:cNvPr>
          <p:cNvSpPr/>
          <p:nvPr/>
        </p:nvSpPr>
        <p:spPr>
          <a:xfrm>
            <a:off x="5139398" y="5130685"/>
            <a:ext cx="1007995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Line Corporation</a:t>
            </a:r>
          </a:p>
        </p:txBody>
      </p:sp>
      <p:cxnSp>
        <p:nvCxnSpPr>
          <p:cNvPr id="104" name="직선 화살표 연결선 103">
            <a:extLst>
              <a:ext uri="{FF2B5EF4-FFF2-40B4-BE49-F238E27FC236}">
                <a16:creationId xmlns:a16="http://schemas.microsoft.com/office/drawing/2014/main" id="{1D3957F1-FAA7-09A3-F577-69AD3FF0A082}"/>
              </a:ext>
            </a:extLst>
          </p:cNvPr>
          <p:cNvCxnSpPr>
            <a:cxnSpLocks/>
          </p:cNvCxnSpPr>
          <p:nvPr/>
        </p:nvCxnSpPr>
        <p:spPr>
          <a:xfrm>
            <a:off x="5643399" y="5495775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타원 104">
            <a:extLst>
              <a:ext uri="{FF2B5EF4-FFF2-40B4-BE49-F238E27FC236}">
                <a16:creationId xmlns:a16="http://schemas.microsoft.com/office/drawing/2014/main" id="{96B2FCB5-239D-F474-1326-C87A2050785E}"/>
              </a:ext>
            </a:extLst>
          </p:cNvPr>
          <p:cNvSpPr/>
          <p:nvPr/>
        </p:nvSpPr>
        <p:spPr>
          <a:xfrm>
            <a:off x="5384736" y="559070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06" name="모서리가 둥근 직사각형 167">
            <a:extLst>
              <a:ext uri="{FF2B5EF4-FFF2-40B4-BE49-F238E27FC236}">
                <a16:creationId xmlns:a16="http://schemas.microsoft.com/office/drawing/2014/main" id="{8C8A0540-715E-5F1A-FBF6-F65279E258FC}"/>
              </a:ext>
            </a:extLst>
          </p:cNvPr>
          <p:cNvSpPr/>
          <p:nvPr/>
        </p:nvSpPr>
        <p:spPr>
          <a:xfrm>
            <a:off x="5139398" y="5924640"/>
            <a:ext cx="1007995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라인플러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07" name="직선 화살표 연결선 106">
            <a:extLst>
              <a:ext uri="{FF2B5EF4-FFF2-40B4-BE49-F238E27FC236}">
                <a16:creationId xmlns:a16="http://schemas.microsoft.com/office/drawing/2014/main" id="{BA97E7A7-5E2B-9550-543B-4A99A524C390}"/>
              </a:ext>
            </a:extLst>
          </p:cNvPr>
          <p:cNvCxnSpPr>
            <a:cxnSpLocks/>
          </p:cNvCxnSpPr>
          <p:nvPr/>
        </p:nvCxnSpPr>
        <p:spPr>
          <a:xfrm>
            <a:off x="7458486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직선 화살표 연결선 107">
            <a:extLst>
              <a:ext uri="{FF2B5EF4-FFF2-40B4-BE49-F238E27FC236}">
                <a16:creationId xmlns:a16="http://schemas.microsoft.com/office/drawing/2014/main" id="{43451016-48CE-ABCE-D086-76C667544BB2}"/>
              </a:ext>
            </a:extLst>
          </p:cNvPr>
          <p:cNvCxnSpPr>
            <a:cxnSpLocks/>
          </p:cNvCxnSpPr>
          <p:nvPr/>
        </p:nvCxnSpPr>
        <p:spPr>
          <a:xfrm>
            <a:off x="6797734" y="3956347"/>
            <a:ext cx="0" cy="396000"/>
          </a:xfrm>
          <a:prstGeom prst="straightConnector1">
            <a:avLst/>
          </a:prstGeom>
          <a:ln>
            <a:solidFill>
              <a:srgbClr val="227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모서리가 둥근 직사각형 167">
            <a:extLst>
              <a:ext uri="{FF2B5EF4-FFF2-40B4-BE49-F238E27FC236}">
                <a16:creationId xmlns:a16="http://schemas.microsoft.com/office/drawing/2014/main" id="{6FB29ABE-6012-1D04-4A7E-1963FA69D2AC}"/>
              </a:ext>
            </a:extLst>
          </p:cNvPr>
          <p:cNvSpPr/>
          <p:nvPr/>
        </p:nvSpPr>
        <p:spPr>
          <a:xfrm>
            <a:off x="7135484" y="4370906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어뮤즈</a:t>
            </a:r>
            <a:endParaRPr kumimoji="0" lang="ko-KR" altLang="en-US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0" name="모서리가 둥근 직사각형 167">
            <a:extLst>
              <a:ext uri="{FF2B5EF4-FFF2-40B4-BE49-F238E27FC236}">
                <a16:creationId xmlns:a16="http://schemas.microsoft.com/office/drawing/2014/main" id="{E569041D-B694-AC6D-9E62-A27B06F10612}"/>
              </a:ext>
            </a:extLst>
          </p:cNvPr>
          <p:cNvSpPr/>
          <p:nvPr/>
        </p:nvSpPr>
        <p:spPr>
          <a:xfrm>
            <a:off x="6469458" y="4370906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레이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리스트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1" name="모서리가 둥근 직사각형 167">
            <a:extLst>
              <a:ext uri="{FF2B5EF4-FFF2-40B4-BE49-F238E27FC236}">
                <a16:creationId xmlns:a16="http://schemas.microsoft.com/office/drawing/2014/main" id="{7AF3017A-5C02-D4E8-21E7-F1EC2DD0A2BD}"/>
              </a:ext>
            </a:extLst>
          </p:cNvPr>
          <p:cNvSpPr/>
          <p:nvPr/>
        </p:nvSpPr>
        <p:spPr>
          <a:xfrm>
            <a:off x="6469458" y="4770685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제트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2" name="모서리가 둥근 직사각형 167">
            <a:extLst>
              <a:ext uri="{FF2B5EF4-FFF2-40B4-BE49-F238E27FC236}">
                <a16:creationId xmlns:a16="http://schemas.microsoft.com/office/drawing/2014/main" id="{37EDC704-9F59-5279-F76C-AEA19587EFA4}"/>
              </a:ext>
            </a:extLst>
          </p:cNvPr>
          <p:cNvSpPr/>
          <p:nvPr/>
        </p:nvSpPr>
        <p:spPr>
          <a:xfrm>
            <a:off x="7136310" y="4770685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이크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3" name="모서리가 둥근 직사각형 167">
            <a:extLst>
              <a:ext uri="{FF2B5EF4-FFF2-40B4-BE49-F238E27FC236}">
                <a16:creationId xmlns:a16="http://schemas.microsoft.com/office/drawing/2014/main" id="{268E049A-A334-3B1F-51DA-E2497A05B920}"/>
              </a:ext>
            </a:extLst>
          </p:cNvPr>
          <p:cNvSpPr/>
          <p:nvPr/>
        </p:nvSpPr>
        <p:spPr>
          <a:xfrm>
            <a:off x="6469458" y="5170464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슈퍼랩스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4" name="모서리가 둥근 직사각형 167">
            <a:extLst>
              <a:ext uri="{FF2B5EF4-FFF2-40B4-BE49-F238E27FC236}">
                <a16:creationId xmlns:a16="http://schemas.microsoft.com/office/drawing/2014/main" id="{512A8723-A421-086B-AD4B-94CD47FEA25A}"/>
              </a:ext>
            </a:extLst>
          </p:cNvPr>
          <p:cNvSpPr/>
          <p:nvPr/>
        </p:nvSpPr>
        <p:spPr>
          <a:xfrm>
            <a:off x="7136310" y="5170464"/>
            <a:ext cx="612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크림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15" name="모서리가 둥근 직사각형 167">
            <a:extLst>
              <a:ext uri="{FF2B5EF4-FFF2-40B4-BE49-F238E27FC236}">
                <a16:creationId xmlns:a16="http://schemas.microsoft.com/office/drawing/2014/main" id="{6D6FE90F-5E34-565A-38AF-9F5512ABDA49}"/>
              </a:ext>
            </a:extLst>
          </p:cNvPr>
          <p:cNvSpPr/>
          <p:nvPr/>
        </p:nvSpPr>
        <p:spPr>
          <a:xfrm>
            <a:off x="4297503" y="5534568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작가컴퍼니</a:t>
            </a:r>
          </a:p>
        </p:txBody>
      </p:sp>
      <p:sp>
        <p:nvSpPr>
          <p:cNvPr id="116" name="모서리가 둥근 직사각형 167">
            <a:extLst>
              <a:ext uri="{FF2B5EF4-FFF2-40B4-BE49-F238E27FC236}">
                <a16:creationId xmlns:a16="http://schemas.microsoft.com/office/drawing/2014/main" id="{7637BC5D-8BE7-3D15-8EA3-D8F061A59963}"/>
              </a:ext>
            </a:extLst>
          </p:cNvPr>
          <p:cNvSpPr/>
          <p:nvPr/>
        </p:nvSpPr>
        <p:spPr>
          <a:xfrm>
            <a:off x="3631477" y="5930243"/>
            <a:ext cx="612000" cy="360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noProof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비닷두</a:t>
            </a:r>
            <a:endParaRPr kumimoji="0" lang="en-US" altLang="ko-KR" sz="900" b="1" i="0" u="none" strike="noStrike" kern="1200" cap="none" spc="0" normalizeH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554086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 매각 추진 주요 스타트업 보유지분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986F5DB-A365-BC15-A460-FF09EA4E9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437380"/>
              </p:ext>
            </p:extLst>
          </p:nvPr>
        </p:nvGraphicFramePr>
        <p:xfrm>
          <a:off x="489600" y="1440000"/>
          <a:ext cx="8928000" cy="4760400"/>
        </p:xfrm>
        <a:graphic>
          <a:graphicData uri="http://schemas.openxmlformats.org/drawingml/2006/table">
            <a:tbl>
              <a:tblPr/>
              <a:tblGrid>
                <a:gridCol w="1260000">
                  <a:extLst>
                    <a:ext uri="{9D8B030D-6E8A-4147-A177-3AD203B41FA5}">
                      <a16:colId xmlns:a16="http://schemas.microsoft.com/office/drawing/2014/main" val="2847972401"/>
                    </a:ext>
                  </a:extLst>
                </a:gridCol>
                <a:gridCol w="2808000">
                  <a:extLst>
                    <a:ext uri="{9D8B030D-6E8A-4147-A177-3AD203B41FA5}">
                      <a16:colId xmlns:a16="http://schemas.microsoft.com/office/drawing/2014/main" val="4138651924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1165705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381264290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449135382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5454411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2970586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투자대상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제품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서비스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분야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투자날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투자금액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지분율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가치</a:t>
                      </a:r>
                      <a:r>
                        <a:rPr lang="en-US" altLang="ko-KR" sz="1000" b="1" i="0" u="none" strike="noStrike" baseline="30000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*)</a:t>
                      </a:r>
                      <a:endParaRPr lang="ko-KR" altLang="en-US" sz="1000" b="1" i="0" u="none" strike="noStrike" baseline="30000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C0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27587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버킷플레이스    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오늘의 집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홈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리빙 플랫폼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1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415991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퓨처플레이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테크업〮액셀러레이팅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 투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8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1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728847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잉카엔트웍스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패리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 보안 솔루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통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보안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aaS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.8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03105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발란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발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명품 쇼핑 플랫폼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0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27145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밸런스히어로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트루밸런스</a:t>
                      </a:r>
                      <a:b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인도 핀테크 앱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핀테크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1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74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39577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oneybook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oneybook</a:t>
                      </a:r>
                      <a:b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관리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솔루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/W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발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2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841344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tampli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tampli</a:t>
                      </a:r>
                    </a:p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외상매입금 자동화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/W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발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000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2831829"/>
                  </a:ext>
                </a:extLst>
              </a:tr>
            </a:tbl>
          </a:graphicData>
        </a:graphic>
      </p:graphicFrame>
      <p:pic>
        <p:nvPicPr>
          <p:cNvPr id="1028" name="Picture 4" descr="오늘의집">
            <a:extLst>
              <a:ext uri="{FF2B5EF4-FFF2-40B4-BE49-F238E27FC236}">
                <a16:creationId xmlns:a16="http://schemas.microsoft.com/office/drawing/2014/main" id="{F0525911-1529-8CD8-F1B6-F45872563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724" y="1731629"/>
            <a:ext cx="514265" cy="514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발란">
            <a:extLst>
              <a:ext uri="{FF2B5EF4-FFF2-40B4-BE49-F238E27FC236}">
                <a16:creationId xmlns:a16="http://schemas.microsoft.com/office/drawing/2014/main" id="{0E52125A-6B2B-3C5D-4D7E-FD669DFD8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724" y="3668635"/>
            <a:ext cx="514800" cy="5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트루밸런스">
            <a:extLst>
              <a:ext uri="{FF2B5EF4-FFF2-40B4-BE49-F238E27FC236}">
                <a16:creationId xmlns:a16="http://schemas.microsoft.com/office/drawing/2014/main" id="{AE0A4E64-AA58-AB9B-4C52-177EE13A1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189" y="4327027"/>
            <a:ext cx="514800" cy="5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F0D2E9-FF3C-223A-75BF-7128C13060F0}"/>
              </a:ext>
            </a:extLst>
          </p:cNvPr>
          <p:cNvSpPr txBox="1"/>
          <p:nvPr/>
        </p:nvSpPr>
        <p:spPr>
          <a:xfrm>
            <a:off x="488950" y="6269380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종 투자유치 단계에서 인정받은 기업가치 기준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pic>
        <p:nvPicPr>
          <p:cNvPr id="1038" name="Picture 14" descr="HoneyBook - Small Business CRM - Google Play 앱">
            <a:extLst>
              <a:ext uri="{FF2B5EF4-FFF2-40B4-BE49-F238E27FC236}">
                <a16:creationId xmlns:a16="http://schemas.microsoft.com/office/drawing/2014/main" id="{79C16AA1-9BE5-ACDE-D668-FE4083E82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189" y="4969377"/>
            <a:ext cx="514800" cy="5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SuiteApp.com">
            <a:extLst>
              <a:ext uri="{FF2B5EF4-FFF2-40B4-BE49-F238E27FC236}">
                <a16:creationId xmlns:a16="http://schemas.microsoft.com/office/drawing/2014/main" id="{20AB222D-01D8-5627-C2E5-AB583BAD9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8189" y="5622218"/>
            <a:ext cx="514800" cy="5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8995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네이버 로고">
            <a:extLst>
              <a:ext uri="{FF2B5EF4-FFF2-40B4-BE49-F238E27FC236}">
                <a16:creationId xmlns:a16="http://schemas.microsoft.com/office/drawing/2014/main" id="{41109C14-AF38-8CC4-23A7-4A595648C0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8" b="25945"/>
          <a:stretch/>
        </p:blipFill>
        <p:spPr bwMode="auto">
          <a:xfrm>
            <a:off x="497112" y="3261781"/>
            <a:ext cx="826504" cy="19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조달 필요성 </a:t>
            </a:r>
            <a:r>
              <a:rPr lang="en-US" altLang="ko-KR" sz="2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</a:t>
            </a:r>
            <a:endParaRPr lang="en-US" sz="24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3" name="직사각형 2">
            <a:extLst>
              <a:ext uri="{FF2B5EF4-FFF2-40B4-BE49-F238E27FC236}">
                <a16:creationId xmlns:a16="http://schemas.microsoft.com/office/drawing/2014/main" id="{CEA1077C-39CF-01D5-BF60-FBBBD40ACDFB}"/>
              </a:ext>
            </a:extLst>
          </p:cNvPr>
          <p:cNvSpPr/>
          <p:nvPr/>
        </p:nvSpPr>
        <p:spPr>
          <a:xfrm>
            <a:off x="488950" y="1724907"/>
            <a:ext cx="826503" cy="35522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551998E-0BF2-97B1-777E-3745978E4215}"/>
              </a:ext>
            </a:extLst>
          </p:cNvPr>
          <p:cNvSpPr/>
          <p:nvPr/>
        </p:nvSpPr>
        <p:spPr>
          <a:xfrm>
            <a:off x="1379622" y="1724906"/>
            <a:ext cx="5111572" cy="3552265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건 회수해와라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지부진한 투자 성과에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명내린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네이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2.10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트폴리오 기업 부진한 성과에 </a:t>
            </a:r>
            <a:r>
              <a:rPr lang="ko-KR" altLang="en-US" sz="9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처펀드 출자 중단</a:t>
            </a:r>
            <a:endParaRPr lang="en-US" altLang="ko-KR" sz="9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사와 계열사에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금지 및 회수’ 특명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9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처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큰 손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늘의집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 매각 추진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스타트업 지분 매각 통해 선제적 투자금 확보 노력</a:t>
            </a:r>
            <a:b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는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버킷플레이스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늘의집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~7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곳의 투자 스타트업 지분 매각을 추진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각 대상은 네이버와 사업적 연관성이 적은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타트업들을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선별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90487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tabLst/>
              <a:defRPr/>
            </a:pPr>
            <a:endParaRPr lang="en-US" altLang="ko-KR" sz="900" b="1" u="sng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C2C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인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美유니콘 지분 매각 추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1)</a:t>
            </a:r>
            <a:endParaRPr lang="ko-KR" altLang="en-US" sz="105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8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투자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kumimoji="0" lang="ko-KR" altLang="en-US" sz="900" b="1" i="0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허니북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, '</a:t>
            </a:r>
            <a:r>
              <a:rPr kumimoji="0" lang="ko-KR" altLang="en-US" sz="900" b="1" i="0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탬플리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 매각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타트업 지분 매각 후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확대 계획</a:t>
            </a:r>
            <a:b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는 지난해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수연 대표 취임 이후 스타트업 투자에 있어 소수 지분 확보 보다는 대규모 투자로 경영권을 갖는 방향으로 투자 정책을 변경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〮〮〮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연관성이 적은 스타트업 지분을 매각해 현금을 확보하고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를 바탕으로 다양한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확대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려는 것</a:t>
            </a:r>
            <a:endParaRPr lang="en-US" altLang="ko-KR" sz="900">
              <a:solidFill>
                <a:srgbClr val="7F7F7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 “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I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중”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교 빌딩 팔아 현금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대 확보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8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펀드 매각 통해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,000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실탄 확보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AI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 대규모 투자 계획</a:t>
            </a:r>
            <a:endParaRPr kumimoji="0" lang="en-US" altLang="ko-KR" sz="9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90487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tabLst/>
              <a:defRPr/>
            </a:pPr>
            <a:endParaRPr lang="en-US" altLang="ko-KR" sz="10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금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 적자 누적 카카오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금 확보 비상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9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공지능 등 신사업 확장에 자금 필요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버킷플레이스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퓨처플레이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lang="ko-KR" altLang="en-US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유망 스타트업 지분 정리 노력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1641B38-1285-8CB7-D8AE-AC4E2F574E72}"/>
              </a:ext>
            </a:extLst>
          </p:cNvPr>
          <p:cNvSpPr/>
          <p:nvPr/>
        </p:nvSpPr>
        <p:spPr>
          <a:xfrm>
            <a:off x="6555363" y="1724907"/>
            <a:ext cx="2861687" cy="3552264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그룹은</a:t>
            </a:r>
            <a:r>
              <a:rPr lang="en-US" altLang="ko-KR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  <a: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공지능 등 신사업 확장에 </a:t>
            </a:r>
            <a:br>
              <a:rPr lang="en-US" altLang="ko-KR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필요</a:t>
            </a:r>
            <a:endParaRPr lang="en-US" altLang="ko-KR" sz="120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재원 마련 위해 </a:t>
            </a:r>
            <a:r>
              <a:rPr lang="ko-KR" altLang="en-US" sz="12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매각 및 </a:t>
            </a:r>
            <a:r>
              <a:rPr lang="ko-KR" altLang="en-US" sz="12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연관성이 적은 국내외 스타트업 보유 지분 매각 추진 중</a:t>
            </a:r>
            <a:r>
              <a:rPr lang="ko-KR" altLang="en-US" sz="1200" b="1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200" b="1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BC0CAF-3A94-1E11-ADDE-96196F47F97E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341614247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그룹 개요</a:t>
            </a:r>
            <a:endParaRPr lang="en-US" sz="15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84DE4C99-752B-C6E7-8F1A-3340B9740897}"/>
              </a:ext>
            </a:extLst>
          </p:cNvPr>
          <p:cNvGrpSpPr/>
          <p:nvPr/>
        </p:nvGrpSpPr>
        <p:grpSpPr>
          <a:xfrm>
            <a:off x="518347" y="1440000"/>
            <a:ext cx="4262228" cy="360763"/>
            <a:chOff x="489772" y="1440000"/>
            <a:chExt cx="5234228" cy="360763"/>
          </a:xfrm>
        </p:grpSpPr>
        <p:sp>
          <p:nvSpPr>
            <p:cNvPr id="4" name="Rectangle 41">
              <a:extLst>
                <a:ext uri="{FF2B5EF4-FFF2-40B4-BE49-F238E27FC236}">
                  <a16:creationId xmlns:a16="http://schemas.microsoft.com/office/drawing/2014/main" id="{E9C0EA44-4C5C-C624-0FD7-46143290B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카카오그룹 개요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id="{9E453298-EF63-2000-8F50-DC78CE2C4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6" name="Line 13">
              <a:extLst>
                <a:ext uri="{FF2B5EF4-FFF2-40B4-BE49-F238E27FC236}">
                  <a16:creationId xmlns:a16="http://schemas.microsoft.com/office/drawing/2014/main" id="{EB5872E0-3096-E607-4465-FF60AF6017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BEF1C7F-D90B-CB9A-9C25-7AEABB2B5E67}"/>
              </a:ext>
            </a:extLst>
          </p:cNvPr>
          <p:cNvSpPr txBox="1"/>
          <p:nvPr/>
        </p:nvSpPr>
        <p:spPr>
          <a:xfrm>
            <a:off x="2203351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C97A9732-17D0-6F44-E344-C6B7182E2A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529162"/>
              </p:ext>
            </p:extLst>
          </p:nvPr>
        </p:nvGraphicFramePr>
        <p:xfrm>
          <a:off x="504000" y="1843425"/>
          <a:ext cx="4284000" cy="2160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1022304443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704719137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구분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내용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1362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카카오그룹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7962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일인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김범수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281454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본사 주소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제주특별자치도 제주시 영평동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762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설립일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995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년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2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월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9169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 순위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15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879391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 회사 수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, 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비상장사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7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66176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69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조 </a:t>
                      </a:r>
                      <a:r>
                        <a:rPr lang="en-US" altLang="ko-KR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9,756</a:t>
                      </a:r>
                      <a:r>
                        <a:rPr lang="ko-KR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  <a:cs typeface="+mn-cs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02406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808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744156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endParaRPr lang="en-US" altLang="ko-KR" sz="900" b="1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068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 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’22</a:t>
                      </a:r>
                      <a:r>
                        <a:rPr lang="ko-KR" alt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 기준</a:t>
                      </a:r>
                      <a:r>
                        <a:rPr lang="en-US" altLang="ko-KR" sz="900" b="0" i="0" u="none" strike="noStrike">
                          <a:solidFill>
                            <a:schemeClr val="tx1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900" b="0" i="0" u="none" strike="noStrike">
                        <a:solidFill>
                          <a:schemeClr val="tx1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2976955"/>
                  </a:ext>
                </a:extLst>
              </a:tr>
            </a:tbl>
          </a:graphicData>
        </a:graphic>
      </p:graphicFrame>
      <p:sp>
        <p:nvSpPr>
          <p:cNvPr id="15" name="Rectangle 7">
            <a:extLst>
              <a:ext uri="{FF2B5EF4-FFF2-40B4-BE49-F238E27FC236}">
                <a16:creationId xmlns:a16="http://schemas.microsoft.com/office/drawing/2014/main" id="{DDE86437-3446-1D72-CE66-DA2C87894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000" y="1840831"/>
            <a:ext cx="4296789" cy="25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285750" indent="-285750" algn="ctr" defTabSz="762000" eaLnBrk="0" hangingPunct="0"/>
            <a:r>
              <a:rPr lang="ko-KR" altLang="en-US" sz="900" b="1">
                <a:solidFill>
                  <a:srgbClr val="FFFFFF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charset="0"/>
              </a:rPr>
              <a:t>사업 영역</a:t>
            </a:r>
            <a:endParaRPr lang="en-US" altLang="ko-KR" sz="900" b="1">
              <a:solidFill>
                <a:srgbClr val="FFFFF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charset="0"/>
            </a:endParaRPr>
          </a:p>
        </p:txBody>
      </p: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D5BB16BF-9838-88C0-5679-DBB66BD886C7}"/>
              </a:ext>
            </a:extLst>
          </p:cNvPr>
          <p:cNvGrpSpPr/>
          <p:nvPr/>
        </p:nvGrpSpPr>
        <p:grpSpPr>
          <a:xfrm>
            <a:off x="518347" y="3989700"/>
            <a:ext cx="4262228" cy="360763"/>
            <a:chOff x="489772" y="1440000"/>
            <a:chExt cx="5234228" cy="360763"/>
          </a:xfrm>
        </p:grpSpPr>
        <p:sp>
          <p:nvSpPr>
            <p:cNvPr id="34" name="Rectangle 41">
              <a:extLst>
                <a:ext uri="{FF2B5EF4-FFF2-40B4-BE49-F238E27FC236}">
                  <a16:creationId xmlns:a16="http://schemas.microsoft.com/office/drawing/2014/main" id="{CE6ADA64-D888-F5EA-57CF-4CA727E97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카카오그룹 최근 </a:t>
              </a:r>
              <a:r>
                <a:rPr lang="en-US" altLang="ko-KR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3</a:t>
              </a: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개년 주요 재무지표</a:t>
              </a:r>
              <a:endParaRPr lang="en-US" altLang="ko-KR" sz="14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5" name="Rectangle 41">
              <a:extLst>
                <a:ext uri="{FF2B5EF4-FFF2-40B4-BE49-F238E27FC236}">
                  <a16:creationId xmlns:a16="http://schemas.microsoft.com/office/drawing/2014/main" id="{79193174-E440-3EEA-8D3D-27E157BB3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36" name="Line 13">
              <a:extLst>
                <a:ext uri="{FF2B5EF4-FFF2-40B4-BE49-F238E27FC236}">
                  <a16:creationId xmlns:a16="http://schemas.microsoft.com/office/drawing/2014/main" id="{0A7BA082-0B90-FCA4-CD87-E44FBE4C7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DA35736-EE1B-103E-D6F1-EDC1D8047C93}"/>
              </a:ext>
            </a:extLst>
          </p:cNvPr>
          <p:cNvSpPr txBox="1"/>
          <p:nvPr/>
        </p:nvSpPr>
        <p:spPr>
          <a:xfrm>
            <a:off x="2203351" y="40617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공정거래위원회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graphicFrame>
        <p:nvGraphicFramePr>
          <p:cNvPr id="38" name="표 37">
            <a:extLst>
              <a:ext uri="{FF2B5EF4-FFF2-40B4-BE49-F238E27FC236}">
                <a16:creationId xmlns:a16="http://schemas.microsoft.com/office/drawing/2014/main" id="{8108E6E4-725E-855D-8C91-EAB28B6A2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370538"/>
              </p:ext>
            </p:extLst>
          </p:nvPr>
        </p:nvGraphicFramePr>
        <p:xfrm>
          <a:off x="504000" y="4392344"/>
          <a:ext cx="4291200" cy="1944000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725924959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76949343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705459012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3524845575"/>
                    </a:ext>
                  </a:extLst>
                </a:gridCol>
                <a:gridCol w="748800">
                  <a:extLst>
                    <a:ext uri="{9D8B030D-6E8A-4147-A177-3AD203B41FA5}">
                      <a16:colId xmlns:a16="http://schemas.microsoft.com/office/drawing/2014/main" val="262340490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단위</a:t>
                      </a:r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: </a:t>
                      </a:r>
                      <a:r>
                        <a:rPr lang="ko-KR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CAGR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4219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99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4,78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5,8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805926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15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5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,88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5534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0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03255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64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61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0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1" i="1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03098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900" b="0" i="1" u="none" strike="noStrike">
                          <a:solidFill>
                            <a:srgbClr val="2272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9%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5EB8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ko-KR" altLang="en-US" sz="900" b="0" i="1" u="none" strike="noStrike">
                        <a:solidFill>
                          <a:srgbClr val="005EB8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2955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8,55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7,90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9,7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6932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비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4,45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5,38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3,2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850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자보상배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.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.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37977"/>
                  </a:ext>
                </a:extLst>
              </a:tr>
            </a:tbl>
          </a:graphicData>
        </a:graphic>
      </p:graphicFrame>
      <p:grpSp>
        <p:nvGrpSpPr>
          <p:cNvPr id="39" name="그룹 38">
            <a:extLst>
              <a:ext uri="{FF2B5EF4-FFF2-40B4-BE49-F238E27FC236}">
                <a16:creationId xmlns:a16="http://schemas.microsoft.com/office/drawing/2014/main" id="{421FF489-FB08-464A-A772-78D2551D0E49}"/>
              </a:ext>
            </a:extLst>
          </p:cNvPr>
          <p:cNvGrpSpPr/>
          <p:nvPr/>
        </p:nvGrpSpPr>
        <p:grpSpPr>
          <a:xfrm>
            <a:off x="5082432" y="1440000"/>
            <a:ext cx="4262228" cy="360763"/>
            <a:chOff x="489772" y="1440000"/>
            <a:chExt cx="5234228" cy="360763"/>
          </a:xfrm>
        </p:grpSpPr>
        <p:sp>
          <p:nvSpPr>
            <p:cNvPr id="40" name="Rectangle 41">
              <a:extLst>
                <a:ext uri="{FF2B5EF4-FFF2-40B4-BE49-F238E27FC236}">
                  <a16:creationId xmlns:a16="http://schemas.microsoft.com/office/drawing/2014/main" id="{204766F9-17E5-BFD2-E1D7-DE7AFF0BF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00" y="1440000"/>
              <a:ext cx="4770367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ko-KR" altLang="en-US" sz="1200" b="1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▌카카오그룹 주요 사업영역</a:t>
              </a:r>
              <a:r>
                <a:rPr lang="en-US" altLang="ko-KR" sz="1200" b="1" baseline="30000">
                  <a:solidFill>
                    <a:srgbClr val="00338D"/>
                  </a:solidFill>
                  <a:latin typeface="KoPub돋움체 Medium" panose="00000600000000000000" pitchFamily="2" charset="-127"/>
                  <a:ea typeface="KoPub돋움체 Medium" panose="00000600000000000000" pitchFamily="2" charset="-127"/>
                </a:rPr>
                <a:t>(*)</a:t>
              </a:r>
              <a:endParaRPr lang="en-US" altLang="ko-KR" sz="1400" b="1" baseline="300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1" name="Rectangle 41">
              <a:extLst>
                <a:ext uri="{FF2B5EF4-FFF2-40B4-BE49-F238E27FC236}">
                  <a16:creationId xmlns:a16="http://schemas.microsoft.com/office/drawing/2014/main" id="{08DC6712-33C4-D956-3C73-328C2EAE0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72" y="1440763"/>
              <a:ext cx="44428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ko-KR" sz="1400" b="1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endParaRPr>
            </a:p>
          </p:txBody>
        </p:sp>
        <p:sp>
          <p:nvSpPr>
            <p:cNvPr id="42" name="Line 13">
              <a:extLst>
                <a:ext uri="{FF2B5EF4-FFF2-40B4-BE49-F238E27FC236}">
                  <a16:creationId xmlns:a16="http://schemas.microsoft.com/office/drawing/2014/main" id="{24B2C471-C00A-8C0E-95D8-AB22846CF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0445" y="1774787"/>
              <a:ext cx="5233555" cy="0"/>
            </a:xfrm>
            <a:prstGeom prst="line">
              <a:avLst/>
            </a:prstGeom>
            <a:noFill/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72000" tIns="36000" rIns="72000" bIns="36000" anchor="ctr"/>
            <a:lstStyle/>
            <a:p>
              <a:endParaRPr lang="ko-KR" altLang="en-US" sz="1200">
                <a:solidFill>
                  <a:schemeClr val="tx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4B488C1-B663-CB2E-DDD6-7A90C89766D4}"/>
              </a:ext>
            </a:extLst>
          </p:cNvPr>
          <p:cNvSpPr txBox="1"/>
          <p:nvPr/>
        </p:nvSpPr>
        <p:spPr>
          <a:xfrm>
            <a:off x="6767436" y="1512000"/>
            <a:ext cx="2620219" cy="28800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(Source: DART, </a:t>
            </a:r>
            <a:r>
              <a:rPr lang="ko-KR" altLang="en-US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회사홈페이지 </a:t>
            </a:r>
            <a:r>
              <a:rPr lang="en-US" altLang="ko-KR" sz="80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itchFamily="34" charset="0"/>
              </a:rPr>
              <a:t>KPMG Analysis)</a:t>
            </a:r>
            <a:endParaRPr lang="en-US" altLang="ko-KR" sz="800" b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44B04B6-0279-D4BA-B7A1-1F364117DE53}"/>
              </a:ext>
            </a:extLst>
          </p:cNvPr>
          <p:cNvSpPr txBox="1"/>
          <p:nvPr/>
        </p:nvSpPr>
        <p:spPr>
          <a:xfrm>
            <a:off x="5073669" y="6213233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각 사업영역별 주요 계열사만 기재하였음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4" name="직사각형 63">
            <a:extLst>
              <a:ext uri="{FF2B5EF4-FFF2-40B4-BE49-F238E27FC236}">
                <a16:creationId xmlns:a16="http://schemas.microsoft.com/office/drawing/2014/main" id="{50223CC2-06FE-AD8D-5840-36102BB1BFF4}"/>
              </a:ext>
            </a:extLst>
          </p:cNvPr>
          <p:cNvSpPr/>
          <p:nvPr/>
        </p:nvSpPr>
        <p:spPr>
          <a:xfrm>
            <a:off x="5076001" y="2143291"/>
            <a:ext cx="1044000" cy="360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플랫폼부문</a:t>
            </a:r>
          </a:p>
        </p:txBody>
      </p:sp>
      <p:sp>
        <p:nvSpPr>
          <p:cNvPr id="65" name="직사각형 64">
            <a:extLst>
              <a:ext uri="{FF2B5EF4-FFF2-40B4-BE49-F238E27FC236}">
                <a16:creationId xmlns:a16="http://schemas.microsoft.com/office/drawing/2014/main" id="{5D879549-6192-D7A7-D5A5-5FD53C7B21AD}"/>
              </a:ext>
            </a:extLst>
          </p:cNvPr>
          <p:cNvSpPr/>
          <p:nvPr/>
        </p:nvSpPr>
        <p:spPr>
          <a:xfrm>
            <a:off x="6162200" y="2143291"/>
            <a:ext cx="1044000" cy="360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컨텐츠 부문</a:t>
            </a:r>
          </a:p>
        </p:txBody>
      </p: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AB39A6D4-ACFB-720F-59CE-859E27E74AE7}"/>
              </a:ext>
            </a:extLst>
          </p:cNvPr>
          <p:cNvSpPr/>
          <p:nvPr/>
        </p:nvSpPr>
        <p:spPr>
          <a:xfrm>
            <a:off x="7248399" y="2143291"/>
            <a:ext cx="1044000" cy="360000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금융 부문</a:t>
            </a: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A486D689-03DF-C45A-AE3D-B1779472BA61}"/>
              </a:ext>
            </a:extLst>
          </p:cNvPr>
          <p:cNvSpPr/>
          <p:nvPr/>
        </p:nvSpPr>
        <p:spPr>
          <a:xfrm>
            <a:off x="5125647" y="2593992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lang="en-US" altLang="ko-KR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톡</a:t>
            </a:r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다음</a:t>
            </a:r>
            <a:r>
              <a:rPr lang="en-US" altLang="ko-KR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4ECC6B77-D55C-2A55-A158-DF946701D355}"/>
              </a:ext>
            </a:extLst>
          </p:cNvPr>
          <p:cNvSpPr/>
          <p:nvPr/>
        </p:nvSpPr>
        <p:spPr>
          <a:xfrm>
            <a:off x="5076000" y="2549292"/>
            <a:ext cx="1044001" cy="1944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54252B3-F021-BECA-DC03-ACEA94CC86E2}"/>
              </a:ext>
            </a:extLst>
          </p:cNvPr>
          <p:cNvSpPr/>
          <p:nvPr/>
        </p:nvSpPr>
        <p:spPr>
          <a:xfrm>
            <a:off x="8328790" y="2143291"/>
            <a:ext cx="1044000" cy="360000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부문</a:t>
            </a: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826758EB-4C51-3C0D-BE2B-268FB32C054E}"/>
              </a:ext>
            </a:extLst>
          </p:cNvPr>
          <p:cNvSpPr/>
          <p:nvPr/>
        </p:nvSpPr>
        <p:spPr>
          <a:xfrm>
            <a:off x="6213452" y="2593992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lang="en-US" altLang="ko-KR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터테인먼트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57CC0E04-18F0-4C78-C944-078FEA1AD487}"/>
              </a:ext>
            </a:extLst>
          </p:cNvPr>
          <p:cNvSpPr/>
          <p:nvPr/>
        </p:nvSpPr>
        <p:spPr>
          <a:xfrm>
            <a:off x="6162200" y="2549290"/>
            <a:ext cx="1044001" cy="1943999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BF3ACDBF-A40D-6338-F6A0-EAA205EDDF92}"/>
              </a:ext>
            </a:extLst>
          </p:cNvPr>
          <p:cNvSpPr/>
          <p:nvPr/>
        </p:nvSpPr>
        <p:spPr>
          <a:xfrm>
            <a:off x="7299651" y="2593992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뱅크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3343407-C3D3-DD7F-6B82-0BB2A1B55AEC}"/>
              </a:ext>
            </a:extLst>
          </p:cNvPr>
          <p:cNvSpPr/>
          <p:nvPr/>
        </p:nvSpPr>
        <p:spPr>
          <a:xfrm>
            <a:off x="7248399" y="2549290"/>
            <a:ext cx="1044001" cy="1460516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5EB8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95DA7168-A01B-C228-EB64-A0BB21B301B7}"/>
              </a:ext>
            </a:extLst>
          </p:cNvPr>
          <p:cNvSpPr/>
          <p:nvPr/>
        </p:nvSpPr>
        <p:spPr>
          <a:xfrm>
            <a:off x="8380040" y="2593992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lang="en-US" altLang="ko-KR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베스트먼트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684B8152-A053-F4ED-92C4-3613328FEC89}"/>
              </a:ext>
            </a:extLst>
          </p:cNvPr>
          <p:cNvSpPr/>
          <p:nvPr/>
        </p:nvSpPr>
        <p:spPr>
          <a:xfrm>
            <a:off x="8328788" y="2549291"/>
            <a:ext cx="1044001" cy="98781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1200" err="1">
              <a:solidFill>
                <a:srgbClr val="00C0AE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D4A80A2A-BBEB-CEFA-F615-507F0A658982}"/>
              </a:ext>
            </a:extLst>
          </p:cNvPr>
          <p:cNvSpPr/>
          <p:nvPr/>
        </p:nvSpPr>
        <p:spPr>
          <a:xfrm>
            <a:off x="5125647" y="3065453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모빌리티</a:t>
            </a:r>
            <a:endParaRPr lang="ko-KR" altLang="en-US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9D0DC9F6-CDA2-A616-0E50-3C4FF6205DF6}"/>
              </a:ext>
            </a:extLst>
          </p:cNvPr>
          <p:cNvSpPr/>
          <p:nvPr/>
        </p:nvSpPr>
        <p:spPr>
          <a:xfrm>
            <a:off x="8380040" y="3065453"/>
            <a:ext cx="936000" cy="419141"/>
          </a:xfrm>
          <a:prstGeom prst="rect">
            <a:avLst/>
          </a:prstGeom>
          <a:solidFill>
            <a:srgbClr val="00C0AE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00C0A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벤처스</a:t>
            </a:r>
            <a:endParaRPr lang="ko-KR" altLang="en-US" sz="900" b="1">
              <a:solidFill>
                <a:srgbClr val="00C0AE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A88FAEE9-AF1C-30E0-1BAD-3D601525BD9E}"/>
              </a:ext>
            </a:extLst>
          </p:cNvPr>
          <p:cNvSpPr/>
          <p:nvPr/>
        </p:nvSpPr>
        <p:spPr>
          <a:xfrm>
            <a:off x="5125647" y="3539794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페이</a:t>
            </a: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E7DC1B50-972C-EA53-EFC2-81768850D13D}"/>
              </a:ext>
            </a:extLst>
          </p:cNvPr>
          <p:cNvSpPr/>
          <p:nvPr/>
        </p:nvSpPr>
        <p:spPr>
          <a:xfrm>
            <a:off x="6213452" y="3065453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게임즈</a:t>
            </a:r>
            <a:endParaRPr lang="ko-KR" altLang="en-US" sz="8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D4C9CF2C-5474-1835-279C-9B3809C1C987}"/>
              </a:ext>
            </a:extLst>
          </p:cNvPr>
          <p:cNvSpPr/>
          <p:nvPr/>
        </p:nvSpPr>
        <p:spPr>
          <a:xfrm>
            <a:off x="6213452" y="3539794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 err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픽코마</a:t>
            </a:r>
            <a:endParaRPr lang="ko-KR" altLang="en-US" sz="900" b="1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AEC8B0B7-A46F-D1AA-3DD5-B0E6117E0014}"/>
              </a:ext>
            </a:extLst>
          </p:cNvPr>
          <p:cNvSpPr/>
          <p:nvPr/>
        </p:nvSpPr>
        <p:spPr>
          <a:xfrm>
            <a:off x="5125647" y="4008440"/>
            <a:ext cx="936000" cy="419141"/>
          </a:xfrm>
          <a:prstGeom prst="rect">
            <a:avLst/>
          </a:prstGeom>
          <a:solidFill>
            <a:srgbClr val="00338D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lang="en-US" altLang="ko-KR" sz="90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터프라이즈</a:t>
            </a:r>
          </a:p>
        </p:txBody>
      </p:sp>
      <p:sp>
        <p:nvSpPr>
          <p:cNvPr id="84" name="직사각형 83">
            <a:extLst>
              <a:ext uri="{FF2B5EF4-FFF2-40B4-BE49-F238E27FC236}">
                <a16:creationId xmlns:a16="http://schemas.microsoft.com/office/drawing/2014/main" id="{3802D6CF-5999-B2EC-CAB1-45043FC83A15}"/>
              </a:ext>
            </a:extLst>
          </p:cNvPr>
          <p:cNvSpPr/>
          <p:nvPr/>
        </p:nvSpPr>
        <p:spPr>
          <a:xfrm>
            <a:off x="7299651" y="3059480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페이증권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5" name="직사각형 84">
            <a:extLst>
              <a:ext uri="{FF2B5EF4-FFF2-40B4-BE49-F238E27FC236}">
                <a16:creationId xmlns:a16="http://schemas.microsoft.com/office/drawing/2014/main" id="{AB2F7A98-713A-10BE-7EA6-3C3BA87781F2}"/>
              </a:ext>
            </a:extLst>
          </p:cNvPr>
          <p:cNvSpPr/>
          <p:nvPr/>
        </p:nvSpPr>
        <p:spPr>
          <a:xfrm>
            <a:off x="7299651" y="3539794"/>
            <a:ext cx="936000" cy="419141"/>
          </a:xfrm>
          <a:prstGeom prst="rect">
            <a:avLst/>
          </a:prstGeom>
          <a:solidFill>
            <a:srgbClr val="76D2FF">
              <a:alpha val="24706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페이</a:t>
            </a:r>
            <a:endParaRPr lang="en-US" altLang="ko-KR" sz="9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900" b="1">
                <a:solidFill>
                  <a:srgbClr val="005EB8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손해보험</a:t>
            </a:r>
            <a:endParaRPr lang="ko-KR" altLang="en-US" sz="700" b="1">
              <a:solidFill>
                <a:srgbClr val="005EB8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CC4A0C7C-BEB9-4DC2-9CD2-AD374B6D4F67}"/>
              </a:ext>
            </a:extLst>
          </p:cNvPr>
          <p:cNvSpPr/>
          <p:nvPr/>
        </p:nvSpPr>
        <p:spPr>
          <a:xfrm>
            <a:off x="6213452" y="4009806"/>
            <a:ext cx="936000" cy="419141"/>
          </a:xfrm>
          <a:prstGeom prst="rect">
            <a:avLst/>
          </a:prstGeom>
          <a:solidFill>
            <a:srgbClr val="1E49E2">
              <a:alpha val="25098"/>
            </a:srgbClr>
          </a:solidFill>
          <a:ln w="3175">
            <a:solidFill>
              <a:srgbClr val="E5F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M</a:t>
            </a:r>
            <a:r>
              <a:rPr lang="ko-KR" altLang="en-US" sz="90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터테인먼트</a:t>
            </a:r>
          </a:p>
        </p:txBody>
      </p:sp>
    </p:spTree>
    <p:extLst>
      <p:ext uri="{BB962C8B-B14F-4D97-AF65-F5344CB8AC3E}">
        <p14:creationId xmlns:p14="http://schemas.microsoft.com/office/powerpoint/2010/main" val="243966138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직사각형 71">
            <a:extLst>
              <a:ext uri="{FF2B5EF4-FFF2-40B4-BE49-F238E27FC236}">
                <a16:creationId xmlns:a16="http://schemas.microsoft.com/office/drawing/2014/main" id="{9CF11B4B-4740-6FDB-01A9-3B1BEE208651}"/>
              </a:ext>
            </a:extLst>
          </p:cNvPr>
          <p:cNvSpPr/>
          <p:nvPr/>
        </p:nvSpPr>
        <p:spPr>
          <a:xfrm>
            <a:off x="488950" y="1440000"/>
            <a:ext cx="8928000" cy="216000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900" b="1" dirty="0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카카오그룹 주요 계열사 지분구조</a:t>
            </a:r>
          </a:p>
        </p:txBody>
      </p:sp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그룹 지분구조</a:t>
            </a:r>
            <a:endParaRPr lang="en-US" sz="1500" b="1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80" name="직선 화살표 연결선 79">
            <a:extLst>
              <a:ext uri="{FF2B5EF4-FFF2-40B4-BE49-F238E27FC236}">
                <a16:creationId xmlns:a16="http://schemas.microsoft.com/office/drawing/2014/main" id="{45973D29-2C48-FFD5-6929-D2F9E7BD91A7}"/>
              </a:ext>
            </a:extLst>
          </p:cNvPr>
          <p:cNvCxnSpPr>
            <a:cxnSpLocks/>
          </p:cNvCxnSpPr>
          <p:nvPr/>
        </p:nvCxnSpPr>
        <p:spPr>
          <a:xfrm>
            <a:off x="4954131" y="3154680"/>
            <a:ext cx="0" cy="202168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직선 화살표 연결선 80">
            <a:extLst>
              <a:ext uri="{FF2B5EF4-FFF2-40B4-BE49-F238E27FC236}">
                <a16:creationId xmlns:a16="http://schemas.microsoft.com/office/drawing/2014/main" id="{94B35AEC-7320-9450-8DC1-9C5A8E2F973C}"/>
              </a:ext>
            </a:extLst>
          </p:cNvPr>
          <p:cNvCxnSpPr>
            <a:cxnSpLocks/>
            <a:stCxn id="82" idx="2"/>
          </p:cNvCxnSpPr>
          <p:nvPr/>
        </p:nvCxnSpPr>
        <p:spPr>
          <a:xfrm>
            <a:off x="4954131" y="2619534"/>
            <a:ext cx="0" cy="292437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모서리가 둥근 직사각형 167">
            <a:extLst>
              <a:ext uri="{FF2B5EF4-FFF2-40B4-BE49-F238E27FC236}">
                <a16:creationId xmlns:a16="http://schemas.microsoft.com/office/drawing/2014/main" id="{8B0C232A-E66D-7DE4-3646-C3B6761A6851}"/>
              </a:ext>
            </a:extLst>
          </p:cNvPr>
          <p:cNvSpPr/>
          <p:nvPr/>
        </p:nvSpPr>
        <p:spPr>
          <a:xfrm>
            <a:off x="4450131" y="2259534"/>
            <a:ext cx="1008000" cy="360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 </a:t>
            </a:r>
            <a:r>
              <a:rPr lang="en-US" altLang="ko-KR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김범수</a:t>
            </a:r>
            <a:r>
              <a:rPr lang="en-US" altLang="ko-KR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771E7D92-7A21-E3EE-A5A4-20375ADDDABE}"/>
              </a:ext>
            </a:extLst>
          </p:cNvPr>
          <p:cNvSpPr/>
          <p:nvPr/>
        </p:nvSpPr>
        <p:spPr>
          <a:xfrm>
            <a:off x="7844788" y="1688161"/>
            <a:ext cx="1560779" cy="1297581"/>
          </a:xfrm>
          <a:prstGeom prst="rect">
            <a:avLst/>
          </a:prstGeom>
          <a:noFill/>
          <a:ln w="12700">
            <a:solidFill>
              <a:srgbClr val="00338D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4" name="모서리가 둥근 직사각형 167">
            <a:extLst>
              <a:ext uri="{FF2B5EF4-FFF2-40B4-BE49-F238E27FC236}">
                <a16:creationId xmlns:a16="http://schemas.microsoft.com/office/drawing/2014/main" id="{DA5DA839-7C40-BC26-9568-46A43048F1A8}"/>
              </a:ext>
            </a:extLst>
          </p:cNvPr>
          <p:cNvSpPr/>
          <p:nvPr/>
        </p:nvSpPr>
        <p:spPr>
          <a:xfrm>
            <a:off x="7928756" y="1946229"/>
            <a:ext cx="360000" cy="21318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5" name="모서리가 둥근 직사각형 167">
            <a:extLst>
              <a:ext uri="{FF2B5EF4-FFF2-40B4-BE49-F238E27FC236}">
                <a16:creationId xmlns:a16="http://schemas.microsoft.com/office/drawing/2014/main" id="{2BDFC84A-0537-8A3B-5441-AEB9C5FCFD08}"/>
              </a:ext>
            </a:extLst>
          </p:cNvPr>
          <p:cNvSpPr/>
          <p:nvPr/>
        </p:nvSpPr>
        <p:spPr>
          <a:xfrm>
            <a:off x="7928756" y="2193358"/>
            <a:ext cx="360000" cy="213184"/>
          </a:xfrm>
          <a:prstGeom prst="roundRect">
            <a:avLst>
              <a:gd name="adj" fmla="val 0"/>
            </a:avLst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6" name="모서리가 둥근 직사각형 167">
            <a:extLst>
              <a:ext uri="{FF2B5EF4-FFF2-40B4-BE49-F238E27FC236}">
                <a16:creationId xmlns:a16="http://schemas.microsoft.com/office/drawing/2014/main" id="{F7B3F394-EB78-D1FE-DE8B-028B3D84FDC8}"/>
              </a:ext>
            </a:extLst>
          </p:cNvPr>
          <p:cNvSpPr/>
          <p:nvPr/>
        </p:nvSpPr>
        <p:spPr>
          <a:xfrm>
            <a:off x="7928756" y="2448107"/>
            <a:ext cx="360000" cy="213184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87" name="모서리가 둥근 직사각형 167">
            <a:extLst>
              <a:ext uri="{FF2B5EF4-FFF2-40B4-BE49-F238E27FC236}">
                <a16:creationId xmlns:a16="http://schemas.microsoft.com/office/drawing/2014/main" id="{75C9348F-24C8-6935-1411-FF5B58DDC047}"/>
              </a:ext>
            </a:extLst>
          </p:cNvPr>
          <p:cNvSpPr/>
          <p:nvPr/>
        </p:nvSpPr>
        <p:spPr>
          <a:xfrm>
            <a:off x="7875416" y="171696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범례</a:t>
            </a:r>
          </a:p>
        </p:txBody>
      </p:sp>
      <p:sp>
        <p:nvSpPr>
          <p:cNvPr id="88" name="모서리가 둥근 직사각형 167">
            <a:extLst>
              <a:ext uri="{FF2B5EF4-FFF2-40B4-BE49-F238E27FC236}">
                <a16:creationId xmlns:a16="http://schemas.microsoft.com/office/drawing/2014/main" id="{773B5933-8E78-DF6E-2B7B-A29D9DB8081F}"/>
              </a:ext>
            </a:extLst>
          </p:cNvPr>
          <p:cNvSpPr/>
          <p:nvPr/>
        </p:nvSpPr>
        <p:spPr>
          <a:xfrm>
            <a:off x="7928756" y="2708485"/>
            <a:ext cx="360000" cy="213184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0" name="모서리가 둥근 직사각형 167">
            <a:extLst>
              <a:ext uri="{FF2B5EF4-FFF2-40B4-BE49-F238E27FC236}">
                <a16:creationId xmlns:a16="http://schemas.microsoft.com/office/drawing/2014/main" id="{13B8D11E-8BBE-D365-B1B9-DB50D2178761}"/>
              </a:ext>
            </a:extLst>
          </p:cNvPr>
          <p:cNvSpPr/>
          <p:nvPr/>
        </p:nvSpPr>
        <p:spPr>
          <a:xfrm>
            <a:off x="8293213" y="1933361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동일인</a:t>
            </a:r>
          </a:p>
        </p:txBody>
      </p:sp>
      <p:sp>
        <p:nvSpPr>
          <p:cNvPr id="91" name="모서리가 둥근 직사각형 167">
            <a:extLst>
              <a:ext uri="{FF2B5EF4-FFF2-40B4-BE49-F238E27FC236}">
                <a16:creationId xmlns:a16="http://schemas.microsoft.com/office/drawing/2014/main" id="{895E174D-02ED-0E12-C4A5-C7BAE20CCBC0}"/>
              </a:ext>
            </a:extLst>
          </p:cNvPr>
          <p:cNvSpPr/>
          <p:nvPr/>
        </p:nvSpPr>
        <p:spPr>
          <a:xfrm>
            <a:off x="8293213" y="2192600"/>
            <a:ext cx="596914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주회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2" name="모서리가 둥근 직사각형 167">
            <a:extLst>
              <a:ext uri="{FF2B5EF4-FFF2-40B4-BE49-F238E27FC236}">
                <a16:creationId xmlns:a16="http://schemas.microsoft.com/office/drawing/2014/main" id="{A3FD774C-D667-19C5-1F3B-3D0D6D112BE2}"/>
              </a:ext>
            </a:extLst>
          </p:cNvPr>
          <p:cNvSpPr/>
          <p:nvPr/>
        </p:nvSpPr>
        <p:spPr>
          <a:xfrm>
            <a:off x="8293212" y="2443934"/>
            <a:ext cx="1136587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3" name="모서리가 둥근 직사각형 167">
            <a:extLst>
              <a:ext uri="{FF2B5EF4-FFF2-40B4-BE49-F238E27FC236}">
                <a16:creationId xmlns:a16="http://schemas.microsoft.com/office/drawing/2014/main" id="{25114AA7-9560-FEFE-1222-066813048739}"/>
              </a:ext>
            </a:extLst>
          </p:cNvPr>
          <p:cNvSpPr/>
          <p:nvPr/>
        </p:nvSpPr>
        <p:spPr>
          <a:xfrm>
            <a:off x="8293213" y="2704288"/>
            <a:ext cx="906180" cy="21318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타 계열사</a:t>
            </a:r>
            <a:endParaRPr kumimoji="0" lang="ko-KR" altLang="en-US" sz="9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4" name="타원 93">
            <a:extLst>
              <a:ext uri="{FF2B5EF4-FFF2-40B4-BE49-F238E27FC236}">
                <a16:creationId xmlns:a16="http://schemas.microsoft.com/office/drawing/2014/main" id="{373ED2B0-23E5-E4DC-8577-6B966989F48B}"/>
              </a:ext>
            </a:extLst>
          </p:cNvPr>
          <p:cNvSpPr/>
          <p:nvPr/>
        </p:nvSpPr>
        <p:spPr>
          <a:xfrm>
            <a:off x="4874816" y="2625912"/>
            <a:ext cx="612000" cy="180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3.3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5" name="직선 화살표 연결선 4">
            <a:extLst>
              <a:ext uri="{FF2B5EF4-FFF2-40B4-BE49-F238E27FC236}">
                <a16:creationId xmlns:a16="http://schemas.microsoft.com/office/drawing/2014/main" id="{1A688801-F404-0D36-200E-06B1E411D94C}"/>
              </a:ext>
            </a:extLst>
          </p:cNvPr>
          <p:cNvCxnSpPr>
            <a:cxnSpLocks/>
          </p:cNvCxnSpPr>
          <p:nvPr/>
        </p:nvCxnSpPr>
        <p:spPr>
          <a:xfrm>
            <a:off x="1918812" y="33571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3FB8E268-E82B-16E2-3647-8F4AB15BD151}"/>
              </a:ext>
            </a:extLst>
          </p:cNvPr>
          <p:cNvCxnSpPr>
            <a:cxnSpLocks/>
          </p:cNvCxnSpPr>
          <p:nvPr/>
        </p:nvCxnSpPr>
        <p:spPr>
          <a:xfrm flipH="1">
            <a:off x="704504" y="3357118"/>
            <a:ext cx="8500156" cy="0"/>
          </a:xfrm>
          <a:prstGeom prst="straightConnector1">
            <a:avLst/>
          </a:prstGeom>
          <a:ln>
            <a:solidFill>
              <a:srgbClr val="1E49E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53605DB1-3991-EDA8-3121-28BE8BA7325E}"/>
              </a:ext>
            </a:extLst>
          </p:cNvPr>
          <p:cNvCxnSpPr>
            <a:cxnSpLocks/>
          </p:cNvCxnSpPr>
          <p:nvPr/>
        </p:nvCxnSpPr>
        <p:spPr>
          <a:xfrm>
            <a:off x="704504" y="33571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타원 21">
            <a:extLst>
              <a:ext uri="{FF2B5EF4-FFF2-40B4-BE49-F238E27FC236}">
                <a16:creationId xmlns:a16="http://schemas.microsoft.com/office/drawing/2014/main" id="{6D8529FE-1C55-0BBE-7358-D7744675CA80}"/>
              </a:ext>
            </a:extLst>
          </p:cNvPr>
          <p:cNvSpPr/>
          <p:nvPr/>
        </p:nvSpPr>
        <p:spPr>
          <a:xfrm>
            <a:off x="448552" y="35111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9.2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3" name="타원 22">
            <a:extLst>
              <a:ext uri="{FF2B5EF4-FFF2-40B4-BE49-F238E27FC236}">
                <a16:creationId xmlns:a16="http://schemas.microsoft.com/office/drawing/2014/main" id="{61F7DDFB-C75E-7D20-ACF5-8500090A8E7E}"/>
              </a:ext>
            </a:extLst>
          </p:cNvPr>
          <p:cNvSpPr/>
          <p:nvPr/>
        </p:nvSpPr>
        <p:spPr>
          <a:xfrm>
            <a:off x="1658506" y="35111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4" name="모서리가 둥근 직사각형 167">
            <a:extLst>
              <a:ext uri="{FF2B5EF4-FFF2-40B4-BE49-F238E27FC236}">
                <a16:creationId xmlns:a16="http://schemas.microsoft.com/office/drawing/2014/main" id="{EB567A73-F2F2-4CA2-5414-29E1E1526C15}"/>
              </a:ext>
            </a:extLst>
          </p:cNvPr>
          <p:cNvSpPr/>
          <p:nvPr/>
        </p:nvSpPr>
        <p:spPr>
          <a:xfrm>
            <a:off x="200504" y="3867439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스타일</a:t>
            </a:r>
          </a:p>
        </p:txBody>
      </p:sp>
      <p:sp>
        <p:nvSpPr>
          <p:cNvPr id="25" name="모서리가 둥근 직사각형 167">
            <a:extLst>
              <a:ext uri="{FF2B5EF4-FFF2-40B4-BE49-F238E27FC236}">
                <a16:creationId xmlns:a16="http://schemas.microsoft.com/office/drawing/2014/main" id="{4349AC4E-9382-AE0C-ACA6-92B38F7F4553}"/>
              </a:ext>
            </a:extLst>
          </p:cNvPr>
          <p:cNvSpPr/>
          <p:nvPr/>
        </p:nvSpPr>
        <p:spPr>
          <a:xfrm>
            <a:off x="1414812" y="3869141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lang="en-US" altLang="ko-KR" sz="900" b="1" dirty="0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엔터테인먼트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6" name="직선 화살표 연결선 25">
            <a:extLst>
              <a:ext uri="{FF2B5EF4-FFF2-40B4-BE49-F238E27FC236}">
                <a16:creationId xmlns:a16="http://schemas.microsoft.com/office/drawing/2014/main" id="{8973A8D4-E916-0AEC-62E4-79981DB60071}"/>
              </a:ext>
            </a:extLst>
          </p:cNvPr>
          <p:cNvCxnSpPr>
            <a:cxnSpLocks/>
          </p:cNvCxnSpPr>
          <p:nvPr/>
        </p:nvCxnSpPr>
        <p:spPr>
          <a:xfrm>
            <a:off x="3133120" y="33572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타원 26">
            <a:extLst>
              <a:ext uri="{FF2B5EF4-FFF2-40B4-BE49-F238E27FC236}">
                <a16:creationId xmlns:a16="http://schemas.microsoft.com/office/drawing/2014/main" id="{DD2D3012-C4D7-6EE1-FC73-7088A13F623F}"/>
              </a:ext>
            </a:extLst>
          </p:cNvPr>
          <p:cNvSpPr/>
          <p:nvPr/>
        </p:nvSpPr>
        <p:spPr>
          <a:xfrm>
            <a:off x="2868460" y="35091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71.2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28" name="모서리가 둥근 직사각형 167">
            <a:extLst>
              <a:ext uri="{FF2B5EF4-FFF2-40B4-BE49-F238E27FC236}">
                <a16:creationId xmlns:a16="http://schemas.microsoft.com/office/drawing/2014/main" id="{1B7FE772-3189-2DE4-1A97-71F2F345C3B8}"/>
              </a:ext>
            </a:extLst>
          </p:cNvPr>
          <p:cNvSpPr/>
          <p:nvPr/>
        </p:nvSpPr>
        <p:spPr>
          <a:xfrm>
            <a:off x="2629120" y="3869992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모빌리티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F2E55978-D1FA-FDDB-9AD9-C6F2966299CB}"/>
              </a:ext>
            </a:extLst>
          </p:cNvPr>
          <p:cNvCxnSpPr>
            <a:cxnSpLocks/>
          </p:cNvCxnSpPr>
          <p:nvPr/>
        </p:nvCxnSpPr>
        <p:spPr>
          <a:xfrm>
            <a:off x="4347428" y="33572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타원 29">
            <a:extLst>
              <a:ext uri="{FF2B5EF4-FFF2-40B4-BE49-F238E27FC236}">
                <a16:creationId xmlns:a16="http://schemas.microsoft.com/office/drawing/2014/main" id="{F90C0ABA-26DA-8C26-01C1-09535AEC83F9}"/>
              </a:ext>
            </a:extLst>
          </p:cNvPr>
          <p:cNvSpPr/>
          <p:nvPr/>
        </p:nvSpPr>
        <p:spPr>
          <a:xfrm>
            <a:off x="4078414" y="35091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5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9542BE0D-4F2B-2D0F-6C76-338ED6D58C9D}"/>
              </a:ext>
            </a:extLst>
          </p:cNvPr>
          <p:cNvCxnSpPr>
            <a:cxnSpLocks/>
          </p:cNvCxnSpPr>
          <p:nvPr/>
        </p:nvCxnSpPr>
        <p:spPr>
          <a:xfrm>
            <a:off x="6776044" y="3357118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타원 47">
            <a:extLst>
              <a:ext uri="{FF2B5EF4-FFF2-40B4-BE49-F238E27FC236}">
                <a16:creationId xmlns:a16="http://schemas.microsoft.com/office/drawing/2014/main" id="{3317CC85-8310-894C-6210-FFBFADA74E9F}"/>
              </a:ext>
            </a:extLst>
          </p:cNvPr>
          <p:cNvSpPr/>
          <p:nvPr/>
        </p:nvSpPr>
        <p:spPr>
          <a:xfrm>
            <a:off x="6498322" y="3511146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9" name="모서리가 둥근 직사각형 167">
            <a:extLst>
              <a:ext uri="{FF2B5EF4-FFF2-40B4-BE49-F238E27FC236}">
                <a16:creationId xmlns:a16="http://schemas.microsoft.com/office/drawing/2014/main" id="{FE5011DC-CAAE-9750-7E63-FB10858695B2}"/>
              </a:ext>
            </a:extLst>
          </p:cNvPr>
          <p:cNvSpPr/>
          <p:nvPr/>
        </p:nvSpPr>
        <p:spPr>
          <a:xfrm>
            <a:off x="6272044" y="3868290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뱅크</a:t>
            </a: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E88D3932-AD8D-5312-2141-179D0B27A9C4}"/>
              </a:ext>
            </a:extLst>
          </p:cNvPr>
          <p:cNvCxnSpPr>
            <a:cxnSpLocks/>
          </p:cNvCxnSpPr>
          <p:nvPr/>
        </p:nvCxnSpPr>
        <p:spPr>
          <a:xfrm>
            <a:off x="5561736" y="335725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타원 52">
            <a:extLst>
              <a:ext uri="{FF2B5EF4-FFF2-40B4-BE49-F238E27FC236}">
                <a16:creationId xmlns:a16="http://schemas.microsoft.com/office/drawing/2014/main" id="{4C50BA61-96ED-36E3-B6DD-978A13C25798}"/>
              </a:ext>
            </a:extLst>
          </p:cNvPr>
          <p:cNvSpPr/>
          <p:nvPr/>
        </p:nvSpPr>
        <p:spPr>
          <a:xfrm>
            <a:off x="5288368" y="3509192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83.6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4" name="모서리가 둥근 직사각형 167">
            <a:extLst>
              <a:ext uri="{FF2B5EF4-FFF2-40B4-BE49-F238E27FC236}">
                <a16:creationId xmlns:a16="http://schemas.microsoft.com/office/drawing/2014/main" id="{BA98424B-CA36-2B05-7943-C4242304B7BC}"/>
              </a:ext>
            </a:extLst>
          </p:cNvPr>
          <p:cNvSpPr/>
          <p:nvPr/>
        </p:nvSpPr>
        <p:spPr>
          <a:xfrm>
            <a:off x="5057736" y="3871694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페이</a:t>
            </a:r>
          </a:p>
        </p:txBody>
      </p:sp>
      <p:cxnSp>
        <p:nvCxnSpPr>
          <p:cNvPr id="11" name="직선 화살표 연결선 10">
            <a:extLst>
              <a:ext uri="{FF2B5EF4-FFF2-40B4-BE49-F238E27FC236}">
                <a16:creationId xmlns:a16="http://schemas.microsoft.com/office/drawing/2014/main" id="{9BFAF05D-C803-5EF7-0C8A-B899E3CA98F0}"/>
              </a:ext>
            </a:extLst>
          </p:cNvPr>
          <p:cNvCxnSpPr>
            <a:cxnSpLocks/>
            <a:stCxn id="82" idx="3"/>
            <a:endCxn id="14" idx="1"/>
          </p:cNvCxnSpPr>
          <p:nvPr/>
        </p:nvCxnSpPr>
        <p:spPr>
          <a:xfrm flipV="1">
            <a:off x="5458131" y="2433428"/>
            <a:ext cx="469238" cy="6106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모서리가 둥근 직사각형 167">
            <a:extLst>
              <a:ext uri="{FF2B5EF4-FFF2-40B4-BE49-F238E27FC236}">
                <a16:creationId xmlns:a16="http://schemas.microsoft.com/office/drawing/2014/main" id="{B7B80AB7-CE9D-C1B1-5A82-957E58B8F0AD}"/>
              </a:ext>
            </a:extLst>
          </p:cNvPr>
          <p:cNvSpPr/>
          <p:nvPr/>
        </p:nvSpPr>
        <p:spPr>
          <a:xfrm>
            <a:off x="5927369" y="2253428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케이큐브홀딩스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타원 14">
            <a:extLst>
              <a:ext uri="{FF2B5EF4-FFF2-40B4-BE49-F238E27FC236}">
                <a16:creationId xmlns:a16="http://schemas.microsoft.com/office/drawing/2014/main" id="{1C56B1FC-9932-BE72-423D-21B688F9B545}"/>
              </a:ext>
            </a:extLst>
          </p:cNvPr>
          <p:cNvSpPr/>
          <p:nvPr/>
        </p:nvSpPr>
        <p:spPr>
          <a:xfrm>
            <a:off x="5397157" y="2268064"/>
            <a:ext cx="612000" cy="180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AB12CC1D-8EB1-2233-753C-20ED0C0DDA88}"/>
              </a:ext>
            </a:extLst>
          </p:cNvPr>
          <p:cNvCxnSpPr>
            <a:cxnSpLocks/>
            <a:stCxn id="14" idx="2"/>
            <a:endCxn id="3" idx="3"/>
          </p:cNvCxnSpPr>
          <p:nvPr/>
        </p:nvCxnSpPr>
        <p:spPr>
          <a:xfrm flipH="1">
            <a:off x="5458131" y="2613428"/>
            <a:ext cx="973238" cy="369231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타원 35">
            <a:extLst>
              <a:ext uri="{FF2B5EF4-FFF2-40B4-BE49-F238E27FC236}">
                <a16:creationId xmlns:a16="http://schemas.microsoft.com/office/drawing/2014/main" id="{83650402-A4FD-6CE2-03B4-D5186D36E420}"/>
              </a:ext>
            </a:extLst>
          </p:cNvPr>
          <p:cNvSpPr/>
          <p:nvPr/>
        </p:nvSpPr>
        <p:spPr>
          <a:xfrm>
            <a:off x="5786407" y="2785449"/>
            <a:ext cx="612000" cy="18000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.6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2" name="직선 화살표 연결선 41">
            <a:extLst>
              <a:ext uri="{FF2B5EF4-FFF2-40B4-BE49-F238E27FC236}">
                <a16:creationId xmlns:a16="http://schemas.microsoft.com/office/drawing/2014/main" id="{74325A9B-4B87-9F92-25EA-60C0F6CE0807}"/>
              </a:ext>
            </a:extLst>
          </p:cNvPr>
          <p:cNvCxnSpPr>
            <a:cxnSpLocks/>
          </p:cNvCxnSpPr>
          <p:nvPr/>
        </p:nvCxnSpPr>
        <p:spPr>
          <a:xfrm>
            <a:off x="7990352" y="3363077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타원 43">
            <a:extLst>
              <a:ext uri="{FF2B5EF4-FFF2-40B4-BE49-F238E27FC236}">
                <a16:creationId xmlns:a16="http://schemas.microsoft.com/office/drawing/2014/main" id="{DFA0E7E9-0953-66B0-74B5-9ECECCC32F8A}"/>
              </a:ext>
            </a:extLst>
          </p:cNvPr>
          <p:cNvSpPr/>
          <p:nvPr/>
        </p:nvSpPr>
        <p:spPr>
          <a:xfrm>
            <a:off x="7708276" y="3517105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6" name="모서리가 둥근 직사각형 167">
            <a:extLst>
              <a:ext uri="{FF2B5EF4-FFF2-40B4-BE49-F238E27FC236}">
                <a16:creationId xmlns:a16="http://schemas.microsoft.com/office/drawing/2014/main" id="{61DCE93E-B667-D160-D0D7-B9D481C49876}"/>
              </a:ext>
            </a:extLst>
          </p:cNvPr>
          <p:cNvSpPr/>
          <p:nvPr/>
        </p:nvSpPr>
        <p:spPr>
          <a:xfrm>
            <a:off x="7486352" y="3873398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r>
              <a:rPr lang="en-US" altLang="ko-KR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G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EE34C413-B503-4B06-25C6-3E0D3CC799E3}"/>
              </a:ext>
            </a:extLst>
          </p:cNvPr>
          <p:cNvCxnSpPr>
            <a:cxnSpLocks/>
          </p:cNvCxnSpPr>
          <p:nvPr/>
        </p:nvCxnSpPr>
        <p:spPr>
          <a:xfrm>
            <a:off x="9204660" y="3361416"/>
            <a:ext cx="0" cy="483872"/>
          </a:xfrm>
          <a:prstGeom prst="straightConnector1">
            <a:avLst/>
          </a:prstGeom>
          <a:ln>
            <a:solidFill>
              <a:srgbClr val="1E49E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타원 49">
            <a:extLst>
              <a:ext uri="{FF2B5EF4-FFF2-40B4-BE49-F238E27FC236}">
                <a16:creationId xmlns:a16="http://schemas.microsoft.com/office/drawing/2014/main" id="{13A77972-BE38-8D0B-62D7-9357F17100A8}"/>
              </a:ext>
            </a:extLst>
          </p:cNvPr>
          <p:cNvSpPr/>
          <p:nvPr/>
        </p:nvSpPr>
        <p:spPr>
          <a:xfrm>
            <a:off x="8918228" y="3515444"/>
            <a:ext cx="612000" cy="180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>
                <a:solidFill>
                  <a:schemeClr val="tx1">
                    <a:lumMod val="75000"/>
                    <a:lumOff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00%</a:t>
            </a:r>
            <a:endParaRPr lang="ko-KR" altLang="en-US" sz="800">
              <a:solidFill>
                <a:schemeClr val="tx1">
                  <a:lumMod val="75000"/>
                  <a:lumOff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51" name="모서리가 둥근 직사각형 167">
            <a:extLst>
              <a:ext uri="{FF2B5EF4-FFF2-40B4-BE49-F238E27FC236}">
                <a16:creationId xmlns:a16="http://schemas.microsoft.com/office/drawing/2014/main" id="{1787D9C0-EE40-BEDF-F4E5-B0618949DE35}"/>
              </a:ext>
            </a:extLst>
          </p:cNvPr>
          <p:cNvSpPr/>
          <p:nvPr/>
        </p:nvSpPr>
        <p:spPr>
          <a:xfrm>
            <a:off x="8700660" y="3872545"/>
            <a:ext cx="1008000" cy="360000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재팬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3" name="모서리가 둥근 직사각형 167">
            <a:extLst>
              <a:ext uri="{FF2B5EF4-FFF2-40B4-BE49-F238E27FC236}">
                <a16:creationId xmlns:a16="http://schemas.microsoft.com/office/drawing/2014/main" id="{1CD961FF-8AF4-264F-A69D-BE096CB8C702}"/>
              </a:ext>
            </a:extLst>
          </p:cNvPr>
          <p:cNvSpPr/>
          <p:nvPr/>
        </p:nvSpPr>
        <p:spPr>
          <a:xfrm>
            <a:off x="4450131" y="2802659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prstClr val="white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60" name="직선 화살표 연결선 59">
            <a:extLst>
              <a:ext uri="{FF2B5EF4-FFF2-40B4-BE49-F238E27FC236}">
                <a16:creationId xmlns:a16="http://schemas.microsoft.com/office/drawing/2014/main" id="{8640FABA-C09C-850B-D4E7-B289E2545F9E}"/>
              </a:ext>
            </a:extLst>
          </p:cNvPr>
          <p:cNvCxnSpPr>
            <a:cxnSpLocks/>
            <a:endCxn id="65" idx="0"/>
          </p:cNvCxnSpPr>
          <p:nvPr/>
        </p:nvCxnSpPr>
        <p:spPr>
          <a:xfrm>
            <a:off x="4347428" y="3996394"/>
            <a:ext cx="0" cy="691136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직선 화살표 연결선 60">
            <a:extLst>
              <a:ext uri="{FF2B5EF4-FFF2-40B4-BE49-F238E27FC236}">
                <a16:creationId xmlns:a16="http://schemas.microsoft.com/office/drawing/2014/main" id="{6FAF1079-C5DE-4573-1E11-3C8322ED9A9A}"/>
              </a:ext>
            </a:extLst>
          </p:cNvPr>
          <p:cNvCxnSpPr>
            <a:cxnSpLocks/>
            <a:endCxn id="66" idx="0"/>
          </p:cNvCxnSpPr>
          <p:nvPr/>
        </p:nvCxnSpPr>
        <p:spPr>
          <a:xfrm>
            <a:off x="4937853" y="4343451"/>
            <a:ext cx="0" cy="344079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타원 61">
            <a:extLst>
              <a:ext uri="{FF2B5EF4-FFF2-40B4-BE49-F238E27FC236}">
                <a16:creationId xmlns:a16="http://schemas.microsoft.com/office/drawing/2014/main" id="{5DF2D819-F1C2-F79E-EDA2-AC29B4F195CF}"/>
              </a:ext>
            </a:extLst>
          </p:cNvPr>
          <p:cNvSpPr/>
          <p:nvPr/>
        </p:nvSpPr>
        <p:spPr>
          <a:xfrm>
            <a:off x="4074992" y="444705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34.8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3" name="타원 62">
            <a:extLst>
              <a:ext uri="{FF2B5EF4-FFF2-40B4-BE49-F238E27FC236}">
                <a16:creationId xmlns:a16="http://schemas.microsoft.com/office/drawing/2014/main" id="{54FB76C7-E137-0349-F0B4-46BD340DAC1D}"/>
              </a:ext>
            </a:extLst>
          </p:cNvPr>
          <p:cNvSpPr/>
          <p:nvPr/>
        </p:nvSpPr>
        <p:spPr>
          <a:xfrm>
            <a:off x="4662366" y="4453550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10.7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cxnSp>
        <p:nvCxnSpPr>
          <p:cNvPr id="67" name="직선 화살표 연결선 66">
            <a:extLst>
              <a:ext uri="{FF2B5EF4-FFF2-40B4-BE49-F238E27FC236}">
                <a16:creationId xmlns:a16="http://schemas.microsoft.com/office/drawing/2014/main" id="{61945F0B-0197-328A-AFEF-24A25521B9AB}"/>
              </a:ext>
            </a:extLst>
          </p:cNvPr>
          <p:cNvCxnSpPr>
            <a:cxnSpLocks/>
          </p:cNvCxnSpPr>
          <p:nvPr/>
        </p:nvCxnSpPr>
        <p:spPr>
          <a:xfrm flipH="1">
            <a:off x="3757002" y="4343365"/>
            <a:ext cx="1180851" cy="0"/>
          </a:xfrm>
          <a:prstGeom prst="straightConnector1">
            <a:avLst/>
          </a:prstGeom>
          <a:ln>
            <a:solidFill>
              <a:srgbClr val="649C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화살표 연결선 67">
            <a:extLst>
              <a:ext uri="{FF2B5EF4-FFF2-40B4-BE49-F238E27FC236}">
                <a16:creationId xmlns:a16="http://schemas.microsoft.com/office/drawing/2014/main" id="{47FB3CD3-EADA-6906-598E-0FA0783CA850}"/>
              </a:ext>
            </a:extLst>
          </p:cNvPr>
          <p:cNvCxnSpPr>
            <a:cxnSpLocks/>
            <a:endCxn id="70" idx="0"/>
          </p:cNvCxnSpPr>
          <p:nvPr/>
        </p:nvCxnSpPr>
        <p:spPr>
          <a:xfrm flipH="1">
            <a:off x="3757002" y="4343451"/>
            <a:ext cx="4753" cy="344079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모서리가 둥근 직사각형 167">
            <a:extLst>
              <a:ext uri="{FF2B5EF4-FFF2-40B4-BE49-F238E27FC236}">
                <a16:creationId xmlns:a16="http://schemas.microsoft.com/office/drawing/2014/main" id="{0690FC8D-CD17-D778-48A8-6A591448070B}"/>
              </a:ext>
            </a:extLst>
          </p:cNvPr>
          <p:cNvSpPr/>
          <p:nvPr/>
        </p:nvSpPr>
        <p:spPr>
          <a:xfrm>
            <a:off x="3571065" y="468753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카카오</a:t>
            </a:r>
            <a:endParaRPr kumimoji="0" lang="en-US" altLang="ko-KR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브이</a:t>
            </a:r>
            <a:endParaRPr lang="en-US" altLang="ko-KR" sz="800" b="1" dirty="0">
              <a:solidFill>
                <a:schemeClr val="tx1">
                  <a:lumMod val="50000"/>
                  <a:lumOff val="50000"/>
                </a:schemeClr>
              </a:solidFill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엑스</a:t>
            </a:r>
          </a:p>
        </p:txBody>
      </p:sp>
      <p:sp>
        <p:nvSpPr>
          <p:cNvPr id="76" name="타원 75">
            <a:extLst>
              <a:ext uri="{FF2B5EF4-FFF2-40B4-BE49-F238E27FC236}">
                <a16:creationId xmlns:a16="http://schemas.microsoft.com/office/drawing/2014/main" id="{8B1E9B15-C411-681F-E177-FE3A8A1B5B11}"/>
              </a:ext>
            </a:extLst>
          </p:cNvPr>
          <p:cNvSpPr/>
          <p:nvPr/>
        </p:nvSpPr>
        <p:spPr>
          <a:xfrm>
            <a:off x="3465578" y="4447056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65.2%</a:t>
            </a:r>
            <a:endParaRPr lang="ko-KR" altLang="en-US" sz="8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31" name="모서리가 둥근 직사각형 167">
            <a:extLst>
              <a:ext uri="{FF2B5EF4-FFF2-40B4-BE49-F238E27FC236}">
                <a16:creationId xmlns:a16="http://schemas.microsoft.com/office/drawing/2014/main" id="{7EE2005B-EFB0-4C0C-C0FF-B19582C30125}"/>
              </a:ext>
            </a:extLst>
          </p:cNvPr>
          <p:cNvSpPr/>
          <p:nvPr/>
        </p:nvSpPr>
        <p:spPr>
          <a:xfrm>
            <a:off x="3843428" y="3870843"/>
            <a:ext cx="1008000" cy="360000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</a:t>
            </a:r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900" b="1" dirty="0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게임즈</a:t>
            </a:r>
            <a:endParaRPr kumimoji="0" lang="ko-KR" alt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cxnSp>
        <p:nvCxnSpPr>
          <p:cNvPr id="123" name="직선 화살표 연결선 122">
            <a:extLst>
              <a:ext uri="{FF2B5EF4-FFF2-40B4-BE49-F238E27FC236}">
                <a16:creationId xmlns:a16="http://schemas.microsoft.com/office/drawing/2014/main" id="{7A05FAAF-114A-21CF-F425-A7EC307F8AFF}"/>
              </a:ext>
            </a:extLst>
          </p:cNvPr>
          <p:cNvCxnSpPr>
            <a:cxnSpLocks/>
            <a:stCxn id="65" idx="3"/>
            <a:endCxn id="66" idx="1"/>
          </p:cNvCxnSpPr>
          <p:nvPr/>
        </p:nvCxnSpPr>
        <p:spPr>
          <a:xfrm>
            <a:off x="4533365" y="5121090"/>
            <a:ext cx="218551" cy="0"/>
          </a:xfrm>
          <a:prstGeom prst="straightConnector1">
            <a:avLst/>
          </a:prstGeom>
          <a:ln>
            <a:solidFill>
              <a:srgbClr val="649C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타원 126">
            <a:extLst>
              <a:ext uri="{FF2B5EF4-FFF2-40B4-BE49-F238E27FC236}">
                <a16:creationId xmlns:a16="http://schemas.microsoft.com/office/drawing/2014/main" id="{38F4FF01-4DA6-A7A2-2D1A-2EBA23251067}"/>
              </a:ext>
            </a:extLst>
          </p:cNvPr>
          <p:cNvSpPr/>
          <p:nvPr/>
        </p:nvSpPr>
        <p:spPr>
          <a:xfrm>
            <a:off x="4358469" y="4919378"/>
            <a:ext cx="576000" cy="144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altLang="ko-KR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44%</a:t>
            </a:r>
            <a:endParaRPr lang="ko-KR" altLang="en-US" sz="700" dirty="0">
              <a:solidFill>
                <a:schemeClr val="tx1">
                  <a:lumMod val="75000"/>
                  <a:lumOff val="25000"/>
                </a:schemeClr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5" name="모서리가 둥근 직사각형 167">
            <a:extLst>
              <a:ext uri="{FF2B5EF4-FFF2-40B4-BE49-F238E27FC236}">
                <a16:creationId xmlns:a16="http://schemas.microsoft.com/office/drawing/2014/main" id="{DD5CC9A1-A154-1ABF-E76E-0921627A37E7}"/>
              </a:ext>
            </a:extLst>
          </p:cNvPr>
          <p:cNvSpPr/>
          <p:nvPr/>
        </p:nvSpPr>
        <p:spPr>
          <a:xfrm>
            <a:off x="4161491" y="4687530"/>
            <a:ext cx="371874" cy="867119"/>
          </a:xfrm>
          <a:prstGeom prst="roundRect">
            <a:avLst>
              <a:gd name="adj" fmla="val 0"/>
            </a:avLst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800" b="1" dirty="0" err="1">
                <a:solidFill>
                  <a:schemeClr val="bg1"/>
                </a:solidFill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넵튠</a:t>
            </a:r>
            <a:endParaRPr kumimoji="0" lang="ko-KR" altLang="en-US" sz="800" b="1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</p:txBody>
      </p:sp>
      <p:sp>
        <p:nvSpPr>
          <p:cNvPr id="66" name="모서리가 둥근 직사각형 167">
            <a:extLst>
              <a:ext uri="{FF2B5EF4-FFF2-40B4-BE49-F238E27FC236}">
                <a16:creationId xmlns:a16="http://schemas.microsoft.com/office/drawing/2014/main" id="{122C502C-30FF-1207-27DB-A197A2A0451B}"/>
              </a:ext>
            </a:extLst>
          </p:cNvPr>
          <p:cNvSpPr/>
          <p:nvPr/>
        </p:nvSpPr>
        <p:spPr>
          <a:xfrm>
            <a:off x="4751916" y="4687530"/>
            <a:ext cx="371874" cy="867119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컬러</a:t>
            </a:r>
            <a:endParaRPr kumimoji="0" lang="en-US" altLang="ko-KR" sz="800" b="1" i="0" u="none" strike="noStrike" kern="1200" cap="none" spc="0" normalizeH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KoPub돋움체 Light" panose="00000300000000000000" pitchFamily="2" charset="-127"/>
              <a:ea typeface="KoPub돋움체 Light" panose="00000300000000000000" pitchFamily="2" charset="-12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8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KoPub돋움체 Light" panose="00000300000000000000" pitchFamily="2" charset="-127"/>
                <a:ea typeface="KoPub돋움체 Light" panose="00000300000000000000" pitchFamily="2" charset="-127"/>
              </a:rPr>
              <a:t>버스</a:t>
            </a:r>
          </a:p>
        </p:txBody>
      </p:sp>
    </p:spTree>
    <p:extLst>
      <p:ext uri="{BB962C8B-B14F-4D97-AF65-F5344CB8AC3E}">
        <p14:creationId xmlns:p14="http://schemas.microsoft.com/office/powerpoint/2010/main" val="87781771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:a16="http://schemas.microsoft.com/office/drawing/2014/main" id="{CEA1077C-39CF-01D5-BF60-FBBBD40ACDFB}"/>
              </a:ext>
            </a:extLst>
          </p:cNvPr>
          <p:cNvSpPr/>
          <p:nvPr/>
        </p:nvSpPr>
        <p:spPr>
          <a:xfrm>
            <a:off x="488950" y="1724907"/>
            <a:ext cx="826503" cy="3552266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altLang="ko-KR" sz="1200" b="1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algn="ctr"/>
            <a:r>
              <a:rPr lang="ko-KR" altLang="en-US" sz="1200" b="1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그룹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조달 필요성 </a:t>
            </a:r>
            <a:r>
              <a:rPr lang="en-US" altLang="ko-KR" sz="2400" b="1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2400" b="1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그룹</a:t>
            </a:r>
            <a:endParaRPr lang="en-US" sz="2400" b="1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16" name="표 17">
            <a:extLst>
              <a:ext uri="{FF2B5EF4-FFF2-40B4-BE49-F238E27FC236}">
                <a16:creationId xmlns:a16="http://schemas.microsoft.com/office/drawing/2014/main" id="{0C71A771-124A-2A49-3963-34DBBDFAAADA}"/>
              </a:ext>
            </a:extLst>
          </p:cNvPr>
          <p:cNvGraphicFramePr>
            <a:graphicFrameLocks noGrp="1"/>
          </p:cNvGraphicFramePr>
          <p:nvPr/>
        </p:nvGraphicFramePr>
        <p:xfrm>
          <a:off x="488950" y="1421847"/>
          <a:ext cx="82650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6503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8" name="표 17">
            <a:extLst>
              <a:ext uri="{FF2B5EF4-FFF2-40B4-BE49-F238E27FC236}">
                <a16:creationId xmlns:a16="http://schemas.microsoft.com/office/drawing/2014/main" id="{AFAFA0EF-D5A3-8A78-4907-5B848DC721B5}"/>
              </a:ext>
            </a:extLst>
          </p:cNvPr>
          <p:cNvGraphicFramePr>
            <a:graphicFrameLocks noGrp="1"/>
          </p:cNvGraphicFramePr>
          <p:nvPr/>
        </p:nvGraphicFramePr>
        <p:xfrm>
          <a:off x="1379622" y="1421847"/>
          <a:ext cx="511157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1572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그룹사 현황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graphicFrame>
        <p:nvGraphicFramePr>
          <p:cNvPr id="19" name="표 18">
            <a:extLst>
              <a:ext uri="{FF2B5EF4-FFF2-40B4-BE49-F238E27FC236}">
                <a16:creationId xmlns:a16="http://schemas.microsoft.com/office/drawing/2014/main" id="{A59BF264-F38C-DD32-1CE0-2E502C9819C3}"/>
              </a:ext>
            </a:extLst>
          </p:cNvPr>
          <p:cNvGraphicFramePr>
            <a:graphicFrameLocks noGrp="1"/>
          </p:cNvGraphicFramePr>
          <p:nvPr/>
        </p:nvGraphicFramePr>
        <p:xfrm>
          <a:off x="6555363" y="1421847"/>
          <a:ext cx="286168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1687">
                  <a:extLst>
                    <a:ext uri="{9D8B030D-6E8A-4147-A177-3AD203B41FA5}">
                      <a16:colId xmlns:a16="http://schemas.microsoft.com/office/drawing/2014/main" val="636711285"/>
                    </a:ext>
                  </a:extLst>
                </a:gridCol>
              </a:tblGrid>
              <a:tr h="2159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>
                          <a:solidFill>
                            <a:schemeClr val="bg1"/>
                          </a:solidFill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시사점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3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E49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686895"/>
                  </a:ext>
                </a:extLst>
              </a:tr>
            </a:tbl>
          </a:graphicData>
        </a:graphic>
      </p:graphicFrame>
      <p:sp>
        <p:nvSpPr>
          <p:cNvPr id="7" name="직사각형 6">
            <a:extLst>
              <a:ext uri="{FF2B5EF4-FFF2-40B4-BE49-F238E27FC236}">
                <a16:creationId xmlns:a16="http://schemas.microsoft.com/office/drawing/2014/main" id="{6551998E-0BF2-97B1-777E-3745978E4215}"/>
              </a:ext>
            </a:extLst>
          </p:cNvPr>
          <p:cNvSpPr/>
          <p:nvPr/>
        </p:nvSpPr>
        <p:spPr>
          <a:xfrm>
            <a:off x="1379622" y="1724906"/>
            <a:ext cx="5111572" cy="3552265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54000" rIns="72000" bIns="54000" rtlCol="0" anchor="ctr" anchorCtr="0"/>
          <a:lstStyle/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"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건 회수해와라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"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지부진한 투자 성과에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특명내린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네이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2.10)</a:t>
            </a: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ko-KR" altLang="en-US" sz="90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포트폴리오 기업 부진한 성과에 </a:t>
            </a:r>
            <a:r>
              <a:rPr lang="ko-KR" altLang="en-US" sz="900" b="1" u="sng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처펀드 출자 중단</a:t>
            </a:r>
            <a:endParaRPr lang="en-US" altLang="ko-KR" sz="9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사와 계열사에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금지 및 회수’ 특명</a:t>
            </a:r>
            <a:r>
              <a:rPr kumimoji="0" lang="ko-K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kumimoji="0" lang="en-US" altLang="ko-KR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US" altLang="ko-KR" sz="900" b="1" u="sng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벤처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큰 손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늘의집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1050" b="1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지분 매각 추진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o-KR" altLang="en-US" sz="900" b="1">
                <a:solidFill>
                  <a:srgbClr val="0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보유 스타트업 지분 매각 통해 선제적 투자금 확보 노력</a:t>
            </a:r>
            <a:b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는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버킷플레이스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오늘의집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)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와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6~7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곳의 투자 스타트업 지분 매각을 추진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각 대상은 네이버와 사업적 연관성이 적은 </a:t>
            </a:r>
            <a:r>
              <a:rPr kumimoji="0" lang="ko-KR" altLang="en-US" sz="900" b="1" i="0" u="sng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타트업들을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선별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90487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tabLst/>
              <a:defRPr/>
            </a:pPr>
            <a:endParaRPr lang="en-US" altLang="ko-KR" sz="900" b="1" u="sng">
              <a:solidFill>
                <a:srgbClr val="1E49E2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C2C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올인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美유니콘 지분 매각 추진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1)</a:t>
            </a:r>
            <a:endParaRPr lang="ko-KR" altLang="en-US" sz="1050" b="1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2018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년 투자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</a:t>
            </a:r>
            <a:r>
              <a:rPr kumimoji="0" lang="ko-KR" altLang="en-US" sz="900" b="1" i="0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허니북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, '</a:t>
            </a:r>
            <a:r>
              <a:rPr kumimoji="0" lang="ko-KR" altLang="en-US" sz="900" b="1" i="0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탬플리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'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지분 매각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스타트업 지분 매각 후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확대 계획</a:t>
            </a:r>
            <a:b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kumimoji="0" lang="en-US" altLang="ko-KR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- 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는 지난해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수연 대표 취임 이후 스타트업 투자에 있어 소수 지분 확보 보다는 대규모 투자로 경영권을 갖는 방향으로 투자 정책을 변경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〮〮〮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연관성이 적은 스타트업 지분을 매각해 현금을 확보하고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를 바탕으로 다양한 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M&amp;A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를 확대</a:t>
            </a:r>
            <a:r>
              <a:rPr kumimoji="0" lang="ko-KR" altLang="en-US" sz="900" i="0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하려는 것</a:t>
            </a:r>
            <a:endParaRPr lang="en-US" altLang="ko-KR" sz="900">
              <a:solidFill>
                <a:srgbClr val="7F7F7F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b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 “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AI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집중”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판교 빌딩 팔아 현금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000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대 확보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8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펀드 매각 통해 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3,000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 실탄 확보</a:t>
            </a:r>
            <a:r>
              <a:rPr kumimoji="0" lang="en-US" altLang="ko-KR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AI </a:t>
            </a:r>
            <a:r>
              <a:rPr kumimoji="0" lang="ko-KR" altLang="en-US" sz="900" b="1" i="0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관련 대규모 투자 계획</a:t>
            </a:r>
            <a:endParaRPr kumimoji="0" lang="en-US" altLang="ko-KR" sz="9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90487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tabLst/>
              <a:defRPr/>
            </a:pPr>
            <a:endParaRPr lang="en-US" altLang="ko-KR" sz="1000" b="1">
              <a:solidFill>
                <a:srgbClr val="0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>
              <a:buClr>
                <a:srgbClr val="00338D"/>
              </a:buClr>
            </a:pP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[</a:t>
            </a:r>
            <a:r>
              <a:rPr lang="ko-KR" altLang="en-US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그룹</a:t>
            </a:r>
            <a:r>
              <a:rPr lang="en-US" altLang="ko-KR" sz="1050" b="1">
                <a:solidFill>
                  <a:srgbClr val="1E49E2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]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차입금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4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조 네이버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계열사 적자 누적 카카오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…</a:t>
            </a:r>
            <a:r>
              <a:rPr lang="ko-KR" altLang="en-US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현금 확보 비상 </a:t>
            </a:r>
            <a:r>
              <a:rPr lang="en-US" altLang="ko-KR" sz="105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’23.09)</a:t>
            </a:r>
          </a:p>
          <a:p>
            <a:pPr marL="171450" marR="0" lvl="0" indent="-809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38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  <a:r>
              <a:rPr kumimoji="0" lang="en-US" altLang="ko-KR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kumimoji="0" lang="ko-KR" altLang="en-US" sz="90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인공지능 등 신사업 확장에 자금 필요</a:t>
            </a:r>
            <a:endParaRPr kumimoji="0" lang="en-US" altLang="ko-KR" sz="900" b="1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80963">
              <a:spcAft>
                <a:spcPts val="300"/>
              </a:spcAft>
              <a:buClr>
                <a:srgbClr val="00338D"/>
              </a:buClr>
              <a:buFont typeface="Wingdings" panose="05000000000000000000" pitchFamily="2" charset="2"/>
              <a:buChar char="§"/>
              <a:defRPr/>
            </a:pPr>
            <a:r>
              <a:rPr lang="ko-KR" altLang="en-US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네이버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버킷플레이스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퓨처플레이</a:t>
            </a:r>
            <a:r>
              <a:rPr lang="en-US" altLang="ko-KR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·</a:t>
            </a:r>
            <a:r>
              <a:rPr lang="ko-KR" altLang="en-US" sz="900" b="1" i="0" err="1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발란</a:t>
            </a:r>
            <a:r>
              <a:rPr lang="ko-KR" altLang="en-US" sz="900" b="1" i="0">
                <a:solidFill>
                  <a:srgbClr val="111111"/>
                </a:solidFill>
                <a:effectLst/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등 유망 스타트업 지분 정리 노력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1641B38-1285-8CB7-D8AE-AC4E2F574E72}"/>
              </a:ext>
            </a:extLst>
          </p:cNvPr>
          <p:cNvSpPr/>
          <p:nvPr/>
        </p:nvSpPr>
        <p:spPr>
          <a:xfrm>
            <a:off x="6555363" y="1724907"/>
            <a:ext cx="2861687" cy="3552264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>
              <a:spcAft>
                <a:spcPts val="600"/>
              </a:spcAft>
              <a:buClr>
                <a:srgbClr val="1E49E2"/>
              </a:buClr>
            </a:pPr>
            <a:r>
              <a:rPr lang="ko-KR" altLang="en-US" sz="1200" b="1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그룹은</a:t>
            </a:r>
            <a:r>
              <a:rPr lang="en-US" altLang="ko-KR" sz="1200" b="1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클라우드</a:t>
            </a:r>
            <a:r>
              <a:rPr lang="en-US" altLang="ko-KR" sz="12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</a:t>
            </a:r>
            <a:r>
              <a:rPr lang="ko-KR" altLang="en-US" sz="12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인공지능 등 신사업 확장에 </a:t>
            </a:r>
            <a:br>
              <a:rPr lang="en-US" altLang="ko-KR" sz="12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2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자금 필요</a:t>
            </a:r>
            <a:endParaRPr lang="en-US" altLang="ko-KR" sz="1200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171450" indent="-171450">
              <a:spcAft>
                <a:spcPts val="600"/>
              </a:spcAft>
              <a:buClr>
                <a:srgbClr val="1E49E2"/>
              </a:buClr>
              <a:buFont typeface="Wingdings" panose="05000000000000000000" pitchFamily="2" charset="2"/>
              <a:buChar char="u"/>
            </a:pPr>
            <a:r>
              <a:rPr lang="ko-KR" altLang="en-US" sz="1200" b="1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 재원 마련 위해 </a:t>
            </a:r>
            <a:r>
              <a:rPr lang="ko-KR" altLang="en-US" sz="1200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동산 매각 및 </a:t>
            </a:r>
            <a:r>
              <a:rPr lang="ko-KR" altLang="en-US" sz="1200" b="1" u="sng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사업 연관성이 적은 국내외 스타트업 보유 지분 매각 추진 중</a:t>
            </a:r>
            <a:r>
              <a:rPr lang="ko-KR" altLang="en-US" sz="1200" b="1" dirty="0">
                <a:solidFill>
                  <a:schemeClr val="tx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 </a:t>
            </a:r>
            <a:endParaRPr lang="en-US" altLang="ko-KR" sz="1200" b="1" dirty="0">
              <a:solidFill>
                <a:schemeClr val="tx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BC0CAF-3A94-1E11-ADDE-96196F47F97E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</p:spTree>
    <p:extLst>
      <p:ext uri="{BB962C8B-B14F-4D97-AF65-F5344CB8AC3E}">
        <p14:creationId xmlns:p14="http://schemas.microsoft.com/office/powerpoint/2010/main" val="87975005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5">
            <a:extLst>
              <a:ext uri="{FF2B5EF4-FFF2-40B4-BE49-F238E27FC236}">
                <a16:creationId xmlns:a16="http://schemas.microsoft.com/office/drawing/2014/main" id="{096D0D2D-8097-AA3C-F2A4-9B200A66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451575"/>
            <a:ext cx="8918244" cy="723600"/>
          </a:xfrm>
        </p:spPr>
        <p:txBody>
          <a:bodyPr vert="horz" anchor="b" anchorCtr="0"/>
          <a:lstStyle/>
          <a:p>
            <a:r>
              <a:rPr lang="ko-KR" altLang="en-US" sz="3600" b="1" dirty="0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카카오그룹 매각 추진 주요 스타트업 보유지분</a:t>
            </a:r>
            <a:endParaRPr lang="en-US" sz="1500" b="1" dirty="0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3" name="표 2">
            <a:extLst>
              <a:ext uri="{FF2B5EF4-FFF2-40B4-BE49-F238E27FC236}">
                <a16:creationId xmlns:a16="http://schemas.microsoft.com/office/drawing/2014/main" id="{9986F5DB-A365-BC15-A460-FF09EA4E9FA9}"/>
              </a:ext>
            </a:extLst>
          </p:cNvPr>
          <p:cNvGraphicFramePr>
            <a:graphicFrameLocks noGrp="1"/>
          </p:cNvGraphicFramePr>
          <p:nvPr/>
        </p:nvGraphicFramePr>
        <p:xfrm>
          <a:off x="489600" y="1440000"/>
          <a:ext cx="8928000" cy="4760400"/>
        </p:xfrm>
        <a:graphic>
          <a:graphicData uri="http://schemas.openxmlformats.org/drawingml/2006/table">
            <a:tbl>
              <a:tblPr/>
              <a:tblGrid>
                <a:gridCol w="1260000">
                  <a:extLst>
                    <a:ext uri="{9D8B030D-6E8A-4147-A177-3AD203B41FA5}">
                      <a16:colId xmlns:a16="http://schemas.microsoft.com/office/drawing/2014/main" val="2847972401"/>
                    </a:ext>
                  </a:extLst>
                </a:gridCol>
                <a:gridCol w="2808000">
                  <a:extLst>
                    <a:ext uri="{9D8B030D-6E8A-4147-A177-3AD203B41FA5}">
                      <a16:colId xmlns:a16="http://schemas.microsoft.com/office/drawing/2014/main" val="4138651924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1165705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381264290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449135382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25454411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29705863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투자대상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제품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서비스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분야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투자날짜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투자금액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지분율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가치</a:t>
                      </a:r>
                      <a:r>
                        <a:rPr lang="en-US" altLang="ko-KR" sz="1000" b="1" i="0" u="none" strike="noStrike" baseline="30000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*)</a:t>
                      </a:r>
                      <a:endParaRPr lang="ko-KR" altLang="en-US" sz="1000" b="1" i="0" u="none" strike="noStrike" baseline="30000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C0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27587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버킷플레이스</a:t>
                      </a:r>
                      <a:r>
                        <a:rPr lang="ko-KR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   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오늘의 집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홈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리빙 플랫폼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1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415991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퓨처플레이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테크업〮액셀러레이팅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 투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8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1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728847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잉카엔트웍스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패리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 보안 솔루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통신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/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보안</a:t>
                      </a:r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aaS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.8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03105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발란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발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명품 쇼핑 플랫폼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0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50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27145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밸런스히어로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트루밸런스</a:t>
                      </a:r>
                      <a:b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인도 핀테크 앱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핀테크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N/A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1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74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39577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oneybook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oneybook</a:t>
                      </a:r>
                      <a:b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</a:b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객관리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 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솔루션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/W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발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2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조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841344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tampli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tampli</a:t>
                      </a:r>
                    </a:p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</a:t>
                      </a:r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외상매입금 자동화</a:t>
                      </a:r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)</a:t>
                      </a:r>
                      <a:endParaRPr lang="ko-KR" altLang="en-US" sz="1000" b="1" i="0" u="none" strike="noStrike">
                        <a:solidFill>
                          <a:srgbClr val="000000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/W 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개발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18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000</a:t>
                      </a:r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억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5EB8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283182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EF0D2E9-FF3C-223A-75BF-7128C13060F0}"/>
              </a:ext>
            </a:extLst>
          </p:cNvPr>
          <p:cNvSpPr txBox="1"/>
          <p:nvPr/>
        </p:nvSpPr>
        <p:spPr>
          <a:xfrm>
            <a:off x="488950" y="6269380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최종 투자유치 단계에서 인정받은 기업가치 기준</a:t>
            </a:r>
            <a:endParaRPr lang="en-US" altLang="ko-KR" i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7068320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>
            <a:extLst>
              <a:ext uri="{FF2B5EF4-FFF2-40B4-BE49-F238E27FC236}">
                <a16:creationId xmlns:a16="http://schemas.microsoft.com/office/drawing/2014/main" id="{77F13C2E-1184-4381-8842-8FD6591F94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ko-KR" altLang="en-US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대규모 기업집단 목록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682306C5-EC26-49DF-918A-91B791999B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50977" y="1553435"/>
            <a:ext cx="4846128" cy="722312"/>
          </a:xfrm>
        </p:spPr>
        <p:txBody>
          <a:bodyPr/>
          <a:lstStyle/>
          <a:p>
            <a:r>
              <a:rPr lang="en-US" altLang="ko-KR" b="0" dirty="0">
                <a:latin typeface="KoPub돋움체 Bold" panose="00000800000000000000" pitchFamily="2" charset="-127"/>
                <a:ea typeface="KoPub돋움체 Bold" panose="00000800000000000000" pitchFamily="2" charset="-127"/>
              </a:rPr>
              <a:t>Appendix</a:t>
            </a:r>
            <a:endParaRPr lang="ko-KR" altLang="en-US" b="0" dirty="0"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4DDE1CBD-A657-811F-B5CC-72123F3CE8D9}"/>
              </a:ext>
            </a:extLst>
          </p:cNvPr>
          <p:cNvSpPr/>
          <p:nvPr/>
        </p:nvSpPr>
        <p:spPr>
          <a:xfrm>
            <a:off x="-2114550" y="76200"/>
            <a:ext cx="1409700" cy="790575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36246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규모 기업집단 </a:t>
            </a:r>
            <a:r>
              <a:rPr lang="en-US" altLang="ko-KR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List (1/4)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F3D289B2-36BC-1011-AC8C-76DEAC327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432282"/>
              </p:ext>
            </p:extLst>
          </p:nvPr>
        </p:nvGraphicFramePr>
        <p:xfrm>
          <a:off x="504000" y="1440000"/>
          <a:ext cx="8918576" cy="4176000"/>
        </p:xfrm>
        <a:graphic>
          <a:graphicData uri="http://schemas.openxmlformats.org/drawingml/2006/table">
            <a:tbl>
              <a:tblPr/>
              <a:tblGrid>
                <a:gridCol w="364587">
                  <a:extLst>
                    <a:ext uri="{9D8B030D-6E8A-4147-A177-3AD203B41FA5}">
                      <a16:colId xmlns:a16="http://schemas.microsoft.com/office/drawing/2014/main" val="576337681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3741274857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2552774356"/>
                    </a:ext>
                  </a:extLst>
                </a:gridCol>
                <a:gridCol w="928040">
                  <a:extLst>
                    <a:ext uri="{9D8B030D-6E8A-4147-A177-3AD203B41FA5}">
                      <a16:colId xmlns:a16="http://schemas.microsoft.com/office/drawing/2014/main" val="783263976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755708630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313632997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088853875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249176497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4109941880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743165050"/>
                    </a:ext>
                  </a:extLst>
                </a:gridCol>
                <a:gridCol w="754033">
                  <a:extLst>
                    <a:ext uri="{9D8B030D-6E8A-4147-A177-3AD203B41FA5}">
                      <a16:colId xmlns:a16="http://schemas.microsoft.com/office/drawing/2014/main" val="112049954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1610140316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순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집단명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회사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시종업원 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본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148354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삼성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4,16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38,40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207,20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731,1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187,68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7,98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3,0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386393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K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5,7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72,54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514,69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757,8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41,92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8,4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1,00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60615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현대자동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8,6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427,38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746,4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680,9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488,97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5,8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6,71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10513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LG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7,0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712,43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29,56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82,8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405,28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6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5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566101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포스코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3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22,21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67,83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54,3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009,95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,1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9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282644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롯데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8,4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86,88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90,0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6,9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18,09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,9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155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336847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한화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,92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346,70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08,9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37,78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16,72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7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4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529379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GS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,1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18,3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9,08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9,2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40,70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7,9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,2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417276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D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현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9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06,68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0,6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95,9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51,15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3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5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70488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농협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,1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645,82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041,5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4,0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8,74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30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,91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9934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신세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3,7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4,86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8,7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6,11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9,57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7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7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579683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케이티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7,7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47,57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7,4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0,1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0,55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,2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4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52185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씨제이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8,34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6,99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2,58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4,4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1,7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52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0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05709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한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78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8,25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2,09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6,1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5,74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3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5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34451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카카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14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9,75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3,2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6,52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5,80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,88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0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468240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엘에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87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4,90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4,40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0,4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8,65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,5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6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6662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두산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2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5,23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0,89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4,3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2,73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1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8,670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9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821316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L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9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3,82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5,6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8,20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6,68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05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2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96271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에이치엠엠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7,88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34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,5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4,95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9,1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3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9,97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4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6211255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중흥건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08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3,20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7,67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5,53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9,74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,31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,46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627252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0CFF003-8973-910E-1E0D-829B176AA5D3}"/>
              </a:ext>
            </a:extLst>
          </p:cNvPr>
          <p:cNvSpPr txBox="1"/>
          <p:nvPr/>
        </p:nvSpPr>
        <p:spPr>
          <a:xfrm>
            <a:off x="504000" y="5757714"/>
            <a:ext cx="4155840" cy="27186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 dirty="0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집단포털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위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 보고서 상 분석 대상이 된 기업집단에 대해 음영 처리하였음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1107788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규모 기업집단 </a:t>
            </a:r>
            <a:r>
              <a:rPr lang="en-US" altLang="ko-KR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List (2/4)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FD3037-5510-3AF9-B4E8-81C782FF1699}"/>
              </a:ext>
            </a:extLst>
          </p:cNvPr>
          <p:cNvSpPr txBox="1"/>
          <p:nvPr/>
        </p:nvSpPr>
        <p:spPr>
          <a:xfrm>
            <a:off x="496117" y="5757714"/>
            <a:ext cx="4155840" cy="27186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 dirty="0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집단포털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위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 보고서 상 분석 대상이 된 기업집단에 대해 음영 처리하였음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F3D289B2-36BC-1011-AC8C-76DEAC327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724943"/>
              </p:ext>
            </p:extLst>
          </p:nvPr>
        </p:nvGraphicFramePr>
        <p:xfrm>
          <a:off x="504000" y="1440000"/>
          <a:ext cx="8918576" cy="4176000"/>
        </p:xfrm>
        <a:graphic>
          <a:graphicData uri="http://schemas.openxmlformats.org/drawingml/2006/table">
            <a:tbl>
              <a:tblPr/>
              <a:tblGrid>
                <a:gridCol w="364587">
                  <a:extLst>
                    <a:ext uri="{9D8B030D-6E8A-4147-A177-3AD203B41FA5}">
                      <a16:colId xmlns:a16="http://schemas.microsoft.com/office/drawing/2014/main" val="576337681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3741274857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2552774356"/>
                    </a:ext>
                  </a:extLst>
                </a:gridCol>
                <a:gridCol w="928040">
                  <a:extLst>
                    <a:ext uri="{9D8B030D-6E8A-4147-A177-3AD203B41FA5}">
                      <a16:colId xmlns:a16="http://schemas.microsoft.com/office/drawing/2014/main" val="783263976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755708630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313632997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088853875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249176497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4109941880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743165050"/>
                    </a:ext>
                  </a:extLst>
                </a:gridCol>
                <a:gridCol w="754033">
                  <a:extLst>
                    <a:ext uri="{9D8B030D-6E8A-4147-A177-3AD203B41FA5}">
                      <a16:colId xmlns:a16="http://schemas.microsoft.com/office/drawing/2014/main" val="112049954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1610140316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순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집단명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err="1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회사수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시종업원 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본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148354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현대백화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49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6,38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,13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9,2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8,90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1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8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386393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영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8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1,0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2,9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7,79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,45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,976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8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2,227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1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60615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네이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9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1,79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7,1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4,66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8,71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8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0513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미래에셋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8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02,39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112,94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9,45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1,58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7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,3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566101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에쓰</a:t>
                      </a:r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</a:t>
                      </a:r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오일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7,33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1,99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,3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3,76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4,07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0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282644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금호아시아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,2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9,24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0,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,2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0,27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10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336847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하림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,3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2,98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1,9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0,9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9,83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2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9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529379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풍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4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8,9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6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0,2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7,76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11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8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417276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에이치디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17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7,65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1,0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,62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2,80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6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70488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SM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0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4,82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5,0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9,73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,54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,7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,5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9934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효성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,95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0,92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3,5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,36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8,85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2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00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579683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셀트리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50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1,32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,7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5,57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77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3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43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52185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호반건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0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6,41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,12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0,28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2,09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9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5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305709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케이티앤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4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7,61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75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9,8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8,75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,6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49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34451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케이씨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4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3,16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0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4,1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,57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0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47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468240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장금상선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9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4,87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,25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,6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0,47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,3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79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6662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우조선해양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43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3,41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6,75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6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9,88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16,420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32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17,756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35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821316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오씨아이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0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2,85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7,39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,4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9,51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1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6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96271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코오롱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51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0,87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,92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9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2,75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4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7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6211255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태영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4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9,3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,8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6,50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10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8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2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272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289832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규모 기업집단 </a:t>
            </a:r>
            <a:r>
              <a:rPr lang="en-US" altLang="ko-KR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List (3/4)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F3D289B2-36BC-1011-AC8C-76DEAC327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016539"/>
              </p:ext>
            </p:extLst>
          </p:nvPr>
        </p:nvGraphicFramePr>
        <p:xfrm>
          <a:off x="504000" y="1440000"/>
          <a:ext cx="8918576" cy="4176000"/>
        </p:xfrm>
        <a:graphic>
          <a:graphicData uri="http://schemas.openxmlformats.org/drawingml/2006/table">
            <a:tbl>
              <a:tblPr/>
              <a:tblGrid>
                <a:gridCol w="364587">
                  <a:extLst>
                    <a:ext uri="{9D8B030D-6E8A-4147-A177-3AD203B41FA5}">
                      <a16:colId xmlns:a16="http://schemas.microsoft.com/office/drawing/2014/main" val="576337681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3741274857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2552774356"/>
                    </a:ext>
                  </a:extLst>
                </a:gridCol>
                <a:gridCol w="928040">
                  <a:extLst>
                    <a:ext uri="{9D8B030D-6E8A-4147-A177-3AD203B41FA5}">
                      <a16:colId xmlns:a16="http://schemas.microsoft.com/office/drawing/2014/main" val="783263976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755708630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313632997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088853875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249176497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4109941880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743165050"/>
                    </a:ext>
                  </a:extLst>
                </a:gridCol>
                <a:gridCol w="754033">
                  <a:extLst>
                    <a:ext uri="{9D8B030D-6E8A-4147-A177-3AD203B41FA5}">
                      <a16:colId xmlns:a16="http://schemas.microsoft.com/office/drawing/2014/main" val="112049954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1610140316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순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집단명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err="1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회사수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시종업원 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본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148354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넷마블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7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7,91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,9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,9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3,39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9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3,018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7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1386393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세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0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8,15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,7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0,44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7,65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45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6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660615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넥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1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6,36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,5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8,7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,91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4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2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1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0513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엘엑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28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2,73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6,23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,49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7,76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7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79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66101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쿠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2,5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9,12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0,8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30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3,66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02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82644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이랜드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8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6,62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,2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,3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,54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336847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한국타이어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7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4,24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,40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0,84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,57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09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5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529379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B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00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65,31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71,3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3,9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6,65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,8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,1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17276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삼천리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1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8,63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,6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4,0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,35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8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26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70488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금호석유화학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9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3,25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,57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8,6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6,8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,68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0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9934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다우키움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8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5,58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6,2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9,32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6,32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3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7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79683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태광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3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0,73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1,7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8,9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8,43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3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9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52185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교보생명보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2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12,86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228,8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4,0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4,46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03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7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305709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원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02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9,05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,07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,97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7,06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99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24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4451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KG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,1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5,68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3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7,31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1,38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89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,5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68240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HL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0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5,04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,5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5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,0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6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6662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아모레퍼시픽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38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3,53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5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,0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49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40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00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21316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한국항공우주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6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8,67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,2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,4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,32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4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19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6271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대방건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1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6,80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3,6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,20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72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0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55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211255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중앙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08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5,84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2,3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,53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,23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704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(493)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-2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27252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5404618-84BD-21D7-3820-0C6753C8A49A}"/>
              </a:ext>
            </a:extLst>
          </p:cNvPr>
          <p:cNvSpPr txBox="1"/>
          <p:nvPr/>
        </p:nvSpPr>
        <p:spPr>
          <a:xfrm>
            <a:off x="504000" y="5757714"/>
            <a:ext cx="4155840" cy="27186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 dirty="0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집단포털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위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 보고서 상 분석 대상이 된 기업집단에 대해 음영 처리하였음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34698957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대규모 기업집단 </a:t>
            </a:r>
            <a:r>
              <a:rPr lang="en-US" altLang="ko-KR" sz="3600" b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List (4/4)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graphicFrame>
        <p:nvGraphicFramePr>
          <p:cNvPr id="8" name="표 7">
            <a:extLst>
              <a:ext uri="{FF2B5EF4-FFF2-40B4-BE49-F238E27FC236}">
                <a16:creationId xmlns:a16="http://schemas.microsoft.com/office/drawing/2014/main" id="{F3D289B2-36BC-1011-AC8C-76DEAC327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0633683"/>
              </p:ext>
            </p:extLst>
          </p:nvPr>
        </p:nvGraphicFramePr>
        <p:xfrm>
          <a:off x="504000" y="1440000"/>
          <a:ext cx="8918576" cy="4572000"/>
        </p:xfrm>
        <a:graphic>
          <a:graphicData uri="http://schemas.openxmlformats.org/drawingml/2006/table">
            <a:tbl>
              <a:tblPr/>
              <a:tblGrid>
                <a:gridCol w="364587">
                  <a:extLst>
                    <a:ext uri="{9D8B030D-6E8A-4147-A177-3AD203B41FA5}">
                      <a16:colId xmlns:a16="http://schemas.microsoft.com/office/drawing/2014/main" val="576337681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3741274857"/>
                    </a:ext>
                  </a:extLst>
                </a:gridCol>
                <a:gridCol w="751271">
                  <a:extLst>
                    <a:ext uri="{9D8B030D-6E8A-4147-A177-3AD203B41FA5}">
                      <a16:colId xmlns:a16="http://schemas.microsoft.com/office/drawing/2014/main" val="2552774356"/>
                    </a:ext>
                  </a:extLst>
                </a:gridCol>
                <a:gridCol w="928040">
                  <a:extLst>
                    <a:ext uri="{9D8B030D-6E8A-4147-A177-3AD203B41FA5}">
                      <a16:colId xmlns:a16="http://schemas.microsoft.com/office/drawing/2014/main" val="783263976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755708630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313632997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3088853875"/>
                    </a:ext>
                  </a:extLst>
                </a:gridCol>
                <a:gridCol w="795463">
                  <a:extLst>
                    <a:ext uri="{9D8B030D-6E8A-4147-A177-3AD203B41FA5}">
                      <a16:colId xmlns:a16="http://schemas.microsoft.com/office/drawing/2014/main" val="2249176497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4109941880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743165050"/>
                    </a:ext>
                  </a:extLst>
                </a:gridCol>
                <a:gridCol w="754033">
                  <a:extLst>
                    <a:ext uri="{9D8B030D-6E8A-4147-A177-3AD203B41FA5}">
                      <a16:colId xmlns:a16="http://schemas.microsoft.com/office/drawing/2014/main" val="112049954"/>
                    </a:ext>
                  </a:extLst>
                </a:gridCol>
                <a:gridCol w="729174">
                  <a:extLst>
                    <a:ext uri="{9D8B030D-6E8A-4147-A177-3AD203B41FA5}">
                      <a16:colId xmlns:a16="http://schemas.microsoft.com/office/drawing/2014/main" val="1610140316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순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기업집단명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 err="1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소속회사수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상시종업원 수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산총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부채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자본총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E4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매출액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영업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당기순이익</a:t>
                      </a:r>
                      <a:r>
                        <a:rPr lang="en-US" altLang="ko-KR" sz="1000" b="1" i="0" u="none" strike="noStrike">
                          <a:solidFill>
                            <a:srgbClr val="FFFFFF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%</a:t>
                      </a:r>
                      <a:endParaRPr lang="ko-KR" altLang="en-US" sz="1000" b="1" i="0" u="none" strike="noStrike">
                        <a:solidFill>
                          <a:srgbClr val="FFFFFF"/>
                        </a:solidFill>
                        <a:effectLst/>
                        <a:latin typeface="KoPub돋움체 Medium" panose="00000600000000000000" pitchFamily="2" charset="-127"/>
                        <a:ea typeface="KoPub돋움체 Medium" panose="00000600000000000000" pitchFamily="2" charset="-127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148354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두나무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4,03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5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48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73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35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1386393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에코프로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19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,34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,7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58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0,60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63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6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660615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애경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9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,31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14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1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4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0513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한국지엠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,0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,2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1,0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,22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1,18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95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4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66101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동국제강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90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5,59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1,92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6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8,13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8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82644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엠디엠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8,2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6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4,57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55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67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336847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삼양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3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,75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,6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1,1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7,73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33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9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529379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크래프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0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3,97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4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5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,33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,42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88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17276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고려에이치씨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19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,99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,2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4,7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8,17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0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3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370488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보성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9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,25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1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,07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6,23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44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20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9934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글로벌세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46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,05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,7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,3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0,32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20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796836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신영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2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9,24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30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9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,40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3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52185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DN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9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8,15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,5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,60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,45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4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5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0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3057098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OK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금융그룹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5,15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8,42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,72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5,36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49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1.7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07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4451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아이에스지주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64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,130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1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8,97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65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65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6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1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68240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하이트진로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69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40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9,1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2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70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24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1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366626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한솔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,63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4,55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,56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99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6,62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,1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0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213160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유진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70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25,74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7,37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8,36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0,65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66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.6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1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1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0.3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F4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627192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농심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,848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5,63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0,16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5,47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3,41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94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2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204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8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211255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삼표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16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2,26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4,84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41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0,88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,35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4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7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5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272521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반도홀딩스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79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1,18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,22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7,963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3,71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48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8.1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560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6.0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400665"/>
                  </a:ext>
                </a:extLst>
              </a:tr>
              <a:tr h="19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BGF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17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,319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50,75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2,922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7,836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84,13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885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3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,001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KoPub돋움체 Medium" panose="00000600000000000000" pitchFamily="2" charset="-127"/>
                          <a:ea typeface="KoPub돋움체 Medium" panose="00000600000000000000" pitchFamily="2" charset="-127"/>
                        </a:rPr>
                        <a:t>2.4%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5E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183734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559BF21-0EB7-1AA0-05C6-E79B760DC9DD}"/>
              </a:ext>
            </a:extLst>
          </p:cNvPr>
          <p:cNvSpPr txBox="1"/>
          <p:nvPr/>
        </p:nvSpPr>
        <p:spPr>
          <a:xfrm>
            <a:off x="504000" y="6073024"/>
            <a:ext cx="4155840" cy="27186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 dirty="0" err="1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기업집단포털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단위</a:t>
            </a:r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: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억원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r>
              <a:rPr lang="en-US" altLang="ko-KR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(*) </a:t>
            </a:r>
            <a:r>
              <a:rPr lang="ko-KR" altLang="en-US" i="0" dirty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본 보고서 상 분석 대상이 된 기업집단에 대해 음영 처리하였음</a:t>
            </a:r>
            <a:endParaRPr lang="en-US" altLang="ko-KR" i="0" dirty="0">
              <a:solidFill>
                <a:srgbClr val="00338D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735894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4A3962-6312-4B0F-9662-86097083E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4A3962-6312-4B0F-9662-86097083E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62EA517-D63E-4340-859B-A0D59CA6A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 anchorCtr="0"/>
          <a:lstStyle/>
          <a:p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그룹 </a:t>
            </a:r>
            <a:r>
              <a:rPr lang="en-US" altLang="ko-KR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Needs </a:t>
            </a:r>
            <a:r>
              <a:rPr lang="ko-KR" altLang="en-US" sz="3600" b="1"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요약</a:t>
            </a:r>
            <a:endParaRPr lang="en-US" sz="1200" b="1"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72DBC32F-4327-4357-B676-9FA44F8F0F64}"/>
              </a:ext>
            </a:extLst>
          </p:cNvPr>
          <p:cNvSpPr txBox="1">
            <a:spLocks/>
          </p:cNvSpPr>
          <p:nvPr/>
        </p:nvSpPr>
        <p:spPr>
          <a:xfrm>
            <a:off x="9993156" y="1455564"/>
            <a:ext cx="1440000" cy="144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evel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 level</a:t>
            </a:r>
          </a:p>
          <a:p>
            <a:pPr marL="135728" marR="0" lvl="2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level</a:t>
            </a:r>
          </a:p>
          <a:p>
            <a:pPr marL="271457" marR="0" lvl="3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 level</a:t>
            </a:r>
          </a:p>
          <a:p>
            <a:pPr marL="407184" marR="0" lvl="4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fth level</a:t>
            </a:r>
            <a:endParaRPr lang="en-US" sz="100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E4A46B3C-E8B2-4170-B1FF-59777D0D693C}"/>
              </a:ext>
            </a:extLst>
          </p:cNvPr>
          <p:cNvSpPr txBox="1">
            <a:spLocks/>
          </p:cNvSpPr>
          <p:nvPr/>
        </p:nvSpPr>
        <p:spPr>
          <a:xfrm>
            <a:off x="9993156" y="3219997"/>
            <a:ext cx="1440000" cy="14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8" lvl="2" indent="-182558">
              <a:buFont typeface="+mj-lt"/>
              <a:buAutoNum type="arabicPeriod"/>
            </a:pPr>
            <a:r>
              <a:rPr lang="en-US" sz="1000"/>
              <a:t>First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Second item</a:t>
            </a:r>
          </a:p>
          <a:p>
            <a:pPr marL="182558" lvl="2" indent="-182558">
              <a:buFont typeface="+mj-lt"/>
              <a:buAutoNum type="arabicPeriod"/>
            </a:pPr>
            <a:r>
              <a:rPr lang="en-US" sz="1000"/>
              <a:t>Third item</a:t>
            </a:r>
          </a:p>
        </p:txBody>
      </p:sp>
      <p:sp>
        <p:nvSpPr>
          <p:cNvPr id="49" name="Rounded Rectangle 7">
            <a:extLst>
              <a:ext uri="{FF2B5EF4-FFF2-40B4-BE49-F238E27FC236}">
                <a16:creationId xmlns:a16="http://schemas.microsoft.com/office/drawing/2014/main" id="{F072FA0F-EFA5-4F95-B63D-56B5FE4C3F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92357" y="1143728"/>
            <a:ext cx="812621" cy="260238"/>
          </a:xfrm>
          <a:prstGeom prst="roundRect">
            <a:avLst>
              <a:gd name="adj" fmla="val 21081"/>
            </a:avLst>
          </a:prstGeom>
          <a:noFill/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1" tIns="54611" rIns="54611" bIns="54611" rtlCol="0" anchor="ctr"/>
          <a:lstStyle/>
          <a:p>
            <a:pPr algn="ctr"/>
            <a:endParaRPr lang="en-GB" sz="90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42375D0-221E-426C-A76E-49DCE41BBF0A}"/>
              </a:ext>
            </a:extLst>
          </p:cNvPr>
          <p:cNvSpPr/>
          <p:nvPr/>
        </p:nvSpPr>
        <p:spPr>
          <a:xfrm>
            <a:off x="9992357" y="296863"/>
            <a:ext cx="1620000" cy="54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700">
                <a:solidFill>
                  <a:sysClr val="windowText" lastClr="000000"/>
                </a:solidFill>
              </a:rPr>
              <a:t>Call-out box.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333084-9155-4F6A-BCDD-59B58C750DBA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398668" y="836864"/>
            <a:ext cx="403689" cy="30686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22D0BFFE-B66D-4911-8FEF-64EBB03C2FCA}"/>
              </a:ext>
            </a:extLst>
          </p:cNvPr>
          <p:cNvSpPr/>
          <p:nvPr/>
        </p:nvSpPr>
        <p:spPr>
          <a:xfrm>
            <a:off x="-700821" y="2007732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able/ char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4A96DA3-0C2B-4E94-97F0-6F38F3C2633A}"/>
              </a:ext>
            </a:extLst>
          </p:cNvPr>
          <p:cNvSpPr/>
          <p:nvPr/>
        </p:nvSpPr>
        <p:spPr>
          <a:xfrm>
            <a:off x="-700821" y="143049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trap-lin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0EA47E0-4A4B-4DA4-913E-40CF6BC6BA0C}"/>
              </a:ext>
            </a:extLst>
          </p:cNvPr>
          <p:cNvSpPr/>
          <p:nvPr/>
        </p:nvSpPr>
        <p:spPr>
          <a:xfrm>
            <a:off x="-700821" y="2330121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Text box/char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816CD19-F183-46AF-A8DE-2DABE33A1E94}"/>
              </a:ext>
            </a:extLst>
          </p:cNvPr>
          <p:cNvSpPr/>
          <p:nvPr/>
        </p:nvSpPr>
        <p:spPr>
          <a:xfrm>
            <a:off x="4889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Lef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3B711AF-6FB9-409E-9A7B-120234D85A8F}"/>
              </a:ext>
            </a:extLst>
          </p:cNvPr>
          <p:cNvSpPr/>
          <p:nvPr/>
        </p:nvSpPr>
        <p:spPr>
          <a:xfrm>
            <a:off x="3499928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2/3 text box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335ABAF-600E-4198-AD20-24A81C4DE263}"/>
              </a:ext>
            </a:extLst>
          </p:cNvPr>
          <p:cNvSpPr/>
          <p:nvPr/>
        </p:nvSpPr>
        <p:spPr>
          <a:xfrm>
            <a:off x="8769050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Righ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8119D-F7EA-44CA-90C7-7A9FC065BF63}"/>
              </a:ext>
            </a:extLst>
          </p:cNvPr>
          <p:cNvSpPr/>
          <p:nvPr/>
        </p:nvSpPr>
        <p:spPr>
          <a:xfrm>
            <a:off x="6491194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Second text colum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DA5AB18-E67F-4873-99BE-F5483BD25E75}"/>
              </a:ext>
            </a:extLst>
          </p:cNvPr>
          <p:cNvSpPr/>
          <p:nvPr/>
        </p:nvSpPr>
        <p:spPr>
          <a:xfrm>
            <a:off x="4999369" y="-303544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</a:rPr>
              <a:t>50-50</a:t>
            </a:r>
          </a:p>
          <a:p>
            <a:pPr algn="ctr"/>
            <a:r>
              <a:rPr lang="en-US" sz="800">
                <a:solidFill>
                  <a:schemeClr val="bg1"/>
                </a:solidFill>
              </a:rPr>
              <a:t>text box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16C84F-1B87-400D-BB7E-A1B1534F3486}"/>
              </a:ext>
            </a:extLst>
          </p:cNvPr>
          <p:cNvSpPr/>
          <p:nvPr/>
        </p:nvSpPr>
        <p:spPr>
          <a:xfrm>
            <a:off x="-700821" y="4036758"/>
            <a:ext cx="648000" cy="252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ctr"/>
            <a:r>
              <a:rPr lang="en-US" sz="800">
                <a:solidFill>
                  <a:schemeClr val="bg1"/>
                </a:solidFill>
                <a:highlight>
                  <a:srgbClr val="FFFF00"/>
                </a:highlight>
              </a:rPr>
              <a:t>Text box/chart</a:t>
            </a: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CA879EF8-0590-F5A4-9C35-8990BEDA8586}"/>
              </a:ext>
            </a:extLst>
          </p:cNvPr>
          <p:cNvSpPr/>
          <p:nvPr/>
        </p:nvSpPr>
        <p:spPr>
          <a:xfrm>
            <a:off x="68800" y="1440000"/>
            <a:ext cx="1481137" cy="216000"/>
          </a:xfrm>
          <a:prstGeom prst="rect">
            <a:avLst/>
          </a:prstGeom>
          <a:solidFill>
            <a:srgbClr val="1E49E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주요계열사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683326A-9C9D-B23B-7FDB-8E431F767909}"/>
              </a:ext>
            </a:extLst>
          </p:cNvPr>
          <p:cNvSpPr/>
          <p:nvPr/>
        </p:nvSpPr>
        <p:spPr>
          <a:xfrm>
            <a:off x="1636432" y="1440000"/>
            <a:ext cx="1872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실적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8C138380-FFC2-4D7D-5C57-561AF75B1A54}"/>
              </a:ext>
            </a:extLst>
          </p:cNvPr>
          <p:cNvSpPr/>
          <p:nvPr/>
        </p:nvSpPr>
        <p:spPr>
          <a:xfrm>
            <a:off x="3594927" y="1440000"/>
            <a:ext cx="1872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유동성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Risk</a:t>
            </a:r>
            <a:endParaRPr lang="ko-KR" altLang="en-US" sz="9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16BD2F9-3449-CFA0-E552-2AD8DB713408}"/>
              </a:ext>
            </a:extLst>
          </p:cNvPr>
          <p:cNvSpPr/>
          <p:nvPr/>
        </p:nvSpPr>
        <p:spPr>
          <a:xfrm>
            <a:off x="5553422" y="1440000"/>
            <a:ext cx="1872000" cy="216000"/>
          </a:xfrm>
          <a:prstGeom prst="rect">
            <a:avLst/>
          </a:prstGeom>
          <a:solidFill>
            <a:srgbClr val="0C233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향후 </a:t>
            </a:r>
            <a:r>
              <a:rPr lang="en-US" altLang="ko-KR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CAPEX </a:t>
            </a:r>
            <a:r>
              <a:rPr lang="ko-KR" altLang="en-US" sz="9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투자</a:t>
            </a:r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7A10B9C9-105C-CA50-4F20-2C612B7E900F}"/>
              </a:ext>
            </a:extLst>
          </p:cNvPr>
          <p:cNvCxnSpPr>
            <a:cxnSpLocks/>
          </p:cNvCxnSpPr>
          <p:nvPr/>
        </p:nvCxnSpPr>
        <p:spPr>
          <a:xfrm>
            <a:off x="83302" y="2995418"/>
            <a:ext cx="734212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91F30702-38FA-305E-B7CE-CD0A33E240F7}"/>
              </a:ext>
            </a:extLst>
          </p:cNvPr>
          <p:cNvSpPr/>
          <p:nvPr/>
        </p:nvSpPr>
        <p:spPr>
          <a:xfrm>
            <a:off x="3232073" y="1956615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08819805-DA3B-781E-3C6A-71095C84B942}"/>
              </a:ext>
            </a:extLst>
          </p:cNvPr>
          <p:cNvSpPr/>
          <p:nvPr/>
        </p:nvSpPr>
        <p:spPr>
          <a:xfrm>
            <a:off x="3232073" y="2141818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6EA9091-972E-33A0-7D38-0125B8583AFB}"/>
              </a:ext>
            </a:extLst>
          </p:cNvPr>
          <p:cNvSpPr/>
          <p:nvPr/>
        </p:nvSpPr>
        <p:spPr>
          <a:xfrm>
            <a:off x="3232073" y="2327021"/>
            <a:ext cx="267855" cy="12896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F2D817E2-2D89-30C6-10D2-6F93B03898D1}"/>
              </a:ext>
            </a:extLst>
          </p:cNvPr>
          <p:cNvSpPr/>
          <p:nvPr/>
        </p:nvSpPr>
        <p:spPr>
          <a:xfrm>
            <a:off x="3232073" y="2512224"/>
            <a:ext cx="267855" cy="12896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6" name="직사각형 35">
            <a:extLst>
              <a:ext uri="{FF2B5EF4-FFF2-40B4-BE49-F238E27FC236}">
                <a16:creationId xmlns:a16="http://schemas.microsoft.com/office/drawing/2014/main" id="{BFB3E879-085F-9B02-7726-3085202215BD}"/>
              </a:ext>
            </a:extLst>
          </p:cNvPr>
          <p:cNvSpPr/>
          <p:nvPr/>
        </p:nvSpPr>
        <p:spPr>
          <a:xfrm>
            <a:off x="3232073" y="2697428"/>
            <a:ext cx="267855" cy="12896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7" name="직사각형 36">
            <a:extLst>
              <a:ext uri="{FF2B5EF4-FFF2-40B4-BE49-F238E27FC236}">
                <a16:creationId xmlns:a16="http://schemas.microsoft.com/office/drawing/2014/main" id="{C1E42B73-627F-48E8-B5F6-1B39D8CF27F1}"/>
              </a:ext>
            </a:extLst>
          </p:cNvPr>
          <p:cNvSpPr/>
          <p:nvPr/>
        </p:nvSpPr>
        <p:spPr>
          <a:xfrm>
            <a:off x="5199072" y="1956615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8" name="직사각형 37">
            <a:extLst>
              <a:ext uri="{FF2B5EF4-FFF2-40B4-BE49-F238E27FC236}">
                <a16:creationId xmlns:a16="http://schemas.microsoft.com/office/drawing/2014/main" id="{507EB443-4D27-9476-25B3-AD2256ADA7C8}"/>
              </a:ext>
            </a:extLst>
          </p:cNvPr>
          <p:cNvSpPr/>
          <p:nvPr/>
        </p:nvSpPr>
        <p:spPr>
          <a:xfrm>
            <a:off x="5199072" y="2141818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421A82FC-8A37-9E17-3991-86FFCF45CABA}"/>
              </a:ext>
            </a:extLst>
          </p:cNvPr>
          <p:cNvSpPr/>
          <p:nvPr/>
        </p:nvSpPr>
        <p:spPr>
          <a:xfrm>
            <a:off x="5199072" y="2327021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A98FF4BB-A22A-9D8D-F5BF-3458955B9823}"/>
              </a:ext>
            </a:extLst>
          </p:cNvPr>
          <p:cNvSpPr/>
          <p:nvPr/>
        </p:nvSpPr>
        <p:spPr>
          <a:xfrm>
            <a:off x="5199072" y="2512224"/>
            <a:ext cx="267855" cy="12896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703E8C97-0FE0-0197-29A8-13790B030773}"/>
              </a:ext>
            </a:extLst>
          </p:cNvPr>
          <p:cNvSpPr/>
          <p:nvPr/>
        </p:nvSpPr>
        <p:spPr>
          <a:xfrm>
            <a:off x="5199072" y="2697428"/>
            <a:ext cx="267855" cy="12896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AA572FC9-0FD6-0601-B045-47FDC9B75DBE}"/>
              </a:ext>
            </a:extLst>
          </p:cNvPr>
          <p:cNvSpPr/>
          <p:nvPr/>
        </p:nvSpPr>
        <p:spPr>
          <a:xfrm>
            <a:off x="7139194" y="1956615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4" name="직사각형 43">
            <a:extLst>
              <a:ext uri="{FF2B5EF4-FFF2-40B4-BE49-F238E27FC236}">
                <a16:creationId xmlns:a16="http://schemas.microsoft.com/office/drawing/2014/main" id="{FDE3D329-D378-3CA5-FBCC-D53928BDBD83}"/>
              </a:ext>
            </a:extLst>
          </p:cNvPr>
          <p:cNvSpPr/>
          <p:nvPr/>
        </p:nvSpPr>
        <p:spPr>
          <a:xfrm>
            <a:off x="7139194" y="2141818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14FDD768-E0D6-22C1-64E8-E2BA58E9D962}"/>
              </a:ext>
            </a:extLst>
          </p:cNvPr>
          <p:cNvSpPr/>
          <p:nvPr/>
        </p:nvSpPr>
        <p:spPr>
          <a:xfrm>
            <a:off x="7139194" y="2327021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6" name="직사각형 45">
            <a:extLst>
              <a:ext uri="{FF2B5EF4-FFF2-40B4-BE49-F238E27FC236}">
                <a16:creationId xmlns:a16="http://schemas.microsoft.com/office/drawing/2014/main" id="{51402281-90CD-A28F-68DF-010297BA84D6}"/>
              </a:ext>
            </a:extLst>
          </p:cNvPr>
          <p:cNvSpPr/>
          <p:nvPr/>
        </p:nvSpPr>
        <p:spPr>
          <a:xfrm>
            <a:off x="7139194" y="2512224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47" name="직사각형 46">
            <a:extLst>
              <a:ext uri="{FF2B5EF4-FFF2-40B4-BE49-F238E27FC236}">
                <a16:creationId xmlns:a16="http://schemas.microsoft.com/office/drawing/2014/main" id="{A077ADFF-8E76-BDD5-870A-E9E0583D3D56}"/>
              </a:ext>
            </a:extLst>
          </p:cNvPr>
          <p:cNvSpPr/>
          <p:nvPr/>
        </p:nvSpPr>
        <p:spPr>
          <a:xfrm>
            <a:off x="7139194" y="2697428"/>
            <a:ext cx="267855" cy="12896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7FCB711-D834-8F87-6BC8-425FF035DFA2}"/>
              </a:ext>
            </a:extLst>
          </p:cNvPr>
          <p:cNvSpPr txBox="1"/>
          <p:nvPr/>
        </p:nvSpPr>
        <p:spPr>
          <a:xfrm>
            <a:off x="1636432" y="1912501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매출액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영업이익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/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당기순이익 </a:t>
            </a:r>
            <a:r>
              <a:rPr lang="ko-KR" altLang="en-US" sz="900" b="1" i="1" kern="0" err="1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변동분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b="1" i="1" kern="0" err="1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워딩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추가</a:t>
            </a:r>
            <a:endParaRPr lang="en-US" altLang="ko-KR" sz="900" b="1" i="1" kern="0">
              <a:solidFill>
                <a:schemeClr val="bg2">
                  <a:lumMod val="25000"/>
                </a:schemeClr>
              </a:solidFill>
              <a:highlight>
                <a:srgbClr val="FFFF00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분양경기 저하로 자체사업장 분양 지연 및 분양전환 물량 감소로 실적 악화</a:t>
            </a:r>
            <a:endParaRPr lang="en-US" altLang="ko-KR" sz="900" b="1" i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8729BD2-84CA-C2FF-3434-424329BC8F3C}"/>
              </a:ext>
            </a:extLst>
          </p:cNvPr>
          <p:cNvSpPr txBox="1"/>
          <p:nvPr/>
        </p:nvSpPr>
        <p:spPr>
          <a:xfrm>
            <a:off x="3603430" y="1906224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실적악화로 이자보상배율이 </a:t>
            </a:r>
            <a:r>
              <a:rPr lang="en-US" altLang="ko-KR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이나</a:t>
            </a:r>
            <a:r>
              <a:rPr lang="en-US" altLang="ko-KR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보유용지 多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FBB9E72-1374-E32C-F5B1-ECE85D1BB348}"/>
              </a:ext>
            </a:extLst>
          </p:cNvPr>
          <p:cNvSpPr txBox="1"/>
          <p:nvPr/>
        </p:nvSpPr>
        <p:spPr>
          <a:xfrm>
            <a:off x="5553422" y="1917839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부영주택 일부 사업</a:t>
            </a:r>
            <a:r>
              <a:rPr lang="en-US" altLang="ko-KR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</a:t>
            </a: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개발 지연 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  <a:sym typeface="Wingdings" panose="05000000000000000000" pitchFamily="2" charset="2"/>
              </a:rPr>
              <a:t>지연 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사업장 관련 소송 비용과 추가 투입자금 발생可</a:t>
            </a:r>
            <a:endParaRPr lang="ko-KR" altLang="en-US" sz="900" b="1" i="1" u="sng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65" name="직선 연결선 64">
            <a:extLst>
              <a:ext uri="{FF2B5EF4-FFF2-40B4-BE49-F238E27FC236}">
                <a16:creationId xmlns:a16="http://schemas.microsoft.com/office/drawing/2014/main" id="{802A8544-9484-5380-3540-CE30F3BF5E45}"/>
              </a:ext>
            </a:extLst>
          </p:cNvPr>
          <p:cNvCxnSpPr>
            <a:cxnSpLocks/>
          </p:cNvCxnSpPr>
          <p:nvPr/>
        </p:nvCxnSpPr>
        <p:spPr>
          <a:xfrm>
            <a:off x="83302" y="4201040"/>
            <a:ext cx="734212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직사각형 65">
            <a:extLst>
              <a:ext uri="{FF2B5EF4-FFF2-40B4-BE49-F238E27FC236}">
                <a16:creationId xmlns:a16="http://schemas.microsoft.com/office/drawing/2014/main" id="{9275EA1F-6801-F806-BFFA-80C00140AD34}"/>
              </a:ext>
            </a:extLst>
          </p:cNvPr>
          <p:cNvSpPr/>
          <p:nvPr/>
        </p:nvSpPr>
        <p:spPr>
          <a:xfrm>
            <a:off x="3232073" y="3182796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7" name="직사각형 66">
            <a:extLst>
              <a:ext uri="{FF2B5EF4-FFF2-40B4-BE49-F238E27FC236}">
                <a16:creationId xmlns:a16="http://schemas.microsoft.com/office/drawing/2014/main" id="{EBD3C0A0-78BF-9660-2646-110A2D2236AA}"/>
              </a:ext>
            </a:extLst>
          </p:cNvPr>
          <p:cNvSpPr/>
          <p:nvPr/>
        </p:nvSpPr>
        <p:spPr>
          <a:xfrm>
            <a:off x="3232073" y="3367999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8" name="직사각형 67">
            <a:extLst>
              <a:ext uri="{FF2B5EF4-FFF2-40B4-BE49-F238E27FC236}">
                <a16:creationId xmlns:a16="http://schemas.microsoft.com/office/drawing/2014/main" id="{0CDE98FE-2BEB-4660-7CB3-9ED31370F8BF}"/>
              </a:ext>
            </a:extLst>
          </p:cNvPr>
          <p:cNvSpPr/>
          <p:nvPr/>
        </p:nvSpPr>
        <p:spPr>
          <a:xfrm>
            <a:off x="3232073" y="3553202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69" name="직사각형 68">
            <a:extLst>
              <a:ext uri="{FF2B5EF4-FFF2-40B4-BE49-F238E27FC236}">
                <a16:creationId xmlns:a16="http://schemas.microsoft.com/office/drawing/2014/main" id="{9241C604-C7B5-2168-50E9-3E038048CD40}"/>
              </a:ext>
            </a:extLst>
          </p:cNvPr>
          <p:cNvSpPr/>
          <p:nvPr/>
        </p:nvSpPr>
        <p:spPr>
          <a:xfrm>
            <a:off x="3232073" y="3738405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0" name="직사각형 69">
            <a:extLst>
              <a:ext uri="{FF2B5EF4-FFF2-40B4-BE49-F238E27FC236}">
                <a16:creationId xmlns:a16="http://schemas.microsoft.com/office/drawing/2014/main" id="{943296B8-19DE-8E44-3580-FDDCD7E55786}"/>
              </a:ext>
            </a:extLst>
          </p:cNvPr>
          <p:cNvSpPr/>
          <p:nvPr/>
        </p:nvSpPr>
        <p:spPr>
          <a:xfrm>
            <a:off x="3232073" y="3923609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1" name="직사각형 70">
            <a:extLst>
              <a:ext uri="{FF2B5EF4-FFF2-40B4-BE49-F238E27FC236}">
                <a16:creationId xmlns:a16="http://schemas.microsoft.com/office/drawing/2014/main" id="{9BB31A67-3266-FE51-0B6B-D729F723D42B}"/>
              </a:ext>
            </a:extLst>
          </p:cNvPr>
          <p:cNvSpPr/>
          <p:nvPr/>
        </p:nvSpPr>
        <p:spPr>
          <a:xfrm>
            <a:off x="5199072" y="3182796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2" name="직사각형 71">
            <a:extLst>
              <a:ext uri="{FF2B5EF4-FFF2-40B4-BE49-F238E27FC236}">
                <a16:creationId xmlns:a16="http://schemas.microsoft.com/office/drawing/2014/main" id="{A06C5142-CC1D-33A4-FA5F-E5002FC0C2B7}"/>
              </a:ext>
            </a:extLst>
          </p:cNvPr>
          <p:cNvSpPr/>
          <p:nvPr/>
        </p:nvSpPr>
        <p:spPr>
          <a:xfrm>
            <a:off x="5199072" y="3367999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3" name="직사각형 72">
            <a:extLst>
              <a:ext uri="{FF2B5EF4-FFF2-40B4-BE49-F238E27FC236}">
                <a16:creationId xmlns:a16="http://schemas.microsoft.com/office/drawing/2014/main" id="{D6AEE687-2A43-A57F-604D-DD7F4CF82361}"/>
              </a:ext>
            </a:extLst>
          </p:cNvPr>
          <p:cNvSpPr/>
          <p:nvPr/>
        </p:nvSpPr>
        <p:spPr>
          <a:xfrm>
            <a:off x="5199072" y="3553202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4" name="직사각형 73">
            <a:extLst>
              <a:ext uri="{FF2B5EF4-FFF2-40B4-BE49-F238E27FC236}">
                <a16:creationId xmlns:a16="http://schemas.microsoft.com/office/drawing/2014/main" id="{7BBDC857-C900-90A9-729E-76E5B8BDD16B}"/>
              </a:ext>
            </a:extLst>
          </p:cNvPr>
          <p:cNvSpPr/>
          <p:nvPr/>
        </p:nvSpPr>
        <p:spPr>
          <a:xfrm>
            <a:off x="5199072" y="3738405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5" name="직사각형 74">
            <a:extLst>
              <a:ext uri="{FF2B5EF4-FFF2-40B4-BE49-F238E27FC236}">
                <a16:creationId xmlns:a16="http://schemas.microsoft.com/office/drawing/2014/main" id="{0A6D8254-B87D-6C6D-1891-815165E6E20B}"/>
              </a:ext>
            </a:extLst>
          </p:cNvPr>
          <p:cNvSpPr/>
          <p:nvPr/>
        </p:nvSpPr>
        <p:spPr>
          <a:xfrm>
            <a:off x="5199072" y="3923609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C06993D1-1136-8386-CC3F-9536C4E192AB}"/>
              </a:ext>
            </a:extLst>
          </p:cNvPr>
          <p:cNvSpPr/>
          <p:nvPr/>
        </p:nvSpPr>
        <p:spPr>
          <a:xfrm>
            <a:off x="7139194" y="3182796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7" name="직사각형 76">
            <a:extLst>
              <a:ext uri="{FF2B5EF4-FFF2-40B4-BE49-F238E27FC236}">
                <a16:creationId xmlns:a16="http://schemas.microsoft.com/office/drawing/2014/main" id="{98D63A8E-7203-2E64-99B2-391D9F8A0384}"/>
              </a:ext>
            </a:extLst>
          </p:cNvPr>
          <p:cNvSpPr/>
          <p:nvPr/>
        </p:nvSpPr>
        <p:spPr>
          <a:xfrm>
            <a:off x="7139194" y="3367999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8" name="직사각형 77">
            <a:extLst>
              <a:ext uri="{FF2B5EF4-FFF2-40B4-BE49-F238E27FC236}">
                <a16:creationId xmlns:a16="http://schemas.microsoft.com/office/drawing/2014/main" id="{37F714D8-F335-4F00-EA2B-4C73FF6A0387}"/>
              </a:ext>
            </a:extLst>
          </p:cNvPr>
          <p:cNvSpPr/>
          <p:nvPr/>
        </p:nvSpPr>
        <p:spPr>
          <a:xfrm>
            <a:off x="7139194" y="3553202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79" name="직사각형 78">
            <a:extLst>
              <a:ext uri="{FF2B5EF4-FFF2-40B4-BE49-F238E27FC236}">
                <a16:creationId xmlns:a16="http://schemas.microsoft.com/office/drawing/2014/main" id="{02111F6D-D202-0571-FACB-79853FC99094}"/>
              </a:ext>
            </a:extLst>
          </p:cNvPr>
          <p:cNvSpPr/>
          <p:nvPr/>
        </p:nvSpPr>
        <p:spPr>
          <a:xfrm>
            <a:off x="7139194" y="3738405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023A45F5-6F94-9EDE-B896-1DC13D851CCD}"/>
              </a:ext>
            </a:extLst>
          </p:cNvPr>
          <p:cNvSpPr/>
          <p:nvPr/>
        </p:nvSpPr>
        <p:spPr>
          <a:xfrm>
            <a:off x="7139194" y="3923609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AFDC5F4-9A3F-F664-5E97-2BF278E66218}"/>
              </a:ext>
            </a:extLst>
          </p:cNvPr>
          <p:cNvSpPr txBox="1"/>
          <p:nvPr/>
        </p:nvSpPr>
        <p:spPr>
          <a:xfrm>
            <a:off x="1636432" y="3138682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전라남도 여수시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b="1" i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여천시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중심으로 안정적 성장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B68AC89-214F-E51B-A35A-F1B20697054F}"/>
              </a:ext>
            </a:extLst>
          </p:cNvPr>
          <p:cNvSpPr txBox="1"/>
          <p:nvPr/>
        </p:nvSpPr>
        <p:spPr>
          <a:xfrm>
            <a:off x="3603430" y="3132405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1" kern="0" err="1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이</a:t>
            </a: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차입부채를 초과하며 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재무구조가 안정적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65FD29C-72A5-1CFC-1D83-4810D038E136}"/>
              </a:ext>
            </a:extLst>
          </p:cNvPr>
          <p:cNvSpPr txBox="1"/>
          <p:nvPr/>
        </p:nvSpPr>
        <p:spPr>
          <a:xfrm>
            <a:off x="5553422" y="3144020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altLang="ko-KR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’18</a:t>
            </a: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년 대규모 투자 이후 구체적 계획 無</a:t>
            </a:r>
            <a:endParaRPr lang="en-US" altLang="ko-KR" sz="900" i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지보수성격 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APEX</a:t>
            </a:r>
            <a:endParaRPr lang="ko-KR" altLang="en-US" sz="900" b="1" i="1" kern="0">
              <a:solidFill>
                <a:schemeClr val="bg2">
                  <a:lumMod val="25000"/>
                </a:schemeClr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cxnSp>
        <p:nvCxnSpPr>
          <p:cNvPr id="85" name="직선 연결선 84">
            <a:extLst>
              <a:ext uri="{FF2B5EF4-FFF2-40B4-BE49-F238E27FC236}">
                <a16:creationId xmlns:a16="http://schemas.microsoft.com/office/drawing/2014/main" id="{4BF5CA7D-2161-F624-8BF5-4ECE71707D86}"/>
              </a:ext>
            </a:extLst>
          </p:cNvPr>
          <p:cNvCxnSpPr>
            <a:cxnSpLocks/>
          </p:cNvCxnSpPr>
          <p:nvPr/>
        </p:nvCxnSpPr>
        <p:spPr>
          <a:xfrm>
            <a:off x="101675" y="5429253"/>
            <a:ext cx="734212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D154B1AB-864D-E6EA-6A50-F92C5E90DB50}"/>
              </a:ext>
            </a:extLst>
          </p:cNvPr>
          <p:cNvSpPr/>
          <p:nvPr/>
        </p:nvSpPr>
        <p:spPr>
          <a:xfrm>
            <a:off x="3250446" y="4394540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4C484B3B-A537-4220-5B14-399862F72547}"/>
              </a:ext>
            </a:extLst>
          </p:cNvPr>
          <p:cNvSpPr/>
          <p:nvPr/>
        </p:nvSpPr>
        <p:spPr>
          <a:xfrm>
            <a:off x="3250446" y="4579743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88" name="직사각형 87">
            <a:extLst>
              <a:ext uri="{FF2B5EF4-FFF2-40B4-BE49-F238E27FC236}">
                <a16:creationId xmlns:a16="http://schemas.microsoft.com/office/drawing/2014/main" id="{5FCBF72E-6E69-1FA4-5875-C5A9D40F4624}"/>
              </a:ext>
            </a:extLst>
          </p:cNvPr>
          <p:cNvSpPr/>
          <p:nvPr/>
        </p:nvSpPr>
        <p:spPr>
          <a:xfrm>
            <a:off x="3250446" y="4764946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9FE3822B-94E4-AF37-9E7E-FC74582FF63C}"/>
              </a:ext>
            </a:extLst>
          </p:cNvPr>
          <p:cNvSpPr/>
          <p:nvPr/>
        </p:nvSpPr>
        <p:spPr>
          <a:xfrm>
            <a:off x="3250446" y="4950149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BC19565F-C2E8-CF6C-AD20-AD80240F1424}"/>
              </a:ext>
            </a:extLst>
          </p:cNvPr>
          <p:cNvSpPr/>
          <p:nvPr/>
        </p:nvSpPr>
        <p:spPr>
          <a:xfrm>
            <a:off x="3250446" y="5135353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1" name="직사각형 90">
            <a:extLst>
              <a:ext uri="{FF2B5EF4-FFF2-40B4-BE49-F238E27FC236}">
                <a16:creationId xmlns:a16="http://schemas.microsoft.com/office/drawing/2014/main" id="{CC00318B-EE28-9849-5F1F-F89467B48390}"/>
              </a:ext>
            </a:extLst>
          </p:cNvPr>
          <p:cNvSpPr/>
          <p:nvPr/>
        </p:nvSpPr>
        <p:spPr>
          <a:xfrm>
            <a:off x="5217445" y="4394540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6FD50299-1A4C-EC00-CFBF-2F26C09E6782}"/>
              </a:ext>
            </a:extLst>
          </p:cNvPr>
          <p:cNvSpPr/>
          <p:nvPr/>
        </p:nvSpPr>
        <p:spPr>
          <a:xfrm>
            <a:off x="5217445" y="4579743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7CCEC674-5144-D082-B95F-80F056E1A841}"/>
              </a:ext>
            </a:extLst>
          </p:cNvPr>
          <p:cNvSpPr/>
          <p:nvPr/>
        </p:nvSpPr>
        <p:spPr>
          <a:xfrm>
            <a:off x="5217445" y="4764946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4" name="직사각형 93">
            <a:extLst>
              <a:ext uri="{FF2B5EF4-FFF2-40B4-BE49-F238E27FC236}">
                <a16:creationId xmlns:a16="http://schemas.microsoft.com/office/drawing/2014/main" id="{71F38A48-6438-3C9D-10E2-1D6EE1B573C8}"/>
              </a:ext>
            </a:extLst>
          </p:cNvPr>
          <p:cNvSpPr/>
          <p:nvPr/>
        </p:nvSpPr>
        <p:spPr>
          <a:xfrm>
            <a:off x="5217445" y="4950149"/>
            <a:ext cx="267855" cy="12896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6A8A33A6-C88A-7555-6661-55774CF01553}"/>
              </a:ext>
            </a:extLst>
          </p:cNvPr>
          <p:cNvSpPr/>
          <p:nvPr/>
        </p:nvSpPr>
        <p:spPr>
          <a:xfrm>
            <a:off x="5217445" y="5135353"/>
            <a:ext cx="267855" cy="128969"/>
          </a:xfrm>
          <a:prstGeom prst="rect">
            <a:avLst/>
          </a:prstGeom>
          <a:solidFill>
            <a:srgbClr val="1E49E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747C5E07-84C7-1AEC-9D4E-B1F53F20EF51}"/>
              </a:ext>
            </a:extLst>
          </p:cNvPr>
          <p:cNvSpPr/>
          <p:nvPr/>
        </p:nvSpPr>
        <p:spPr>
          <a:xfrm>
            <a:off x="7157567" y="4394540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7" name="직사각형 96">
            <a:extLst>
              <a:ext uri="{FF2B5EF4-FFF2-40B4-BE49-F238E27FC236}">
                <a16:creationId xmlns:a16="http://schemas.microsoft.com/office/drawing/2014/main" id="{67E6B9C8-B83B-6DBE-CCBA-0DEE7B7A6AF4}"/>
              </a:ext>
            </a:extLst>
          </p:cNvPr>
          <p:cNvSpPr/>
          <p:nvPr/>
        </p:nvSpPr>
        <p:spPr>
          <a:xfrm>
            <a:off x="7157567" y="4579743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8" name="직사각형 97">
            <a:extLst>
              <a:ext uri="{FF2B5EF4-FFF2-40B4-BE49-F238E27FC236}">
                <a16:creationId xmlns:a16="http://schemas.microsoft.com/office/drawing/2014/main" id="{18DC959C-ABA3-30EF-DD01-0B13F3AF3EDA}"/>
              </a:ext>
            </a:extLst>
          </p:cNvPr>
          <p:cNvSpPr/>
          <p:nvPr/>
        </p:nvSpPr>
        <p:spPr>
          <a:xfrm>
            <a:off x="7157567" y="4764946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99" name="직사각형 98">
            <a:extLst>
              <a:ext uri="{FF2B5EF4-FFF2-40B4-BE49-F238E27FC236}">
                <a16:creationId xmlns:a16="http://schemas.microsoft.com/office/drawing/2014/main" id="{3AE7B102-7C8E-6AA5-294D-D079E694F281}"/>
              </a:ext>
            </a:extLst>
          </p:cNvPr>
          <p:cNvSpPr/>
          <p:nvPr/>
        </p:nvSpPr>
        <p:spPr>
          <a:xfrm>
            <a:off x="7157567" y="4950149"/>
            <a:ext cx="267855" cy="12896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100" name="직사각형 99">
            <a:extLst>
              <a:ext uri="{FF2B5EF4-FFF2-40B4-BE49-F238E27FC236}">
                <a16:creationId xmlns:a16="http://schemas.microsoft.com/office/drawing/2014/main" id="{7AC26CF1-F89A-F38E-CDA6-9D89DCC405F8}"/>
              </a:ext>
            </a:extLst>
          </p:cNvPr>
          <p:cNvSpPr/>
          <p:nvPr/>
        </p:nvSpPr>
        <p:spPr>
          <a:xfrm>
            <a:off x="7157567" y="5135353"/>
            <a:ext cx="267855" cy="12896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ko-KR" altLang="en-US" sz="900" err="1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33E44CD-DE11-3E3B-D45C-41B67043EB99}"/>
              </a:ext>
            </a:extLst>
          </p:cNvPr>
          <p:cNvSpPr txBox="1"/>
          <p:nvPr/>
        </p:nvSpPr>
        <p:spPr>
          <a:xfrm>
            <a:off x="1654805" y="4350426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주택경기악화로 실적 악화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C24FBF8-4B6C-0DE2-0426-DBF12C36141B}"/>
              </a:ext>
            </a:extLst>
          </p:cNvPr>
          <p:cNvSpPr txBox="1"/>
          <p:nvPr/>
        </p:nvSpPr>
        <p:spPr>
          <a:xfrm>
            <a:off x="3621803" y="4344149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이자보상배율이 </a:t>
            </a:r>
            <a:r>
              <a:rPr lang="en-US" altLang="ko-KR" sz="900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1</a:t>
            </a: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미만이나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, </a:t>
            </a:r>
            <a:r>
              <a:rPr lang="ko-KR" altLang="en-US" sz="900" i="1" kern="0" err="1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현금및현금성자산이</a:t>
            </a: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 차입부채를 초과하며 </a:t>
            </a: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재무구조가 안정적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CD7B612-A99A-6339-85A7-7C601D74A131}"/>
              </a:ext>
            </a:extLst>
          </p:cNvPr>
          <p:cNvSpPr txBox="1"/>
          <p:nvPr/>
        </p:nvSpPr>
        <p:spPr>
          <a:xfrm>
            <a:off x="5571795" y="4355764"/>
            <a:ext cx="1595642" cy="91389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구체적 계획 無</a:t>
            </a:r>
            <a:endParaRPr lang="en-US" altLang="ko-KR" sz="900" i="1" kern="0">
              <a:solidFill>
                <a:schemeClr val="bg2">
                  <a:lumMod val="25000"/>
                </a:schemeClr>
              </a:solidFill>
              <a:highlight>
                <a:srgbClr val="FFFF00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  <a:p>
            <a:pPr marL="171450" indent="-171450" defTabSz="914400">
              <a:lnSpc>
                <a:spcPct val="11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ko-KR" altLang="en-US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지보수성격 </a:t>
            </a:r>
            <a:r>
              <a:rPr lang="en-US" altLang="ko-KR" sz="900" b="1" i="1" kern="0">
                <a:solidFill>
                  <a:schemeClr val="bg2">
                    <a:lumMod val="25000"/>
                  </a:schemeClr>
                </a:solidFill>
                <a:highlight>
                  <a:srgbClr val="FFFF00"/>
                </a:highlight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CAPEX</a:t>
            </a:r>
            <a:endParaRPr lang="ko-KR" altLang="en-US" sz="900" b="1" i="1" kern="0">
              <a:solidFill>
                <a:schemeClr val="bg2">
                  <a:lumMod val="25000"/>
                </a:schemeClr>
              </a:solidFill>
              <a:highlight>
                <a:srgbClr val="FFFF00"/>
              </a:highlight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pic>
        <p:nvPicPr>
          <p:cNvPr id="2" name="Picture 2" descr="부영주택 부실시공 전국 규모 드러나">
            <a:extLst>
              <a:ext uri="{FF2B5EF4-FFF2-40B4-BE49-F238E27FC236}">
                <a16:creationId xmlns:a16="http://schemas.microsoft.com/office/drawing/2014/main" id="{6B2839DD-EE0D-84C0-00CA-40D73AE32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7" y="2087986"/>
            <a:ext cx="1442590" cy="44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블라인드 | 대화도시가스 기업정보">
            <a:extLst>
              <a:ext uri="{FF2B5EF4-FFF2-40B4-BE49-F238E27FC236}">
                <a16:creationId xmlns:a16="http://schemas.microsoft.com/office/drawing/2014/main" id="{CD304967-F794-3FA3-649D-45E5D54594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707" b="30792"/>
          <a:stretch/>
        </p:blipFill>
        <p:spPr bwMode="auto">
          <a:xfrm>
            <a:off x="69071" y="3359795"/>
            <a:ext cx="1496406" cy="456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669FD646-DCA4-D2EF-5FAB-CABA0C09B5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960" y="4594010"/>
            <a:ext cx="1516160" cy="41417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8F4EE7-3127-6FE3-5809-8F94C738150C}"/>
              </a:ext>
            </a:extLst>
          </p:cNvPr>
          <p:cNvSpPr txBox="1"/>
          <p:nvPr/>
        </p:nvSpPr>
        <p:spPr>
          <a:xfrm>
            <a:off x="7322056" y="2886991"/>
            <a:ext cx="2214978" cy="637986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 algn="ctr" defTabSz="914400">
              <a:lnSpc>
                <a:spcPct val="110000"/>
              </a:lnSpc>
              <a:spcAft>
                <a:spcPts val="300"/>
              </a:spcAft>
            </a:pPr>
            <a:r>
              <a:rPr lang="ko-KR" altLang="en-US" sz="100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유동성 확보 목적 </a:t>
            </a:r>
            <a:br>
              <a:rPr lang="en-US" altLang="ko-KR" sz="100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1000" b="1" i="1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M&amp;A Needs </a:t>
            </a:r>
            <a:br>
              <a:rPr lang="en-US" altLang="ko-KR" sz="900" b="1" i="1" kern="0"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</a:br>
            <a:r>
              <a:rPr lang="en-US" altLang="ko-KR" sz="1400" b="1" i="1" u="sng" kern="0">
                <a:solidFill>
                  <a:srgbClr val="C00000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  <a:cs typeface="Arial" panose="020B0604020202020204" pitchFamily="34" charset="0"/>
              </a:rPr>
              <a:t>Medium</a:t>
            </a:r>
            <a:endParaRPr lang="ko-KR" altLang="en-US" sz="1400" b="1" i="1" u="sng" kern="0">
              <a:solidFill>
                <a:srgbClr val="C00000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  <a:cs typeface="Arial" panose="020B0604020202020204" pitchFamily="34" charset="0"/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CD2A0352-9693-76B5-7BBB-E764D648B165}"/>
              </a:ext>
            </a:extLst>
          </p:cNvPr>
          <p:cNvSpPr/>
          <p:nvPr/>
        </p:nvSpPr>
        <p:spPr>
          <a:xfrm>
            <a:off x="7911842" y="3580519"/>
            <a:ext cx="1516154" cy="47285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분양경기 저하로 실적악화</a:t>
            </a:r>
            <a:endParaRPr lang="ko-KR" altLang="en-US" sz="1000" b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4" name="Freeform 48">
            <a:extLst>
              <a:ext uri="{FF2B5EF4-FFF2-40B4-BE49-F238E27FC236}">
                <a16:creationId xmlns:a16="http://schemas.microsoft.com/office/drawing/2014/main" id="{245B55EA-E410-B0EE-3DCF-D90403013F9B}"/>
              </a:ext>
            </a:extLst>
          </p:cNvPr>
          <p:cNvSpPr>
            <a:spLocks/>
          </p:cNvSpPr>
          <p:nvPr/>
        </p:nvSpPr>
        <p:spPr bwMode="auto">
          <a:xfrm>
            <a:off x="7734558" y="3753250"/>
            <a:ext cx="186615" cy="135892"/>
          </a:xfrm>
          <a:custGeom>
            <a:avLst/>
            <a:gdLst/>
            <a:ahLst/>
            <a:cxnLst>
              <a:cxn ang="0">
                <a:pos x="207" y="2051"/>
              </a:cxn>
              <a:cxn ang="0">
                <a:pos x="502" y="2433"/>
              </a:cxn>
              <a:cxn ang="0">
                <a:pos x="858" y="2991"/>
              </a:cxn>
              <a:cxn ang="0">
                <a:pos x="1017" y="3151"/>
              </a:cxn>
              <a:cxn ang="0">
                <a:pos x="1189" y="3228"/>
              </a:cxn>
              <a:cxn ang="0">
                <a:pos x="1367" y="3299"/>
              </a:cxn>
              <a:cxn ang="0">
                <a:pos x="1698" y="3417"/>
              </a:cxn>
              <a:cxn ang="0">
                <a:pos x="1841" y="3460"/>
              </a:cxn>
              <a:cxn ang="0">
                <a:pos x="1884" y="3348"/>
              </a:cxn>
              <a:cxn ang="0">
                <a:pos x="2042" y="3108"/>
              </a:cxn>
              <a:cxn ang="0">
                <a:pos x="2181" y="2716"/>
              </a:cxn>
              <a:cxn ang="0">
                <a:pos x="2374" y="2396"/>
              </a:cxn>
              <a:cxn ang="0">
                <a:pos x="2501" y="2216"/>
              </a:cxn>
              <a:cxn ang="0">
                <a:pos x="2634" y="2126"/>
              </a:cxn>
              <a:cxn ang="0">
                <a:pos x="2725" y="2021"/>
              </a:cxn>
              <a:cxn ang="0">
                <a:pos x="2985" y="1743"/>
              </a:cxn>
              <a:cxn ang="0">
                <a:pos x="3350" y="1385"/>
              </a:cxn>
              <a:cxn ang="0">
                <a:pos x="3764" y="1076"/>
              </a:cxn>
              <a:cxn ang="0">
                <a:pos x="3975" y="956"/>
              </a:cxn>
              <a:cxn ang="0">
                <a:pos x="4166" y="801"/>
              </a:cxn>
              <a:cxn ang="0">
                <a:pos x="4276" y="746"/>
              </a:cxn>
              <a:cxn ang="0">
                <a:pos x="4452" y="590"/>
              </a:cxn>
              <a:cxn ang="0">
                <a:pos x="4597" y="435"/>
              </a:cxn>
              <a:cxn ang="0">
                <a:pos x="4745" y="341"/>
              </a:cxn>
              <a:cxn ang="0">
                <a:pos x="4873" y="280"/>
              </a:cxn>
              <a:cxn ang="0">
                <a:pos x="4849" y="246"/>
              </a:cxn>
              <a:cxn ang="0">
                <a:pos x="4761" y="283"/>
              </a:cxn>
              <a:cxn ang="0">
                <a:pos x="4662" y="363"/>
              </a:cxn>
              <a:cxn ang="0">
                <a:pos x="4441" y="517"/>
              </a:cxn>
              <a:cxn ang="0">
                <a:pos x="4314" y="546"/>
              </a:cxn>
              <a:cxn ang="0">
                <a:pos x="3938" y="816"/>
              </a:cxn>
              <a:cxn ang="0">
                <a:pos x="4014" y="708"/>
              </a:cxn>
              <a:cxn ang="0">
                <a:pos x="4113" y="626"/>
              </a:cxn>
              <a:cxn ang="0">
                <a:pos x="4233" y="505"/>
              </a:cxn>
              <a:cxn ang="0">
                <a:pos x="4255" y="426"/>
              </a:cxn>
              <a:cxn ang="0">
                <a:pos x="4389" y="289"/>
              </a:cxn>
              <a:cxn ang="0">
                <a:pos x="4204" y="343"/>
              </a:cxn>
              <a:cxn ang="0">
                <a:pos x="4366" y="200"/>
              </a:cxn>
              <a:cxn ang="0">
                <a:pos x="4322" y="169"/>
              </a:cxn>
              <a:cxn ang="0">
                <a:pos x="4208" y="279"/>
              </a:cxn>
              <a:cxn ang="0">
                <a:pos x="4203" y="163"/>
              </a:cxn>
              <a:cxn ang="0">
                <a:pos x="4289" y="48"/>
              </a:cxn>
              <a:cxn ang="0">
                <a:pos x="4191" y="26"/>
              </a:cxn>
              <a:cxn ang="0">
                <a:pos x="4085" y="136"/>
              </a:cxn>
              <a:cxn ang="0">
                <a:pos x="3828" y="287"/>
              </a:cxn>
              <a:cxn ang="0">
                <a:pos x="3122" y="783"/>
              </a:cxn>
              <a:cxn ang="0">
                <a:pos x="3124" y="739"/>
              </a:cxn>
              <a:cxn ang="0">
                <a:pos x="3171" y="677"/>
              </a:cxn>
              <a:cxn ang="0">
                <a:pos x="3862" y="221"/>
              </a:cxn>
              <a:cxn ang="0">
                <a:pos x="3913" y="142"/>
              </a:cxn>
              <a:cxn ang="0">
                <a:pos x="3668" y="242"/>
              </a:cxn>
              <a:cxn ang="0">
                <a:pos x="3225" y="529"/>
              </a:cxn>
              <a:cxn ang="0">
                <a:pos x="2781" y="836"/>
              </a:cxn>
              <a:cxn ang="0">
                <a:pos x="2153" y="1280"/>
              </a:cxn>
              <a:cxn ang="0">
                <a:pos x="1865" y="1621"/>
              </a:cxn>
              <a:cxn ang="0">
                <a:pos x="1577" y="1928"/>
              </a:cxn>
              <a:cxn ang="0">
                <a:pos x="1301" y="2011"/>
              </a:cxn>
              <a:cxn ang="0">
                <a:pos x="1036" y="1486"/>
              </a:cxn>
              <a:cxn ang="0">
                <a:pos x="740" y="1512"/>
              </a:cxn>
              <a:cxn ang="0">
                <a:pos x="512" y="1607"/>
              </a:cxn>
              <a:cxn ang="0">
                <a:pos x="237" y="1696"/>
              </a:cxn>
            </a:cxnLst>
            <a:rect l="0" t="0" r="r" b="b"/>
            <a:pathLst>
              <a:path w="4933" h="3474">
                <a:moveTo>
                  <a:pt x="0" y="1838"/>
                </a:moveTo>
                <a:lnTo>
                  <a:pt x="12" y="1853"/>
                </a:lnTo>
                <a:lnTo>
                  <a:pt x="25" y="1869"/>
                </a:lnTo>
                <a:lnTo>
                  <a:pt x="38" y="1884"/>
                </a:lnTo>
                <a:lnTo>
                  <a:pt x="53" y="1900"/>
                </a:lnTo>
                <a:lnTo>
                  <a:pt x="68" y="1914"/>
                </a:lnTo>
                <a:lnTo>
                  <a:pt x="83" y="1931"/>
                </a:lnTo>
                <a:lnTo>
                  <a:pt x="100" y="1946"/>
                </a:lnTo>
                <a:lnTo>
                  <a:pt x="116" y="1960"/>
                </a:lnTo>
                <a:lnTo>
                  <a:pt x="132" y="1976"/>
                </a:lnTo>
                <a:lnTo>
                  <a:pt x="148" y="1990"/>
                </a:lnTo>
                <a:lnTo>
                  <a:pt x="162" y="2005"/>
                </a:lnTo>
                <a:lnTo>
                  <a:pt x="179" y="2021"/>
                </a:lnTo>
                <a:lnTo>
                  <a:pt x="193" y="2036"/>
                </a:lnTo>
                <a:lnTo>
                  <a:pt x="207" y="2051"/>
                </a:lnTo>
                <a:lnTo>
                  <a:pt x="220" y="2066"/>
                </a:lnTo>
                <a:lnTo>
                  <a:pt x="231" y="2082"/>
                </a:lnTo>
                <a:lnTo>
                  <a:pt x="245" y="2110"/>
                </a:lnTo>
                <a:lnTo>
                  <a:pt x="262" y="2133"/>
                </a:lnTo>
                <a:lnTo>
                  <a:pt x="282" y="2151"/>
                </a:lnTo>
                <a:lnTo>
                  <a:pt x="302" y="2168"/>
                </a:lnTo>
                <a:lnTo>
                  <a:pt x="323" y="2184"/>
                </a:lnTo>
                <a:lnTo>
                  <a:pt x="343" y="2202"/>
                </a:lnTo>
                <a:lnTo>
                  <a:pt x="361" y="2224"/>
                </a:lnTo>
                <a:lnTo>
                  <a:pt x="376" y="2251"/>
                </a:lnTo>
                <a:lnTo>
                  <a:pt x="392" y="2280"/>
                </a:lnTo>
                <a:lnTo>
                  <a:pt x="416" y="2314"/>
                </a:lnTo>
                <a:lnTo>
                  <a:pt x="443" y="2352"/>
                </a:lnTo>
                <a:lnTo>
                  <a:pt x="472" y="2393"/>
                </a:lnTo>
                <a:lnTo>
                  <a:pt x="502" y="2433"/>
                </a:lnTo>
                <a:lnTo>
                  <a:pt x="529" y="2470"/>
                </a:lnTo>
                <a:lnTo>
                  <a:pt x="552" y="2504"/>
                </a:lnTo>
                <a:lnTo>
                  <a:pt x="571" y="2532"/>
                </a:lnTo>
                <a:lnTo>
                  <a:pt x="582" y="2555"/>
                </a:lnTo>
                <a:lnTo>
                  <a:pt x="599" y="2583"/>
                </a:lnTo>
                <a:lnTo>
                  <a:pt x="618" y="2617"/>
                </a:lnTo>
                <a:lnTo>
                  <a:pt x="640" y="2652"/>
                </a:lnTo>
                <a:lnTo>
                  <a:pt x="665" y="2693"/>
                </a:lnTo>
                <a:lnTo>
                  <a:pt x="691" y="2734"/>
                </a:lnTo>
                <a:lnTo>
                  <a:pt x="720" y="2778"/>
                </a:lnTo>
                <a:lnTo>
                  <a:pt x="750" y="2822"/>
                </a:lnTo>
                <a:lnTo>
                  <a:pt x="777" y="2866"/>
                </a:lnTo>
                <a:lnTo>
                  <a:pt x="806" y="2910"/>
                </a:lnTo>
                <a:lnTo>
                  <a:pt x="833" y="2952"/>
                </a:lnTo>
                <a:lnTo>
                  <a:pt x="858" y="2991"/>
                </a:lnTo>
                <a:lnTo>
                  <a:pt x="881" y="3027"/>
                </a:lnTo>
                <a:lnTo>
                  <a:pt x="900" y="3059"/>
                </a:lnTo>
                <a:lnTo>
                  <a:pt x="917" y="3088"/>
                </a:lnTo>
                <a:lnTo>
                  <a:pt x="929" y="3110"/>
                </a:lnTo>
                <a:lnTo>
                  <a:pt x="940" y="3112"/>
                </a:lnTo>
                <a:lnTo>
                  <a:pt x="950" y="3113"/>
                </a:lnTo>
                <a:lnTo>
                  <a:pt x="960" y="3115"/>
                </a:lnTo>
                <a:lnTo>
                  <a:pt x="969" y="3117"/>
                </a:lnTo>
                <a:lnTo>
                  <a:pt x="980" y="3117"/>
                </a:lnTo>
                <a:lnTo>
                  <a:pt x="991" y="3120"/>
                </a:lnTo>
                <a:lnTo>
                  <a:pt x="1000" y="3121"/>
                </a:lnTo>
                <a:lnTo>
                  <a:pt x="1010" y="3123"/>
                </a:lnTo>
                <a:lnTo>
                  <a:pt x="1012" y="3133"/>
                </a:lnTo>
                <a:lnTo>
                  <a:pt x="1015" y="3142"/>
                </a:lnTo>
                <a:lnTo>
                  <a:pt x="1017" y="3151"/>
                </a:lnTo>
                <a:lnTo>
                  <a:pt x="1019" y="3162"/>
                </a:lnTo>
                <a:lnTo>
                  <a:pt x="1029" y="3162"/>
                </a:lnTo>
                <a:lnTo>
                  <a:pt x="1037" y="3164"/>
                </a:lnTo>
                <a:lnTo>
                  <a:pt x="1046" y="3165"/>
                </a:lnTo>
                <a:lnTo>
                  <a:pt x="1055" y="3166"/>
                </a:lnTo>
                <a:lnTo>
                  <a:pt x="1064" y="3169"/>
                </a:lnTo>
                <a:lnTo>
                  <a:pt x="1073" y="3170"/>
                </a:lnTo>
                <a:lnTo>
                  <a:pt x="1083" y="3171"/>
                </a:lnTo>
                <a:lnTo>
                  <a:pt x="1091" y="3172"/>
                </a:lnTo>
                <a:lnTo>
                  <a:pt x="1108" y="3182"/>
                </a:lnTo>
                <a:lnTo>
                  <a:pt x="1125" y="3193"/>
                </a:lnTo>
                <a:lnTo>
                  <a:pt x="1141" y="3201"/>
                </a:lnTo>
                <a:lnTo>
                  <a:pt x="1156" y="3210"/>
                </a:lnTo>
                <a:lnTo>
                  <a:pt x="1172" y="3220"/>
                </a:lnTo>
                <a:lnTo>
                  <a:pt x="1189" y="3228"/>
                </a:lnTo>
                <a:lnTo>
                  <a:pt x="1206" y="3237"/>
                </a:lnTo>
                <a:lnTo>
                  <a:pt x="1222" y="3245"/>
                </a:lnTo>
                <a:lnTo>
                  <a:pt x="1233" y="3246"/>
                </a:lnTo>
                <a:lnTo>
                  <a:pt x="1244" y="3248"/>
                </a:lnTo>
                <a:lnTo>
                  <a:pt x="1255" y="3250"/>
                </a:lnTo>
                <a:lnTo>
                  <a:pt x="1267" y="3251"/>
                </a:lnTo>
                <a:lnTo>
                  <a:pt x="1278" y="3251"/>
                </a:lnTo>
                <a:lnTo>
                  <a:pt x="1289" y="3252"/>
                </a:lnTo>
                <a:lnTo>
                  <a:pt x="1302" y="3253"/>
                </a:lnTo>
                <a:lnTo>
                  <a:pt x="1313" y="3253"/>
                </a:lnTo>
                <a:lnTo>
                  <a:pt x="1321" y="3264"/>
                </a:lnTo>
                <a:lnTo>
                  <a:pt x="1330" y="3276"/>
                </a:lnTo>
                <a:lnTo>
                  <a:pt x="1340" y="3288"/>
                </a:lnTo>
                <a:lnTo>
                  <a:pt x="1348" y="3297"/>
                </a:lnTo>
                <a:lnTo>
                  <a:pt x="1367" y="3299"/>
                </a:lnTo>
                <a:lnTo>
                  <a:pt x="1388" y="3301"/>
                </a:lnTo>
                <a:lnTo>
                  <a:pt x="1407" y="3303"/>
                </a:lnTo>
                <a:lnTo>
                  <a:pt x="1427" y="3303"/>
                </a:lnTo>
                <a:lnTo>
                  <a:pt x="1448" y="3305"/>
                </a:lnTo>
                <a:lnTo>
                  <a:pt x="1467" y="3305"/>
                </a:lnTo>
                <a:lnTo>
                  <a:pt x="1487" y="3307"/>
                </a:lnTo>
                <a:lnTo>
                  <a:pt x="1507" y="3308"/>
                </a:lnTo>
                <a:lnTo>
                  <a:pt x="1531" y="3321"/>
                </a:lnTo>
                <a:lnTo>
                  <a:pt x="1552" y="3334"/>
                </a:lnTo>
                <a:lnTo>
                  <a:pt x="1577" y="3348"/>
                </a:lnTo>
                <a:lnTo>
                  <a:pt x="1600" y="3361"/>
                </a:lnTo>
                <a:lnTo>
                  <a:pt x="1625" y="3377"/>
                </a:lnTo>
                <a:lnTo>
                  <a:pt x="1649" y="3390"/>
                </a:lnTo>
                <a:lnTo>
                  <a:pt x="1673" y="3404"/>
                </a:lnTo>
                <a:lnTo>
                  <a:pt x="1698" y="3417"/>
                </a:lnTo>
                <a:lnTo>
                  <a:pt x="1707" y="3417"/>
                </a:lnTo>
                <a:lnTo>
                  <a:pt x="1717" y="3417"/>
                </a:lnTo>
                <a:lnTo>
                  <a:pt x="1727" y="3417"/>
                </a:lnTo>
                <a:lnTo>
                  <a:pt x="1738" y="3417"/>
                </a:lnTo>
                <a:lnTo>
                  <a:pt x="1748" y="3417"/>
                </a:lnTo>
                <a:lnTo>
                  <a:pt x="1757" y="3417"/>
                </a:lnTo>
                <a:lnTo>
                  <a:pt x="1768" y="3417"/>
                </a:lnTo>
                <a:lnTo>
                  <a:pt x="1778" y="3417"/>
                </a:lnTo>
                <a:lnTo>
                  <a:pt x="1786" y="3426"/>
                </a:lnTo>
                <a:lnTo>
                  <a:pt x="1796" y="3432"/>
                </a:lnTo>
                <a:lnTo>
                  <a:pt x="1806" y="3438"/>
                </a:lnTo>
                <a:lnTo>
                  <a:pt x="1815" y="3444"/>
                </a:lnTo>
                <a:lnTo>
                  <a:pt x="1823" y="3450"/>
                </a:lnTo>
                <a:lnTo>
                  <a:pt x="1832" y="3454"/>
                </a:lnTo>
                <a:lnTo>
                  <a:pt x="1841" y="3460"/>
                </a:lnTo>
                <a:lnTo>
                  <a:pt x="1850" y="3465"/>
                </a:lnTo>
                <a:lnTo>
                  <a:pt x="1877" y="3472"/>
                </a:lnTo>
                <a:lnTo>
                  <a:pt x="1896" y="3474"/>
                </a:lnTo>
                <a:lnTo>
                  <a:pt x="1907" y="3471"/>
                </a:lnTo>
                <a:lnTo>
                  <a:pt x="1911" y="3464"/>
                </a:lnTo>
                <a:lnTo>
                  <a:pt x="1911" y="3454"/>
                </a:lnTo>
                <a:lnTo>
                  <a:pt x="1905" y="3441"/>
                </a:lnTo>
                <a:lnTo>
                  <a:pt x="1898" y="3427"/>
                </a:lnTo>
                <a:lnTo>
                  <a:pt x="1890" y="3412"/>
                </a:lnTo>
                <a:lnTo>
                  <a:pt x="1883" y="3397"/>
                </a:lnTo>
                <a:lnTo>
                  <a:pt x="1874" y="3382"/>
                </a:lnTo>
                <a:lnTo>
                  <a:pt x="1870" y="3370"/>
                </a:lnTo>
                <a:lnTo>
                  <a:pt x="1869" y="3358"/>
                </a:lnTo>
                <a:lnTo>
                  <a:pt x="1873" y="3352"/>
                </a:lnTo>
                <a:lnTo>
                  <a:pt x="1884" y="3348"/>
                </a:lnTo>
                <a:lnTo>
                  <a:pt x="1902" y="3350"/>
                </a:lnTo>
                <a:lnTo>
                  <a:pt x="1929" y="3357"/>
                </a:lnTo>
                <a:lnTo>
                  <a:pt x="1942" y="3334"/>
                </a:lnTo>
                <a:lnTo>
                  <a:pt x="1953" y="3314"/>
                </a:lnTo>
                <a:lnTo>
                  <a:pt x="1964" y="3295"/>
                </a:lnTo>
                <a:lnTo>
                  <a:pt x="1972" y="3275"/>
                </a:lnTo>
                <a:lnTo>
                  <a:pt x="1982" y="3257"/>
                </a:lnTo>
                <a:lnTo>
                  <a:pt x="1991" y="3235"/>
                </a:lnTo>
                <a:lnTo>
                  <a:pt x="2002" y="3214"/>
                </a:lnTo>
                <a:lnTo>
                  <a:pt x="2014" y="3191"/>
                </a:lnTo>
                <a:lnTo>
                  <a:pt x="2015" y="3177"/>
                </a:lnTo>
                <a:lnTo>
                  <a:pt x="2020" y="3162"/>
                </a:lnTo>
                <a:lnTo>
                  <a:pt x="2026" y="3145"/>
                </a:lnTo>
                <a:lnTo>
                  <a:pt x="2033" y="3126"/>
                </a:lnTo>
                <a:lnTo>
                  <a:pt x="2042" y="3108"/>
                </a:lnTo>
                <a:lnTo>
                  <a:pt x="2048" y="3090"/>
                </a:lnTo>
                <a:lnTo>
                  <a:pt x="2052" y="3075"/>
                </a:lnTo>
                <a:lnTo>
                  <a:pt x="2053" y="3061"/>
                </a:lnTo>
                <a:lnTo>
                  <a:pt x="2066" y="3042"/>
                </a:lnTo>
                <a:lnTo>
                  <a:pt x="2079" y="3021"/>
                </a:lnTo>
                <a:lnTo>
                  <a:pt x="2092" y="3002"/>
                </a:lnTo>
                <a:lnTo>
                  <a:pt x="2103" y="2983"/>
                </a:lnTo>
                <a:lnTo>
                  <a:pt x="2114" y="2964"/>
                </a:lnTo>
                <a:lnTo>
                  <a:pt x="2126" y="2945"/>
                </a:lnTo>
                <a:lnTo>
                  <a:pt x="2137" y="2927"/>
                </a:lnTo>
                <a:lnTo>
                  <a:pt x="2149" y="2907"/>
                </a:lnTo>
                <a:lnTo>
                  <a:pt x="2156" y="2853"/>
                </a:lnTo>
                <a:lnTo>
                  <a:pt x="2167" y="2811"/>
                </a:lnTo>
                <a:lnTo>
                  <a:pt x="2178" y="2769"/>
                </a:lnTo>
                <a:lnTo>
                  <a:pt x="2181" y="2716"/>
                </a:lnTo>
                <a:lnTo>
                  <a:pt x="2195" y="2707"/>
                </a:lnTo>
                <a:lnTo>
                  <a:pt x="2209" y="2695"/>
                </a:lnTo>
                <a:lnTo>
                  <a:pt x="2224" y="2682"/>
                </a:lnTo>
                <a:lnTo>
                  <a:pt x="2240" y="2669"/>
                </a:lnTo>
                <a:lnTo>
                  <a:pt x="2255" y="2656"/>
                </a:lnTo>
                <a:lnTo>
                  <a:pt x="2270" y="2642"/>
                </a:lnTo>
                <a:lnTo>
                  <a:pt x="2284" y="2631"/>
                </a:lnTo>
                <a:lnTo>
                  <a:pt x="2297" y="2621"/>
                </a:lnTo>
                <a:lnTo>
                  <a:pt x="2306" y="2569"/>
                </a:lnTo>
                <a:lnTo>
                  <a:pt x="2312" y="2527"/>
                </a:lnTo>
                <a:lnTo>
                  <a:pt x="2317" y="2486"/>
                </a:lnTo>
                <a:lnTo>
                  <a:pt x="2328" y="2431"/>
                </a:lnTo>
                <a:lnTo>
                  <a:pt x="2338" y="2421"/>
                </a:lnTo>
                <a:lnTo>
                  <a:pt x="2355" y="2409"/>
                </a:lnTo>
                <a:lnTo>
                  <a:pt x="2374" y="2396"/>
                </a:lnTo>
                <a:lnTo>
                  <a:pt x="2397" y="2381"/>
                </a:lnTo>
                <a:lnTo>
                  <a:pt x="2420" y="2366"/>
                </a:lnTo>
                <a:lnTo>
                  <a:pt x="2440" y="2352"/>
                </a:lnTo>
                <a:lnTo>
                  <a:pt x="2456" y="2342"/>
                </a:lnTo>
                <a:lnTo>
                  <a:pt x="2465" y="2332"/>
                </a:lnTo>
                <a:lnTo>
                  <a:pt x="2463" y="2317"/>
                </a:lnTo>
                <a:lnTo>
                  <a:pt x="2463" y="2304"/>
                </a:lnTo>
                <a:lnTo>
                  <a:pt x="2468" y="2291"/>
                </a:lnTo>
                <a:lnTo>
                  <a:pt x="2471" y="2278"/>
                </a:lnTo>
                <a:lnTo>
                  <a:pt x="2476" y="2264"/>
                </a:lnTo>
                <a:lnTo>
                  <a:pt x="2479" y="2251"/>
                </a:lnTo>
                <a:lnTo>
                  <a:pt x="2481" y="2235"/>
                </a:lnTo>
                <a:lnTo>
                  <a:pt x="2479" y="2222"/>
                </a:lnTo>
                <a:lnTo>
                  <a:pt x="2490" y="2220"/>
                </a:lnTo>
                <a:lnTo>
                  <a:pt x="2501" y="2216"/>
                </a:lnTo>
                <a:lnTo>
                  <a:pt x="2513" y="2213"/>
                </a:lnTo>
                <a:lnTo>
                  <a:pt x="2525" y="2208"/>
                </a:lnTo>
                <a:lnTo>
                  <a:pt x="2536" y="2204"/>
                </a:lnTo>
                <a:lnTo>
                  <a:pt x="2547" y="2201"/>
                </a:lnTo>
                <a:lnTo>
                  <a:pt x="2558" y="2196"/>
                </a:lnTo>
                <a:lnTo>
                  <a:pt x="2569" y="2193"/>
                </a:lnTo>
                <a:lnTo>
                  <a:pt x="2574" y="2172"/>
                </a:lnTo>
                <a:lnTo>
                  <a:pt x="2581" y="2153"/>
                </a:lnTo>
                <a:lnTo>
                  <a:pt x="2589" y="2133"/>
                </a:lnTo>
                <a:lnTo>
                  <a:pt x="2598" y="2111"/>
                </a:lnTo>
                <a:lnTo>
                  <a:pt x="2606" y="2115"/>
                </a:lnTo>
                <a:lnTo>
                  <a:pt x="2612" y="2117"/>
                </a:lnTo>
                <a:lnTo>
                  <a:pt x="2619" y="2120"/>
                </a:lnTo>
                <a:lnTo>
                  <a:pt x="2627" y="2123"/>
                </a:lnTo>
                <a:lnTo>
                  <a:pt x="2634" y="2126"/>
                </a:lnTo>
                <a:lnTo>
                  <a:pt x="2643" y="2128"/>
                </a:lnTo>
                <a:lnTo>
                  <a:pt x="2651" y="2131"/>
                </a:lnTo>
                <a:lnTo>
                  <a:pt x="2659" y="2133"/>
                </a:lnTo>
                <a:lnTo>
                  <a:pt x="2667" y="2115"/>
                </a:lnTo>
                <a:lnTo>
                  <a:pt x="2673" y="2098"/>
                </a:lnTo>
                <a:lnTo>
                  <a:pt x="2677" y="2080"/>
                </a:lnTo>
                <a:lnTo>
                  <a:pt x="2682" y="2064"/>
                </a:lnTo>
                <a:lnTo>
                  <a:pt x="2687" y="2058"/>
                </a:lnTo>
                <a:lnTo>
                  <a:pt x="2692" y="2053"/>
                </a:lnTo>
                <a:lnTo>
                  <a:pt x="2698" y="2049"/>
                </a:lnTo>
                <a:lnTo>
                  <a:pt x="2704" y="2042"/>
                </a:lnTo>
                <a:lnTo>
                  <a:pt x="2710" y="2038"/>
                </a:lnTo>
                <a:lnTo>
                  <a:pt x="2715" y="2032"/>
                </a:lnTo>
                <a:lnTo>
                  <a:pt x="2721" y="2026"/>
                </a:lnTo>
                <a:lnTo>
                  <a:pt x="2725" y="2021"/>
                </a:lnTo>
                <a:lnTo>
                  <a:pt x="2735" y="2005"/>
                </a:lnTo>
                <a:lnTo>
                  <a:pt x="2746" y="1989"/>
                </a:lnTo>
                <a:lnTo>
                  <a:pt x="2757" y="1972"/>
                </a:lnTo>
                <a:lnTo>
                  <a:pt x="2769" y="1957"/>
                </a:lnTo>
                <a:lnTo>
                  <a:pt x="2781" y="1940"/>
                </a:lnTo>
                <a:lnTo>
                  <a:pt x="2793" y="1925"/>
                </a:lnTo>
                <a:lnTo>
                  <a:pt x="2807" y="1907"/>
                </a:lnTo>
                <a:lnTo>
                  <a:pt x="2821" y="1891"/>
                </a:lnTo>
                <a:lnTo>
                  <a:pt x="2844" y="1871"/>
                </a:lnTo>
                <a:lnTo>
                  <a:pt x="2869" y="1850"/>
                </a:lnTo>
                <a:lnTo>
                  <a:pt x="2892" y="1829"/>
                </a:lnTo>
                <a:lnTo>
                  <a:pt x="2916" y="1809"/>
                </a:lnTo>
                <a:lnTo>
                  <a:pt x="2940" y="1787"/>
                </a:lnTo>
                <a:lnTo>
                  <a:pt x="2963" y="1765"/>
                </a:lnTo>
                <a:lnTo>
                  <a:pt x="2985" y="1743"/>
                </a:lnTo>
                <a:lnTo>
                  <a:pt x="3008" y="1721"/>
                </a:lnTo>
                <a:lnTo>
                  <a:pt x="3030" y="1698"/>
                </a:lnTo>
                <a:lnTo>
                  <a:pt x="3054" y="1676"/>
                </a:lnTo>
                <a:lnTo>
                  <a:pt x="3077" y="1653"/>
                </a:lnTo>
                <a:lnTo>
                  <a:pt x="3100" y="1629"/>
                </a:lnTo>
                <a:lnTo>
                  <a:pt x="3122" y="1605"/>
                </a:lnTo>
                <a:lnTo>
                  <a:pt x="3146" y="1581"/>
                </a:lnTo>
                <a:lnTo>
                  <a:pt x="3171" y="1558"/>
                </a:lnTo>
                <a:lnTo>
                  <a:pt x="3194" y="1534"/>
                </a:lnTo>
                <a:lnTo>
                  <a:pt x="3219" y="1508"/>
                </a:lnTo>
                <a:lnTo>
                  <a:pt x="3244" y="1485"/>
                </a:lnTo>
                <a:lnTo>
                  <a:pt x="3270" y="1460"/>
                </a:lnTo>
                <a:lnTo>
                  <a:pt x="3296" y="1435"/>
                </a:lnTo>
                <a:lnTo>
                  <a:pt x="3322" y="1409"/>
                </a:lnTo>
                <a:lnTo>
                  <a:pt x="3350" y="1385"/>
                </a:lnTo>
                <a:lnTo>
                  <a:pt x="3380" y="1360"/>
                </a:lnTo>
                <a:lnTo>
                  <a:pt x="3409" y="1335"/>
                </a:lnTo>
                <a:lnTo>
                  <a:pt x="3439" y="1309"/>
                </a:lnTo>
                <a:lnTo>
                  <a:pt x="3470" y="1283"/>
                </a:lnTo>
                <a:lnTo>
                  <a:pt x="3501" y="1258"/>
                </a:lnTo>
                <a:lnTo>
                  <a:pt x="3535" y="1231"/>
                </a:lnTo>
                <a:lnTo>
                  <a:pt x="3569" y="1208"/>
                </a:lnTo>
                <a:lnTo>
                  <a:pt x="3604" y="1181"/>
                </a:lnTo>
                <a:lnTo>
                  <a:pt x="3641" y="1156"/>
                </a:lnTo>
                <a:lnTo>
                  <a:pt x="3679" y="1130"/>
                </a:lnTo>
                <a:lnTo>
                  <a:pt x="3695" y="1119"/>
                </a:lnTo>
                <a:lnTo>
                  <a:pt x="3712" y="1107"/>
                </a:lnTo>
                <a:lnTo>
                  <a:pt x="3730" y="1097"/>
                </a:lnTo>
                <a:lnTo>
                  <a:pt x="3746" y="1085"/>
                </a:lnTo>
                <a:lnTo>
                  <a:pt x="3764" y="1076"/>
                </a:lnTo>
                <a:lnTo>
                  <a:pt x="3781" y="1065"/>
                </a:lnTo>
                <a:lnTo>
                  <a:pt x="3799" y="1054"/>
                </a:lnTo>
                <a:lnTo>
                  <a:pt x="3818" y="1045"/>
                </a:lnTo>
                <a:lnTo>
                  <a:pt x="3827" y="1039"/>
                </a:lnTo>
                <a:lnTo>
                  <a:pt x="3839" y="1035"/>
                </a:lnTo>
                <a:lnTo>
                  <a:pt x="3849" y="1030"/>
                </a:lnTo>
                <a:lnTo>
                  <a:pt x="3859" y="1025"/>
                </a:lnTo>
                <a:lnTo>
                  <a:pt x="3869" y="1019"/>
                </a:lnTo>
                <a:lnTo>
                  <a:pt x="3880" y="1015"/>
                </a:lnTo>
                <a:lnTo>
                  <a:pt x="3890" y="1008"/>
                </a:lnTo>
                <a:lnTo>
                  <a:pt x="3901" y="1003"/>
                </a:lnTo>
                <a:lnTo>
                  <a:pt x="3920" y="991"/>
                </a:lnTo>
                <a:lnTo>
                  <a:pt x="3938" y="980"/>
                </a:lnTo>
                <a:lnTo>
                  <a:pt x="3957" y="970"/>
                </a:lnTo>
                <a:lnTo>
                  <a:pt x="3975" y="956"/>
                </a:lnTo>
                <a:lnTo>
                  <a:pt x="3994" y="946"/>
                </a:lnTo>
                <a:lnTo>
                  <a:pt x="4012" y="932"/>
                </a:lnTo>
                <a:lnTo>
                  <a:pt x="4031" y="922"/>
                </a:lnTo>
                <a:lnTo>
                  <a:pt x="4049" y="910"/>
                </a:lnTo>
                <a:lnTo>
                  <a:pt x="4061" y="901"/>
                </a:lnTo>
                <a:lnTo>
                  <a:pt x="4074" y="891"/>
                </a:lnTo>
                <a:lnTo>
                  <a:pt x="4085" y="882"/>
                </a:lnTo>
                <a:lnTo>
                  <a:pt x="4099" y="872"/>
                </a:lnTo>
                <a:lnTo>
                  <a:pt x="4112" y="863"/>
                </a:lnTo>
                <a:lnTo>
                  <a:pt x="4125" y="854"/>
                </a:lnTo>
                <a:lnTo>
                  <a:pt x="4137" y="845"/>
                </a:lnTo>
                <a:lnTo>
                  <a:pt x="4151" y="835"/>
                </a:lnTo>
                <a:lnTo>
                  <a:pt x="4156" y="823"/>
                </a:lnTo>
                <a:lnTo>
                  <a:pt x="4161" y="811"/>
                </a:lnTo>
                <a:lnTo>
                  <a:pt x="4166" y="801"/>
                </a:lnTo>
                <a:lnTo>
                  <a:pt x="4170" y="792"/>
                </a:lnTo>
                <a:lnTo>
                  <a:pt x="4179" y="783"/>
                </a:lnTo>
                <a:lnTo>
                  <a:pt x="4187" y="778"/>
                </a:lnTo>
                <a:lnTo>
                  <a:pt x="4195" y="770"/>
                </a:lnTo>
                <a:lnTo>
                  <a:pt x="4204" y="764"/>
                </a:lnTo>
                <a:lnTo>
                  <a:pt x="4212" y="756"/>
                </a:lnTo>
                <a:lnTo>
                  <a:pt x="4221" y="750"/>
                </a:lnTo>
                <a:lnTo>
                  <a:pt x="4230" y="743"/>
                </a:lnTo>
                <a:lnTo>
                  <a:pt x="4239" y="737"/>
                </a:lnTo>
                <a:lnTo>
                  <a:pt x="4242" y="743"/>
                </a:lnTo>
                <a:lnTo>
                  <a:pt x="4245" y="749"/>
                </a:lnTo>
                <a:lnTo>
                  <a:pt x="4248" y="755"/>
                </a:lnTo>
                <a:lnTo>
                  <a:pt x="4250" y="762"/>
                </a:lnTo>
                <a:lnTo>
                  <a:pt x="4264" y="752"/>
                </a:lnTo>
                <a:lnTo>
                  <a:pt x="4276" y="746"/>
                </a:lnTo>
                <a:lnTo>
                  <a:pt x="4290" y="737"/>
                </a:lnTo>
                <a:lnTo>
                  <a:pt x="4304" y="728"/>
                </a:lnTo>
                <a:lnTo>
                  <a:pt x="4317" y="721"/>
                </a:lnTo>
                <a:lnTo>
                  <a:pt x="4331" y="712"/>
                </a:lnTo>
                <a:lnTo>
                  <a:pt x="4345" y="705"/>
                </a:lnTo>
                <a:lnTo>
                  <a:pt x="4356" y="697"/>
                </a:lnTo>
                <a:lnTo>
                  <a:pt x="4366" y="683"/>
                </a:lnTo>
                <a:lnTo>
                  <a:pt x="4375" y="665"/>
                </a:lnTo>
                <a:lnTo>
                  <a:pt x="4385" y="649"/>
                </a:lnTo>
                <a:lnTo>
                  <a:pt x="4393" y="634"/>
                </a:lnTo>
                <a:lnTo>
                  <a:pt x="4404" y="624"/>
                </a:lnTo>
                <a:lnTo>
                  <a:pt x="4416" y="615"/>
                </a:lnTo>
                <a:lnTo>
                  <a:pt x="4429" y="606"/>
                </a:lnTo>
                <a:lnTo>
                  <a:pt x="4441" y="598"/>
                </a:lnTo>
                <a:lnTo>
                  <a:pt x="4452" y="590"/>
                </a:lnTo>
                <a:lnTo>
                  <a:pt x="4465" y="580"/>
                </a:lnTo>
                <a:lnTo>
                  <a:pt x="4475" y="570"/>
                </a:lnTo>
                <a:lnTo>
                  <a:pt x="4485" y="562"/>
                </a:lnTo>
                <a:lnTo>
                  <a:pt x="4490" y="547"/>
                </a:lnTo>
                <a:lnTo>
                  <a:pt x="4494" y="532"/>
                </a:lnTo>
                <a:lnTo>
                  <a:pt x="4499" y="517"/>
                </a:lnTo>
                <a:lnTo>
                  <a:pt x="4506" y="501"/>
                </a:lnTo>
                <a:lnTo>
                  <a:pt x="4516" y="492"/>
                </a:lnTo>
                <a:lnTo>
                  <a:pt x="4529" y="484"/>
                </a:lnTo>
                <a:lnTo>
                  <a:pt x="4541" y="477"/>
                </a:lnTo>
                <a:lnTo>
                  <a:pt x="4553" y="468"/>
                </a:lnTo>
                <a:lnTo>
                  <a:pt x="4564" y="459"/>
                </a:lnTo>
                <a:lnTo>
                  <a:pt x="4577" y="450"/>
                </a:lnTo>
                <a:lnTo>
                  <a:pt x="4587" y="443"/>
                </a:lnTo>
                <a:lnTo>
                  <a:pt x="4597" y="435"/>
                </a:lnTo>
                <a:lnTo>
                  <a:pt x="4611" y="430"/>
                </a:lnTo>
                <a:lnTo>
                  <a:pt x="4625" y="426"/>
                </a:lnTo>
                <a:lnTo>
                  <a:pt x="4638" y="422"/>
                </a:lnTo>
                <a:lnTo>
                  <a:pt x="4650" y="418"/>
                </a:lnTo>
                <a:lnTo>
                  <a:pt x="4664" y="413"/>
                </a:lnTo>
                <a:lnTo>
                  <a:pt x="4676" y="410"/>
                </a:lnTo>
                <a:lnTo>
                  <a:pt x="4688" y="405"/>
                </a:lnTo>
                <a:lnTo>
                  <a:pt x="4702" y="401"/>
                </a:lnTo>
                <a:lnTo>
                  <a:pt x="4708" y="393"/>
                </a:lnTo>
                <a:lnTo>
                  <a:pt x="4714" y="384"/>
                </a:lnTo>
                <a:lnTo>
                  <a:pt x="4720" y="377"/>
                </a:lnTo>
                <a:lnTo>
                  <a:pt x="4726" y="367"/>
                </a:lnTo>
                <a:lnTo>
                  <a:pt x="4733" y="359"/>
                </a:lnTo>
                <a:lnTo>
                  <a:pt x="4739" y="350"/>
                </a:lnTo>
                <a:lnTo>
                  <a:pt x="4745" y="341"/>
                </a:lnTo>
                <a:lnTo>
                  <a:pt x="4751" y="332"/>
                </a:lnTo>
                <a:lnTo>
                  <a:pt x="4761" y="326"/>
                </a:lnTo>
                <a:lnTo>
                  <a:pt x="4772" y="319"/>
                </a:lnTo>
                <a:lnTo>
                  <a:pt x="4781" y="312"/>
                </a:lnTo>
                <a:lnTo>
                  <a:pt x="4790" y="305"/>
                </a:lnTo>
                <a:lnTo>
                  <a:pt x="4800" y="298"/>
                </a:lnTo>
                <a:lnTo>
                  <a:pt x="4810" y="291"/>
                </a:lnTo>
                <a:lnTo>
                  <a:pt x="4819" y="283"/>
                </a:lnTo>
                <a:lnTo>
                  <a:pt x="4827" y="275"/>
                </a:lnTo>
                <a:lnTo>
                  <a:pt x="4833" y="280"/>
                </a:lnTo>
                <a:lnTo>
                  <a:pt x="4840" y="285"/>
                </a:lnTo>
                <a:lnTo>
                  <a:pt x="4848" y="292"/>
                </a:lnTo>
                <a:lnTo>
                  <a:pt x="4852" y="297"/>
                </a:lnTo>
                <a:lnTo>
                  <a:pt x="4862" y="289"/>
                </a:lnTo>
                <a:lnTo>
                  <a:pt x="4873" y="280"/>
                </a:lnTo>
                <a:lnTo>
                  <a:pt x="4882" y="272"/>
                </a:lnTo>
                <a:lnTo>
                  <a:pt x="4893" y="264"/>
                </a:lnTo>
                <a:lnTo>
                  <a:pt x="4902" y="253"/>
                </a:lnTo>
                <a:lnTo>
                  <a:pt x="4912" y="244"/>
                </a:lnTo>
                <a:lnTo>
                  <a:pt x="4923" y="236"/>
                </a:lnTo>
                <a:lnTo>
                  <a:pt x="4933" y="228"/>
                </a:lnTo>
                <a:lnTo>
                  <a:pt x="4921" y="233"/>
                </a:lnTo>
                <a:lnTo>
                  <a:pt x="4910" y="239"/>
                </a:lnTo>
                <a:lnTo>
                  <a:pt x="4898" y="246"/>
                </a:lnTo>
                <a:lnTo>
                  <a:pt x="4884" y="250"/>
                </a:lnTo>
                <a:lnTo>
                  <a:pt x="4873" y="257"/>
                </a:lnTo>
                <a:lnTo>
                  <a:pt x="4862" y="262"/>
                </a:lnTo>
                <a:lnTo>
                  <a:pt x="4850" y="267"/>
                </a:lnTo>
                <a:lnTo>
                  <a:pt x="4838" y="272"/>
                </a:lnTo>
                <a:lnTo>
                  <a:pt x="4849" y="246"/>
                </a:lnTo>
                <a:lnTo>
                  <a:pt x="4858" y="223"/>
                </a:lnTo>
                <a:lnTo>
                  <a:pt x="4864" y="199"/>
                </a:lnTo>
                <a:lnTo>
                  <a:pt x="4869" y="175"/>
                </a:lnTo>
                <a:lnTo>
                  <a:pt x="4861" y="182"/>
                </a:lnTo>
                <a:lnTo>
                  <a:pt x="4852" y="191"/>
                </a:lnTo>
                <a:lnTo>
                  <a:pt x="4842" y="200"/>
                </a:lnTo>
                <a:lnTo>
                  <a:pt x="4832" y="208"/>
                </a:lnTo>
                <a:lnTo>
                  <a:pt x="4823" y="216"/>
                </a:lnTo>
                <a:lnTo>
                  <a:pt x="4813" y="224"/>
                </a:lnTo>
                <a:lnTo>
                  <a:pt x="4801" y="233"/>
                </a:lnTo>
                <a:lnTo>
                  <a:pt x="4792" y="242"/>
                </a:lnTo>
                <a:lnTo>
                  <a:pt x="4785" y="252"/>
                </a:lnTo>
                <a:lnTo>
                  <a:pt x="4776" y="262"/>
                </a:lnTo>
                <a:lnTo>
                  <a:pt x="4768" y="272"/>
                </a:lnTo>
                <a:lnTo>
                  <a:pt x="4761" y="283"/>
                </a:lnTo>
                <a:lnTo>
                  <a:pt x="4754" y="295"/>
                </a:lnTo>
                <a:lnTo>
                  <a:pt x="4746" y="305"/>
                </a:lnTo>
                <a:lnTo>
                  <a:pt x="4739" y="317"/>
                </a:lnTo>
                <a:lnTo>
                  <a:pt x="4732" y="328"/>
                </a:lnTo>
                <a:lnTo>
                  <a:pt x="4724" y="332"/>
                </a:lnTo>
                <a:lnTo>
                  <a:pt x="4717" y="337"/>
                </a:lnTo>
                <a:lnTo>
                  <a:pt x="4710" y="343"/>
                </a:lnTo>
                <a:lnTo>
                  <a:pt x="4704" y="349"/>
                </a:lnTo>
                <a:lnTo>
                  <a:pt x="4696" y="354"/>
                </a:lnTo>
                <a:lnTo>
                  <a:pt x="4689" y="359"/>
                </a:lnTo>
                <a:lnTo>
                  <a:pt x="4683" y="363"/>
                </a:lnTo>
                <a:lnTo>
                  <a:pt x="4676" y="368"/>
                </a:lnTo>
                <a:lnTo>
                  <a:pt x="4671" y="367"/>
                </a:lnTo>
                <a:lnTo>
                  <a:pt x="4666" y="366"/>
                </a:lnTo>
                <a:lnTo>
                  <a:pt x="4662" y="363"/>
                </a:lnTo>
                <a:lnTo>
                  <a:pt x="4658" y="362"/>
                </a:lnTo>
                <a:lnTo>
                  <a:pt x="4653" y="361"/>
                </a:lnTo>
                <a:lnTo>
                  <a:pt x="4648" y="359"/>
                </a:lnTo>
                <a:lnTo>
                  <a:pt x="4642" y="357"/>
                </a:lnTo>
                <a:lnTo>
                  <a:pt x="4638" y="357"/>
                </a:lnTo>
                <a:lnTo>
                  <a:pt x="4616" y="374"/>
                </a:lnTo>
                <a:lnTo>
                  <a:pt x="4595" y="393"/>
                </a:lnTo>
                <a:lnTo>
                  <a:pt x="4573" y="412"/>
                </a:lnTo>
                <a:lnTo>
                  <a:pt x="4552" y="430"/>
                </a:lnTo>
                <a:lnTo>
                  <a:pt x="4529" y="449"/>
                </a:lnTo>
                <a:lnTo>
                  <a:pt x="4506" y="468"/>
                </a:lnTo>
                <a:lnTo>
                  <a:pt x="4484" y="487"/>
                </a:lnTo>
                <a:lnTo>
                  <a:pt x="4461" y="506"/>
                </a:lnTo>
                <a:lnTo>
                  <a:pt x="4450" y="511"/>
                </a:lnTo>
                <a:lnTo>
                  <a:pt x="4441" y="517"/>
                </a:lnTo>
                <a:lnTo>
                  <a:pt x="4431" y="521"/>
                </a:lnTo>
                <a:lnTo>
                  <a:pt x="4422" y="528"/>
                </a:lnTo>
                <a:lnTo>
                  <a:pt x="4411" y="532"/>
                </a:lnTo>
                <a:lnTo>
                  <a:pt x="4403" y="537"/>
                </a:lnTo>
                <a:lnTo>
                  <a:pt x="4393" y="543"/>
                </a:lnTo>
                <a:lnTo>
                  <a:pt x="4385" y="548"/>
                </a:lnTo>
                <a:lnTo>
                  <a:pt x="4378" y="546"/>
                </a:lnTo>
                <a:lnTo>
                  <a:pt x="4372" y="543"/>
                </a:lnTo>
                <a:lnTo>
                  <a:pt x="4366" y="541"/>
                </a:lnTo>
                <a:lnTo>
                  <a:pt x="4362" y="537"/>
                </a:lnTo>
                <a:lnTo>
                  <a:pt x="4355" y="535"/>
                </a:lnTo>
                <a:lnTo>
                  <a:pt x="4351" y="532"/>
                </a:lnTo>
                <a:lnTo>
                  <a:pt x="4345" y="530"/>
                </a:lnTo>
                <a:lnTo>
                  <a:pt x="4339" y="528"/>
                </a:lnTo>
                <a:lnTo>
                  <a:pt x="4314" y="546"/>
                </a:lnTo>
                <a:lnTo>
                  <a:pt x="4289" y="563"/>
                </a:lnTo>
                <a:lnTo>
                  <a:pt x="4264" y="581"/>
                </a:lnTo>
                <a:lnTo>
                  <a:pt x="4239" y="599"/>
                </a:lnTo>
                <a:lnTo>
                  <a:pt x="4215" y="617"/>
                </a:lnTo>
                <a:lnTo>
                  <a:pt x="4189" y="635"/>
                </a:lnTo>
                <a:lnTo>
                  <a:pt x="4164" y="653"/>
                </a:lnTo>
                <a:lnTo>
                  <a:pt x="4139" y="670"/>
                </a:lnTo>
                <a:lnTo>
                  <a:pt x="4114" y="688"/>
                </a:lnTo>
                <a:lnTo>
                  <a:pt x="4089" y="708"/>
                </a:lnTo>
                <a:lnTo>
                  <a:pt x="4064" y="724"/>
                </a:lnTo>
                <a:lnTo>
                  <a:pt x="4039" y="743"/>
                </a:lnTo>
                <a:lnTo>
                  <a:pt x="4014" y="761"/>
                </a:lnTo>
                <a:lnTo>
                  <a:pt x="3988" y="779"/>
                </a:lnTo>
                <a:lnTo>
                  <a:pt x="3964" y="798"/>
                </a:lnTo>
                <a:lnTo>
                  <a:pt x="3938" y="816"/>
                </a:lnTo>
                <a:lnTo>
                  <a:pt x="3932" y="808"/>
                </a:lnTo>
                <a:lnTo>
                  <a:pt x="3926" y="801"/>
                </a:lnTo>
                <a:lnTo>
                  <a:pt x="3920" y="791"/>
                </a:lnTo>
                <a:lnTo>
                  <a:pt x="3916" y="780"/>
                </a:lnTo>
                <a:lnTo>
                  <a:pt x="3926" y="773"/>
                </a:lnTo>
                <a:lnTo>
                  <a:pt x="3934" y="766"/>
                </a:lnTo>
                <a:lnTo>
                  <a:pt x="3944" y="756"/>
                </a:lnTo>
                <a:lnTo>
                  <a:pt x="3953" y="748"/>
                </a:lnTo>
                <a:lnTo>
                  <a:pt x="3963" y="739"/>
                </a:lnTo>
                <a:lnTo>
                  <a:pt x="3972" y="731"/>
                </a:lnTo>
                <a:lnTo>
                  <a:pt x="3982" y="721"/>
                </a:lnTo>
                <a:lnTo>
                  <a:pt x="3993" y="713"/>
                </a:lnTo>
                <a:lnTo>
                  <a:pt x="4000" y="711"/>
                </a:lnTo>
                <a:lnTo>
                  <a:pt x="4007" y="708"/>
                </a:lnTo>
                <a:lnTo>
                  <a:pt x="4014" y="708"/>
                </a:lnTo>
                <a:lnTo>
                  <a:pt x="4023" y="705"/>
                </a:lnTo>
                <a:lnTo>
                  <a:pt x="4031" y="702"/>
                </a:lnTo>
                <a:lnTo>
                  <a:pt x="4038" y="699"/>
                </a:lnTo>
                <a:lnTo>
                  <a:pt x="4047" y="696"/>
                </a:lnTo>
                <a:lnTo>
                  <a:pt x="4054" y="694"/>
                </a:lnTo>
                <a:lnTo>
                  <a:pt x="4058" y="687"/>
                </a:lnTo>
                <a:lnTo>
                  <a:pt x="4063" y="680"/>
                </a:lnTo>
                <a:lnTo>
                  <a:pt x="4069" y="674"/>
                </a:lnTo>
                <a:lnTo>
                  <a:pt x="4074" y="666"/>
                </a:lnTo>
                <a:lnTo>
                  <a:pt x="4078" y="659"/>
                </a:lnTo>
                <a:lnTo>
                  <a:pt x="4083" y="652"/>
                </a:lnTo>
                <a:lnTo>
                  <a:pt x="4089" y="644"/>
                </a:lnTo>
                <a:lnTo>
                  <a:pt x="4094" y="636"/>
                </a:lnTo>
                <a:lnTo>
                  <a:pt x="4104" y="632"/>
                </a:lnTo>
                <a:lnTo>
                  <a:pt x="4113" y="626"/>
                </a:lnTo>
                <a:lnTo>
                  <a:pt x="4123" y="621"/>
                </a:lnTo>
                <a:lnTo>
                  <a:pt x="4133" y="615"/>
                </a:lnTo>
                <a:lnTo>
                  <a:pt x="4141" y="609"/>
                </a:lnTo>
                <a:lnTo>
                  <a:pt x="4151" y="604"/>
                </a:lnTo>
                <a:lnTo>
                  <a:pt x="4161" y="598"/>
                </a:lnTo>
                <a:lnTo>
                  <a:pt x="4170" y="593"/>
                </a:lnTo>
                <a:lnTo>
                  <a:pt x="4177" y="579"/>
                </a:lnTo>
                <a:lnTo>
                  <a:pt x="4185" y="566"/>
                </a:lnTo>
                <a:lnTo>
                  <a:pt x="4191" y="552"/>
                </a:lnTo>
                <a:lnTo>
                  <a:pt x="4199" y="537"/>
                </a:lnTo>
                <a:lnTo>
                  <a:pt x="4205" y="530"/>
                </a:lnTo>
                <a:lnTo>
                  <a:pt x="4212" y="524"/>
                </a:lnTo>
                <a:lnTo>
                  <a:pt x="4219" y="517"/>
                </a:lnTo>
                <a:lnTo>
                  <a:pt x="4226" y="511"/>
                </a:lnTo>
                <a:lnTo>
                  <a:pt x="4233" y="505"/>
                </a:lnTo>
                <a:lnTo>
                  <a:pt x="4241" y="499"/>
                </a:lnTo>
                <a:lnTo>
                  <a:pt x="4249" y="492"/>
                </a:lnTo>
                <a:lnTo>
                  <a:pt x="4256" y="486"/>
                </a:lnTo>
                <a:lnTo>
                  <a:pt x="4250" y="484"/>
                </a:lnTo>
                <a:lnTo>
                  <a:pt x="4245" y="481"/>
                </a:lnTo>
                <a:lnTo>
                  <a:pt x="4239" y="479"/>
                </a:lnTo>
                <a:lnTo>
                  <a:pt x="4233" y="475"/>
                </a:lnTo>
                <a:lnTo>
                  <a:pt x="4228" y="473"/>
                </a:lnTo>
                <a:lnTo>
                  <a:pt x="4221" y="469"/>
                </a:lnTo>
                <a:lnTo>
                  <a:pt x="4216" y="466"/>
                </a:lnTo>
                <a:lnTo>
                  <a:pt x="4210" y="461"/>
                </a:lnTo>
                <a:lnTo>
                  <a:pt x="4221" y="453"/>
                </a:lnTo>
                <a:lnTo>
                  <a:pt x="4232" y="444"/>
                </a:lnTo>
                <a:lnTo>
                  <a:pt x="4243" y="436"/>
                </a:lnTo>
                <a:lnTo>
                  <a:pt x="4255" y="426"/>
                </a:lnTo>
                <a:lnTo>
                  <a:pt x="4267" y="418"/>
                </a:lnTo>
                <a:lnTo>
                  <a:pt x="4278" y="410"/>
                </a:lnTo>
                <a:lnTo>
                  <a:pt x="4289" y="401"/>
                </a:lnTo>
                <a:lnTo>
                  <a:pt x="4300" y="392"/>
                </a:lnTo>
                <a:lnTo>
                  <a:pt x="4306" y="386"/>
                </a:lnTo>
                <a:lnTo>
                  <a:pt x="4314" y="381"/>
                </a:lnTo>
                <a:lnTo>
                  <a:pt x="4322" y="374"/>
                </a:lnTo>
                <a:lnTo>
                  <a:pt x="4327" y="367"/>
                </a:lnTo>
                <a:lnTo>
                  <a:pt x="4336" y="357"/>
                </a:lnTo>
                <a:lnTo>
                  <a:pt x="4347" y="346"/>
                </a:lnTo>
                <a:lnTo>
                  <a:pt x="4354" y="334"/>
                </a:lnTo>
                <a:lnTo>
                  <a:pt x="4362" y="323"/>
                </a:lnTo>
                <a:lnTo>
                  <a:pt x="4371" y="311"/>
                </a:lnTo>
                <a:lnTo>
                  <a:pt x="4380" y="300"/>
                </a:lnTo>
                <a:lnTo>
                  <a:pt x="4389" y="289"/>
                </a:lnTo>
                <a:lnTo>
                  <a:pt x="4397" y="277"/>
                </a:lnTo>
                <a:lnTo>
                  <a:pt x="4375" y="288"/>
                </a:lnTo>
                <a:lnTo>
                  <a:pt x="4356" y="297"/>
                </a:lnTo>
                <a:lnTo>
                  <a:pt x="4335" y="306"/>
                </a:lnTo>
                <a:lnTo>
                  <a:pt x="4316" y="315"/>
                </a:lnTo>
                <a:lnTo>
                  <a:pt x="4294" y="326"/>
                </a:lnTo>
                <a:lnTo>
                  <a:pt x="4274" y="335"/>
                </a:lnTo>
                <a:lnTo>
                  <a:pt x="4252" y="347"/>
                </a:lnTo>
                <a:lnTo>
                  <a:pt x="4232" y="357"/>
                </a:lnTo>
                <a:lnTo>
                  <a:pt x="4228" y="354"/>
                </a:lnTo>
                <a:lnTo>
                  <a:pt x="4224" y="351"/>
                </a:lnTo>
                <a:lnTo>
                  <a:pt x="4218" y="350"/>
                </a:lnTo>
                <a:lnTo>
                  <a:pt x="4214" y="348"/>
                </a:lnTo>
                <a:lnTo>
                  <a:pt x="4208" y="347"/>
                </a:lnTo>
                <a:lnTo>
                  <a:pt x="4204" y="343"/>
                </a:lnTo>
                <a:lnTo>
                  <a:pt x="4200" y="343"/>
                </a:lnTo>
                <a:lnTo>
                  <a:pt x="4195" y="342"/>
                </a:lnTo>
                <a:lnTo>
                  <a:pt x="4201" y="336"/>
                </a:lnTo>
                <a:lnTo>
                  <a:pt x="4208" y="330"/>
                </a:lnTo>
                <a:lnTo>
                  <a:pt x="4214" y="324"/>
                </a:lnTo>
                <a:lnTo>
                  <a:pt x="4219" y="317"/>
                </a:lnTo>
                <a:lnTo>
                  <a:pt x="4226" y="310"/>
                </a:lnTo>
                <a:lnTo>
                  <a:pt x="4232" y="304"/>
                </a:lnTo>
                <a:lnTo>
                  <a:pt x="4239" y="298"/>
                </a:lnTo>
                <a:lnTo>
                  <a:pt x="4247" y="292"/>
                </a:lnTo>
                <a:lnTo>
                  <a:pt x="4266" y="277"/>
                </a:lnTo>
                <a:lnTo>
                  <a:pt x="4287" y="259"/>
                </a:lnTo>
                <a:lnTo>
                  <a:pt x="4312" y="239"/>
                </a:lnTo>
                <a:lnTo>
                  <a:pt x="4339" y="219"/>
                </a:lnTo>
                <a:lnTo>
                  <a:pt x="4366" y="200"/>
                </a:lnTo>
                <a:lnTo>
                  <a:pt x="4391" y="181"/>
                </a:lnTo>
                <a:lnTo>
                  <a:pt x="4413" y="165"/>
                </a:lnTo>
                <a:lnTo>
                  <a:pt x="4430" y="150"/>
                </a:lnTo>
                <a:lnTo>
                  <a:pt x="4434" y="126"/>
                </a:lnTo>
                <a:lnTo>
                  <a:pt x="4431" y="115"/>
                </a:lnTo>
                <a:lnTo>
                  <a:pt x="4424" y="115"/>
                </a:lnTo>
                <a:lnTo>
                  <a:pt x="4414" y="121"/>
                </a:lnTo>
                <a:lnTo>
                  <a:pt x="4402" y="129"/>
                </a:lnTo>
                <a:lnTo>
                  <a:pt x="4391" y="137"/>
                </a:lnTo>
                <a:lnTo>
                  <a:pt x="4383" y="143"/>
                </a:lnTo>
                <a:lnTo>
                  <a:pt x="4375" y="142"/>
                </a:lnTo>
                <a:lnTo>
                  <a:pt x="4366" y="149"/>
                </a:lnTo>
                <a:lnTo>
                  <a:pt x="4353" y="155"/>
                </a:lnTo>
                <a:lnTo>
                  <a:pt x="4337" y="163"/>
                </a:lnTo>
                <a:lnTo>
                  <a:pt x="4322" y="169"/>
                </a:lnTo>
                <a:lnTo>
                  <a:pt x="4306" y="177"/>
                </a:lnTo>
                <a:lnTo>
                  <a:pt x="4290" y="182"/>
                </a:lnTo>
                <a:lnTo>
                  <a:pt x="4276" y="191"/>
                </a:lnTo>
                <a:lnTo>
                  <a:pt x="4266" y="199"/>
                </a:lnTo>
                <a:lnTo>
                  <a:pt x="4261" y="208"/>
                </a:lnTo>
                <a:lnTo>
                  <a:pt x="4258" y="218"/>
                </a:lnTo>
                <a:lnTo>
                  <a:pt x="4255" y="229"/>
                </a:lnTo>
                <a:lnTo>
                  <a:pt x="4252" y="239"/>
                </a:lnTo>
                <a:lnTo>
                  <a:pt x="4247" y="244"/>
                </a:lnTo>
                <a:lnTo>
                  <a:pt x="4242" y="250"/>
                </a:lnTo>
                <a:lnTo>
                  <a:pt x="4236" y="257"/>
                </a:lnTo>
                <a:lnTo>
                  <a:pt x="4230" y="262"/>
                </a:lnTo>
                <a:lnTo>
                  <a:pt x="4221" y="268"/>
                </a:lnTo>
                <a:lnTo>
                  <a:pt x="4216" y="273"/>
                </a:lnTo>
                <a:lnTo>
                  <a:pt x="4208" y="279"/>
                </a:lnTo>
                <a:lnTo>
                  <a:pt x="4201" y="284"/>
                </a:lnTo>
                <a:lnTo>
                  <a:pt x="4195" y="277"/>
                </a:lnTo>
                <a:lnTo>
                  <a:pt x="4191" y="270"/>
                </a:lnTo>
                <a:lnTo>
                  <a:pt x="4185" y="264"/>
                </a:lnTo>
                <a:lnTo>
                  <a:pt x="4177" y="257"/>
                </a:lnTo>
                <a:lnTo>
                  <a:pt x="4172" y="249"/>
                </a:lnTo>
                <a:lnTo>
                  <a:pt x="4164" y="243"/>
                </a:lnTo>
                <a:lnTo>
                  <a:pt x="4158" y="237"/>
                </a:lnTo>
                <a:lnTo>
                  <a:pt x="4153" y="231"/>
                </a:lnTo>
                <a:lnTo>
                  <a:pt x="4161" y="217"/>
                </a:lnTo>
                <a:lnTo>
                  <a:pt x="4168" y="205"/>
                </a:lnTo>
                <a:lnTo>
                  <a:pt x="4175" y="191"/>
                </a:lnTo>
                <a:lnTo>
                  <a:pt x="4185" y="177"/>
                </a:lnTo>
                <a:lnTo>
                  <a:pt x="4195" y="171"/>
                </a:lnTo>
                <a:lnTo>
                  <a:pt x="4203" y="163"/>
                </a:lnTo>
                <a:lnTo>
                  <a:pt x="4211" y="155"/>
                </a:lnTo>
                <a:lnTo>
                  <a:pt x="4219" y="148"/>
                </a:lnTo>
                <a:lnTo>
                  <a:pt x="4229" y="140"/>
                </a:lnTo>
                <a:lnTo>
                  <a:pt x="4237" y="132"/>
                </a:lnTo>
                <a:lnTo>
                  <a:pt x="4245" y="125"/>
                </a:lnTo>
                <a:lnTo>
                  <a:pt x="4252" y="118"/>
                </a:lnTo>
                <a:lnTo>
                  <a:pt x="4259" y="109"/>
                </a:lnTo>
                <a:lnTo>
                  <a:pt x="4264" y="101"/>
                </a:lnTo>
                <a:lnTo>
                  <a:pt x="4270" y="92"/>
                </a:lnTo>
                <a:lnTo>
                  <a:pt x="4275" y="84"/>
                </a:lnTo>
                <a:lnTo>
                  <a:pt x="4281" y="74"/>
                </a:lnTo>
                <a:lnTo>
                  <a:pt x="4286" y="66"/>
                </a:lnTo>
                <a:lnTo>
                  <a:pt x="4292" y="56"/>
                </a:lnTo>
                <a:lnTo>
                  <a:pt x="4298" y="47"/>
                </a:lnTo>
                <a:lnTo>
                  <a:pt x="4289" y="48"/>
                </a:lnTo>
                <a:lnTo>
                  <a:pt x="4279" y="51"/>
                </a:lnTo>
                <a:lnTo>
                  <a:pt x="4270" y="53"/>
                </a:lnTo>
                <a:lnTo>
                  <a:pt x="4259" y="53"/>
                </a:lnTo>
                <a:lnTo>
                  <a:pt x="4249" y="56"/>
                </a:lnTo>
                <a:lnTo>
                  <a:pt x="4239" y="57"/>
                </a:lnTo>
                <a:lnTo>
                  <a:pt x="4229" y="60"/>
                </a:lnTo>
                <a:lnTo>
                  <a:pt x="4218" y="61"/>
                </a:lnTo>
                <a:lnTo>
                  <a:pt x="4221" y="44"/>
                </a:lnTo>
                <a:lnTo>
                  <a:pt x="4226" y="30"/>
                </a:lnTo>
                <a:lnTo>
                  <a:pt x="4228" y="15"/>
                </a:lnTo>
                <a:lnTo>
                  <a:pt x="4230" y="0"/>
                </a:lnTo>
                <a:lnTo>
                  <a:pt x="4219" y="6"/>
                </a:lnTo>
                <a:lnTo>
                  <a:pt x="4210" y="12"/>
                </a:lnTo>
                <a:lnTo>
                  <a:pt x="4200" y="18"/>
                </a:lnTo>
                <a:lnTo>
                  <a:pt x="4191" y="26"/>
                </a:lnTo>
                <a:lnTo>
                  <a:pt x="4181" y="33"/>
                </a:lnTo>
                <a:lnTo>
                  <a:pt x="4172" y="41"/>
                </a:lnTo>
                <a:lnTo>
                  <a:pt x="4164" y="48"/>
                </a:lnTo>
                <a:lnTo>
                  <a:pt x="4154" y="56"/>
                </a:lnTo>
                <a:lnTo>
                  <a:pt x="4149" y="64"/>
                </a:lnTo>
                <a:lnTo>
                  <a:pt x="4143" y="74"/>
                </a:lnTo>
                <a:lnTo>
                  <a:pt x="4137" y="84"/>
                </a:lnTo>
                <a:lnTo>
                  <a:pt x="4133" y="94"/>
                </a:lnTo>
                <a:lnTo>
                  <a:pt x="4127" y="104"/>
                </a:lnTo>
                <a:lnTo>
                  <a:pt x="4122" y="115"/>
                </a:lnTo>
                <a:lnTo>
                  <a:pt x="4116" y="125"/>
                </a:lnTo>
                <a:lnTo>
                  <a:pt x="4112" y="136"/>
                </a:lnTo>
                <a:lnTo>
                  <a:pt x="4102" y="136"/>
                </a:lnTo>
                <a:lnTo>
                  <a:pt x="4094" y="136"/>
                </a:lnTo>
                <a:lnTo>
                  <a:pt x="4085" y="136"/>
                </a:lnTo>
                <a:lnTo>
                  <a:pt x="4078" y="136"/>
                </a:lnTo>
                <a:lnTo>
                  <a:pt x="4069" y="136"/>
                </a:lnTo>
                <a:lnTo>
                  <a:pt x="4061" y="136"/>
                </a:lnTo>
                <a:lnTo>
                  <a:pt x="4052" y="136"/>
                </a:lnTo>
                <a:lnTo>
                  <a:pt x="4044" y="135"/>
                </a:lnTo>
                <a:lnTo>
                  <a:pt x="4030" y="146"/>
                </a:lnTo>
                <a:lnTo>
                  <a:pt x="4014" y="157"/>
                </a:lnTo>
                <a:lnTo>
                  <a:pt x="4000" y="169"/>
                </a:lnTo>
                <a:lnTo>
                  <a:pt x="3985" y="179"/>
                </a:lnTo>
                <a:lnTo>
                  <a:pt x="3970" y="190"/>
                </a:lnTo>
                <a:lnTo>
                  <a:pt x="3955" y="202"/>
                </a:lnTo>
                <a:lnTo>
                  <a:pt x="3941" y="212"/>
                </a:lnTo>
                <a:lnTo>
                  <a:pt x="3924" y="223"/>
                </a:lnTo>
                <a:lnTo>
                  <a:pt x="3877" y="257"/>
                </a:lnTo>
                <a:lnTo>
                  <a:pt x="3828" y="287"/>
                </a:lnTo>
                <a:lnTo>
                  <a:pt x="3781" y="314"/>
                </a:lnTo>
                <a:lnTo>
                  <a:pt x="3733" y="339"/>
                </a:lnTo>
                <a:lnTo>
                  <a:pt x="3685" y="365"/>
                </a:lnTo>
                <a:lnTo>
                  <a:pt x="3638" y="390"/>
                </a:lnTo>
                <a:lnTo>
                  <a:pt x="3589" y="415"/>
                </a:lnTo>
                <a:lnTo>
                  <a:pt x="3542" y="439"/>
                </a:lnTo>
                <a:lnTo>
                  <a:pt x="3495" y="467"/>
                </a:lnTo>
                <a:lnTo>
                  <a:pt x="3448" y="497"/>
                </a:lnTo>
                <a:lnTo>
                  <a:pt x="3400" y="529"/>
                </a:lnTo>
                <a:lnTo>
                  <a:pt x="3353" y="563"/>
                </a:lnTo>
                <a:lnTo>
                  <a:pt x="3307" y="604"/>
                </a:lnTo>
                <a:lnTo>
                  <a:pt x="3261" y="649"/>
                </a:lnTo>
                <a:lnTo>
                  <a:pt x="3214" y="698"/>
                </a:lnTo>
                <a:lnTo>
                  <a:pt x="3166" y="754"/>
                </a:lnTo>
                <a:lnTo>
                  <a:pt x="3122" y="783"/>
                </a:lnTo>
                <a:lnTo>
                  <a:pt x="3088" y="806"/>
                </a:lnTo>
                <a:lnTo>
                  <a:pt x="3063" y="823"/>
                </a:lnTo>
                <a:lnTo>
                  <a:pt x="3046" y="832"/>
                </a:lnTo>
                <a:lnTo>
                  <a:pt x="3038" y="835"/>
                </a:lnTo>
                <a:lnTo>
                  <a:pt x="3036" y="834"/>
                </a:lnTo>
                <a:lnTo>
                  <a:pt x="3038" y="829"/>
                </a:lnTo>
                <a:lnTo>
                  <a:pt x="3045" y="820"/>
                </a:lnTo>
                <a:lnTo>
                  <a:pt x="3055" y="810"/>
                </a:lnTo>
                <a:lnTo>
                  <a:pt x="3066" y="798"/>
                </a:lnTo>
                <a:lnTo>
                  <a:pt x="3080" y="785"/>
                </a:lnTo>
                <a:lnTo>
                  <a:pt x="3094" y="773"/>
                </a:lnTo>
                <a:lnTo>
                  <a:pt x="3105" y="762"/>
                </a:lnTo>
                <a:lnTo>
                  <a:pt x="3115" y="750"/>
                </a:lnTo>
                <a:lnTo>
                  <a:pt x="3122" y="743"/>
                </a:lnTo>
                <a:lnTo>
                  <a:pt x="3124" y="739"/>
                </a:lnTo>
                <a:lnTo>
                  <a:pt x="3147" y="727"/>
                </a:lnTo>
                <a:lnTo>
                  <a:pt x="3165" y="717"/>
                </a:lnTo>
                <a:lnTo>
                  <a:pt x="3178" y="708"/>
                </a:lnTo>
                <a:lnTo>
                  <a:pt x="3186" y="702"/>
                </a:lnTo>
                <a:lnTo>
                  <a:pt x="3191" y="698"/>
                </a:lnTo>
                <a:lnTo>
                  <a:pt x="3194" y="694"/>
                </a:lnTo>
                <a:lnTo>
                  <a:pt x="3191" y="692"/>
                </a:lnTo>
                <a:lnTo>
                  <a:pt x="3188" y="691"/>
                </a:lnTo>
                <a:lnTo>
                  <a:pt x="3184" y="691"/>
                </a:lnTo>
                <a:lnTo>
                  <a:pt x="3180" y="691"/>
                </a:lnTo>
                <a:lnTo>
                  <a:pt x="3175" y="690"/>
                </a:lnTo>
                <a:lnTo>
                  <a:pt x="3171" y="688"/>
                </a:lnTo>
                <a:lnTo>
                  <a:pt x="3168" y="686"/>
                </a:lnTo>
                <a:lnTo>
                  <a:pt x="3168" y="683"/>
                </a:lnTo>
                <a:lnTo>
                  <a:pt x="3171" y="677"/>
                </a:lnTo>
                <a:lnTo>
                  <a:pt x="3176" y="670"/>
                </a:lnTo>
                <a:lnTo>
                  <a:pt x="3184" y="661"/>
                </a:lnTo>
                <a:lnTo>
                  <a:pt x="3196" y="649"/>
                </a:lnTo>
                <a:lnTo>
                  <a:pt x="3214" y="635"/>
                </a:lnTo>
                <a:lnTo>
                  <a:pt x="3236" y="618"/>
                </a:lnTo>
                <a:lnTo>
                  <a:pt x="3264" y="598"/>
                </a:lnTo>
                <a:lnTo>
                  <a:pt x="3299" y="574"/>
                </a:lnTo>
                <a:lnTo>
                  <a:pt x="3339" y="546"/>
                </a:lnTo>
                <a:lnTo>
                  <a:pt x="3387" y="515"/>
                </a:lnTo>
                <a:lnTo>
                  <a:pt x="3444" y="477"/>
                </a:lnTo>
                <a:lnTo>
                  <a:pt x="3507" y="437"/>
                </a:lnTo>
                <a:lnTo>
                  <a:pt x="3581" y="392"/>
                </a:lnTo>
                <a:lnTo>
                  <a:pt x="3664" y="339"/>
                </a:lnTo>
                <a:lnTo>
                  <a:pt x="3757" y="284"/>
                </a:lnTo>
                <a:lnTo>
                  <a:pt x="3862" y="221"/>
                </a:lnTo>
                <a:lnTo>
                  <a:pt x="3976" y="153"/>
                </a:lnTo>
                <a:lnTo>
                  <a:pt x="4003" y="135"/>
                </a:lnTo>
                <a:lnTo>
                  <a:pt x="4025" y="118"/>
                </a:lnTo>
                <a:lnTo>
                  <a:pt x="4043" y="101"/>
                </a:lnTo>
                <a:lnTo>
                  <a:pt x="4056" y="86"/>
                </a:lnTo>
                <a:lnTo>
                  <a:pt x="4064" y="72"/>
                </a:lnTo>
                <a:lnTo>
                  <a:pt x="4069" y="62"/>
                </a:lnTo>
                <a:lnTo>
                  <a:pt x="4069" y="55"/>
                </a:lnTo>
                <a:lnTo>
                  <a:pt x="4064" y="53"/>
                </a:lnTo>
                <a:lnTo>
                  <a:pt x="4039" y="57"/>
                </a:lnTo>
                <a:lnTo>
                  <a:pt x="4012" y="70"/>
                </a:lnTo>
                <a:lnTo>
                  <a:pt x="3985" y="90"/>
                </a:lnTo>
                <a:lnTo>
                  <a:pt x="3958" y="109"/>
                </a:lnTo>
                <a:lnTo>
                  <a:pt x="3934" y="128"/>
                </a:lnTo>
                <a:lnTo>
                  <a:pt x="3913" y="142"/>
                </a:lnTo>
                <a:lnTo>
                  <a:pt x="3896" y="146"/>
                </a:lnTo>
                <a:lnTo>
                  <a:pt x="3884" y="135"/>
                </a:lnTo>
                <a:lnTo>
                  <a:pt x="3870" y="157"/>
                </a:lnTo>
                <a:lnTo>
                  <a:pt x="3868" y="165"/>
                </a:lnTo>
                <a:lnTo>
                  <a:pt x="3870" y="163"/>
                </a:lnTo>
                <a:lnTo>
                  <a:pt x="3874" y="154"/>
                </a:lnTo>
                <a:lnTo>
                  <a:pt x="3871" y="146"/>
                </a:lnTo>
                <a:lnTo>
                  <a:pt x="3858" y="146"/>
                </a:lnTo>
                <a:lnTo>
                  <a:pt x="3826" y="155"/>
                </a:lnTo>
                <a:lnTo>
                  <a:pt x="3772" y="181"/>
                </a:lnTo>
                <a:lnTo>
                  <a:pt x="3755" y="191"/>
                </a:lnTo>
                <a:lnTo>
                  <a:pt x="3735" y="202"/>
                </a:lnTo>
                <a:lnTo>
                  <a:pt x="3714" y="213"/>
                </a:lnTo>
                <a:lnTo>
                  <a:pt x="3691" y="228"/>
                </a:lnTo>
                <a:lnTo>
                  <a:pt x="3668" y="242"/>
                </a:lnTo>
                <a:lnTo>
                  <a:pt x="3643" y="257"/>
                </a:lnTo>
                <a:lnTo>
                  <a:pt x="3616" y="273"/>
                </a:lnTo>
                <a:lnTo>
                  <a:pt x="3589" y="291"/>
                </a:lnTo>
                <a:lnTo>
                  <a:pt x="3561" y="308"/>
                </a:lnTo>
                <a:lnTo>
                  <a:pt x="3532" y="326"/>
                </a:lnTo>
                <a:lnTo>
                  <a:pt x="3503" y="346"/>
                </a:lnTo>
                <a:lnTo>
                  <a:pt x="3472" y="365"/>
                </a:lnTo>
                <a:lnTo>
                  <a:pt x="3443" y="384"/>
                </a:lnTo>
                <a:lnTo>
                  <a:pt x="3412" y="405"/>
                </a:lnTo>
                <a:lnTo>
                  <a:pt x="3380" y="425"/>
                </a:lnTo>
                <a:lnTo>
                  <a:pt x="3349" y="446"/>
                </a:lnTo>
                <a:lnTo>
                  <a:pt x="3318" y="467"/>
                </a:lnTo>
                <a:lnTo>
                  <a:pt x="3285" y="487"/>
                </a:lnTo>
                <a:lnTo>
                  <a:pt x="3256" y="508"/>
                </a:lnTo>
                <a:lnTo>
                  <a:pt x="3225" y="529"/>
                </a:lnTo>
                <a:lnTo>
                  <a:pt x="3195" y="548"/>
                </a:lnTo>
                <a:lnTo>
                  <a:pt x="3165" y="570"/>
                </a:lnTo>
                <a:lnTo>
                  <a:pt x="3138" y="588"/>
                </a:lnTo>
                <a:lnTo>
                  <a:pt x="3109" y="608"/>
                </a:lnTo>
                <a:lnTo>
                  <a:pt x="3082" y="626"/>
                </a:lnTo>
                <a:lnTo>
                  <a:pt x="3057" y="644"/>
                </a:lnTo>
                <a:lnTo>
                  <a:pt x="3032" y="661"/>
                </a:lnTo>
                <a:lnTo>
                  <a:pt x="3008" y="677"/>
                </a:lnTo>
                <a:lnTo>
                  <a:pt x="2985" y="694"/>
                </a:lnTo>
                <a:lnTo>
                  <a:pt x="2965" y="708"/>
                </a:lnTo>
                <a:lnTo>
                  <a:pt x="2946" y="721"/>
                </a:lnTo>
                <a:lnTo>
                  <a:pt x="2928" y="733"/>
                </a:lnTo>
                <a:lnTo>
                  <a:pt x="2879" y="768"/>
                </a:lnTo>
                <a:lnTo>
                  <a:pt x="2829" y="803"/>
                </a:lnTo>
                <a:lnTo>
                  <a:pt x="2781" y="836"/>
                </a:lnTo>
                <a:lnTo>
                  <a:pt x="2732" y="868"/>
                </a:lnTo>
                <a:lnTo>
                  <a:pt x="2684" y="901"/>
                </a:lnTo>
                <a:lnTo>
                  <a:pt x="2637" y="932"/>
                </a:lnTo>
                <a:lnTo>
                  <a:pt x="2590" y="963"/>
                </a:lnTo>
                <a:lnTo>
                  <a:pt x="2544" y="994"/>
                </a:lnTo>
                <a:lnTo>
                  <a:pt x="2499" y="1025"/>
                </a:lnTo>
                <a:lnTo>
                  <a:pt x="2455" y="1057"/>
                </a:lnTo>
                <a:lnTo>
                  <a:pt x="2410" y="1087"/>
                </a:lnTo>
                <a:lnTo>
                  <a:pt x="2367" y="1117"/>
                </a:lnTo>
                <a:lnTo>
                  <a:pt x="2324" y="1146"/>
                </a:lnTo>
                <a:lnTo>
                  <a:pt x="2281" y="1177"/>
                </a:lnTo>
                <a:lnTo>
                  <a:pt x="2240" y="1208"/>
                </a:lnTo>
                <a:lnTo>
                  <a:pt x="2199" y="1237"/>
                </a:lnTo>
                <a:lnTo>
                  <a:pt x="2175" y="1258"/>
                </a:lnTo>
                <a:lnTo>
                  <a:pt x="2153" y="1280"/>
                </a:lnTo>
                <a:lnTo>
                  <a:pt x="2132" y="1303"/>
                </a:lnTo>
                <a:lnTo>
                  <a:pt x="2111" y="1326"/>
                </a:lnTo>
                <a:lnTo>
                  <a:pt x="2092" y="1349"/>
                </a:lnTo>
                <a:lnTo>
                  <a:pt x="2072" y="1372"/>
                </a:lnTo>
                <a:lnTo>
                  <a:pt x="2055" y="1396"/>
                </a:lnTo>
                <a:lnTo>
                  <a:pt x="2036" y="1419"/>
                </a:lnTo>
                <a:lnTo>
                  <a:pt x="2017" y="1443"/>
                </a:lnTo>
                <a:lnTo>
                  <a:pt x="2001" y="1466"/>
                </a:lnTo>
                <a:lnTo>
                  <a:pt x="1982" y="1490"/>
                </a:lnTo>
                <a:lnTo>
                  <a:pt x="1964" y="1512"/>
                </a:lnTo>
                <a:lnTo>
                  <a:pt x="1945" y="1536"/>
                </a:lnTo>
                <a:lnTo>
                  <a:pt x="1927" y="1556"/>
                </a:lnTo>
                <a:lnTo>
                  <a:pt x="1907" y="1578"/>
                </a:lnTo>
                <a:lnTo>
                  <a:pt x="1888" y="1599"/>
                </a:lnTo>
                <a:lnTo>
                  <a:pt x="1865" y="1621"/>
                </a:lnTo>
                <a:lnTo>
                  <a:pt x="1841" y="1647"/>
                </a:lnTo>
                <a:lnTo>
                  <a:pt x="1817" y="1679"/>
                </a:lnTo>
                <a:lnTo>
                  <a:pt x="1792" y="1714"/>
                </a:lnTo>
                <a:lnTo>
                  <a:pt x="1768" y="1747"/>
                </a:lnTo>
                <a:lnTo>
                  <a:pt x="1744" y="1778"/>
                </a:lnTo>
                <a:lnTo>
                  <a:pt x="1722" y="1805"/>
                </a:lnTo>
                <a:lnTo>
                  <a:pt x="1703" y="1824"/>
                </a:lnTo>
                <a:lnTo>
                  <a:pt x="1675" y="1845"/>
                </a:lnTo>
                <a:lnTo>
                  <a:pt x="1657" y="1860"/>
                </a:lnTo>
                <a:lnTo>
                  <a:pt x="1643" y="1869"/>
                </a:lnTo>
                <a:lnTo>
                  <a:pt x="1634" y="1876"/>
                </a:lnTo>
                <a:lnTo>
                  <a:pt x="1624" y="1882"/>
                </a:lnTo>
                <a:lnTo>
                  <a:pt x="1613" y="1893"/>
                </a:lnTo>
                <a:lnTo>
                  <a:pt x="1598" y="1906"/>
                </a:lnTo>
                <a:lnTo>
                  <a:pt x="1577" y="1928"/>
                </a:lnTo>
                <a:lnTo>
                  <a:pt x="1555" y="1962"/>
                </a:lnTo>
                <a:lnTo>
                  <a:pt x="1537" y="1996"/>
                </a:lnTo>
                <a:lnTo>
                  <a:pt x="1519" y="2034"/>
                </a:lnTo>
                <a:lnTo>
                  <a:pt x="1504" y="2073"/>
                </a:lnTo>
                <a:lnTo>
                  <a:pt x="1487" y="2109"/>
                </a:lnTo>
                <a:lnTo>
                  <a:pt x="1471" y="2146"/>
                </a:lnTo>
                <a:lnTo>
                  <a:pt x="1457" y="2183"/>
                </a:lnTo>
                <a:lnTo>
                  <a:pt x="1440" y="2216"/>
                </a:lnTo>
                <a:lnTo>
                  <a:pt x="1425" y="2187"/>
                </a:lnTo>
                <a:lnTo>
                  <a:pt x="1406" y="2158"/>
                </a:lnTo>
                <a:lnTo>
                  <a:pt x="1388" y="2128"/>
                </a:lnTo>
                <a:lnTo>
                  <a:pt x="1367" y="2098"/>
                </a:lnTo>
                <a:lnTo>
                  <a:pt x="1345" y="2070"/>
                </a:lnTo>
                <a:lnTo>
                  <a:pt x="1323" y="2040"/>
                </a:lnTo>
                <a:lnTo>
                  <a:pt x="1301" y="2011"/>
                </a:lnTo>
                <a:lnTo>
                  <a:pt x="1278" y="1982"/>
                </a:lnTo>
                <a:lnTo>
                  <a:pt x="1255" y="1952"/>
                </a:lnTo>
                <a:lnTo>
                  <a:pt x="1234" y="1922"/>
                </a:lnTo>
                <a:lnTo>
                  <a:pt x="1214" y="1894"/>
                </a:lnTo>
                <a:lnTo>
                  <a:pt x="1196" y="1864"/>
                </a:lnTo>
                <a:lnTo>
                  <a:pt x="1178" y="1835"/>
                </a:lnTo>
                <a:lnTo>
                  <a:pt x="1163" y="1806"/>
                </a:lnTo>
                <a:lnTo>
                  <a:pt x="1150" y="1776"/>
                </a:lnTo>
                <a:lnTo>
                  <a:pt x="1141" y="1748"/>
                </a:lnTo>
                <a:lnTo>
                  <a:pt x="1125" y="1708"/>
                </a:lnTo>
                <a:lnTo>
                  <a:pt x="1109" y="1665"/>
                </a:lnTo>
                <a:lnTo>
                  <a:pt x="1090" y="1621"/>
                </a:lnTo>
                <a:lnTo>
                  <a:pt x="1072" y="1576"/>
                </a:lnTo>
                <a:lnTo>
                  <a:pt x="1053" y="1531"/>
                </a:lnTo>
                <a:lnTo>
                  <a:pt x="1036" y="1486"/>
                </a:lnTo>
                <a:lnTo>
                  <a:pt x="1019" y="1443"/>
                </a:lnTo>
                <a:lnTo>
                  <a:pt x="1006" y="1401"/>
                </a:lnTo>
                <a:lnTo>
                  <a:pt x="982" y="1410"/>
                </a:lnTo>
                <a:lnTo>
                  <a:pt x="961" y="1421"/>
                </a:lnTo>
                <a:lnTo>
                  <a:pt x="938" y="1429"/>
                </a:lnTo>
                <a:lnTo>
                  <a:pt x="917" y="1438"/>
                </a:lnTo>
                <a:lnTo>
                  <a:pt x="894" y="1447"/>
                </a:lnTo>
                <a:lnTo>
                  <a:pt x="873" y="1454"/>
                </a:lnTo>
                <a:lnTo>
                  <a:pt x="850" y="1462"/>
                </a:lnTo>
                <a:lnTo>
                  <a:pt x="828" y="1472"/>
                </a:lnTo>
                <a:lnTo>
                  <a:pt x="811" y="1480"/>
                </a:lnTo>
                <a:lnTo>
                  <a:pt x="793" y="1487"/>
                </a:lnTo>
                <a:lnTo>
                  <a:pt x="775" y="1496"/>
                </a:lnTo>
                <a:lnTo>
                  <a:pt x="758" y="1505"/>
                </a:lnTo>
                <a:lnTo>
                  <a:pt x="740" y="1512"/>
                </a:lnTo>
                <a:lnTo>
                  <a:pt x="724" y="1521"/>
                </a:lnTo>
                <a:lnTo>
                  <a:pt x="706" y="1528"/>
                </a:lnTo>
                <a:lnTo>
                  <a:pt x="689" y="1537"/>
                </a:lnTo>
                <a:lnTo>
                  <a:pt x="672" y="1545"/>
                </a:lnTo>
                <a:lnTo>
                  <a:pt x="654" y="1553"/>
                </a:lnTo>
                <a:lnTo>
                  <a:pt x="638" y="1561"/>
                </a:lnTo>
                <a:lnTo>
                  <a:pt x="621" y="1570"/>
                </a:lnTo>
                <a:lnTo>
                  <a:pt x="604" y="1576"/>
                </a:lnTo>
                <a:lnTo>
                  <a:pt x="588" y="1585"/>
                </a:lnTo>
                <a:lnTo>
                  <a:pt x="571" y="1593"/>
                </a:lnTo>
                <a:lnTo>
                  <a:pt x="555" y="1601"/>
                </a:lnTo>
                <a:lnTo>
                  <a:pt x="551" y="1601"/>
                </a:lnTo>
                <a:lnTo>
                  <a:pt x="543" y="1601"/>
                </a:lnTo>
                <a:lnTo>
                  <a:pt x="529" y="1603"/>
                </a:lnTo>
                <a:lnTo>
                  <a:pt x="512" y="1607"/>
                </a:lnTo>
                <a:lnTo>
                  <a:pt x="493" y="1611"/>
                </a:lnTo>
                <a:lnTo>
                  <a:pt x="470" y="1617"/>
                </a:lnTo>
                <a:lnTo>
                  <a:pt x="447" y="1625"/>
                </a:lnTo>
                <a:lnTo>
                  <a:pt x="422" y="1632"/>
                </a:lnTo>
                <a:lnTo>
                  <a:pt x="397" y="1638"/>
                </a:lnTo>
                <a:lnTo>
                  <a:pt x="374" y="1645"/>
                </a:lnTo>
                <a:lnTo>
                  <a:pt x="352" y="1653"/>
                </a:lnTo>
                <a:lnTo>
                  <a:pt x="334" y="1657"/>
                </a:lnTo>
                <a:lnTo>
                  <a:pt x="316" y="1661"/>
                </a:lnTo>
                <a:lnTo>
                  <a:pt x="305" y="1665"/>
                </a:lnTo>
                <a:lnTo>
                  <a:pt x="298" y="1665"/>
                </a:lnTo>
                <a:lnTo>
                  <a:pt x="295" y="1663"/>
                </a:lnTo>
                <a:lnTo>
                  <a:pt x="275" y="1674"/>
                </a:lnTo>
                <a:lnTo>
                  <a:pt x="257" y="1685"/>
                </a:lnTo>
                <a:lnTo>
                  <a:pt x="237" y="1696"/>
                </a:lnTo>
                <a:lnTo>
                  <a:pt x="220" y="1708"/>
                </a:lnTo>
                <a:lnTo>
                  <a:pt x="199" y="1718"/>
                </a:lnTo>
                <a:lnTo>
                  <a:pt x="181" y="1728"/>
                </a:lnTo>
                <a:lnTo>
                  <a:pt x="161" y="1739"/>
                </a:lnTo>
                <a:lnTo>
                  <a:pt x="143" y="1750"/>
                </a:lnTo>
                <a:lnTo>
                  <a:pt x="124" y="1761"/>
                </a:lnTo>
                <a:lnTo>
                  <a:pt x="106" y="1773"/>
                </a:lnTo>
                <a:lnTo>
                  <a:pt x="88" y="1783"/>
                </a:lnTo>
                <a:lnTo>
                  <a:pt x="70" y="1794"/>
                </a:lnTo>
                <a:lnTo>
                  <a:pt x="53" y="1805"/>
                </a:lnTo>
                <a:lnTo>
                  <a:pt x="35" y="1816"/>
                </a:lnTo>
                <a:lnTo>
                  <a:pt x="18" y="1827"/>
                </a:lnTo>
                <a:lnTo>
                  <a:pt x="0" y="1838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srgbClr val="C00000"/>
              </a:solidFill>
            </a:endParaRPr>
          </a:p>
        </p:txBody>
      </p:sp>
      <p:sp>
        <p:nvSpPr>
          <p:cNvPr id="15" name="Freeform 48">
            <a:extLst>
              <a:ext uri="{FF2B5EF4-FFF2-40B4-BE49-F238E27FC236}">
                <a16:creationId xmlns:a16="http://schemas.microsoft.com/office/drawing/2014/main" id="{77910A47-5D23-26FC-4C61-F9339031BDF0}"/>
              </a:ext>
            </a:extLst>
          </p:cNvPr>
          <p:cNvSpPr>
            <a:spLocks/>
          </p:cNvSpPr>
          <p:nvPr/>
        </p:nvSpPr>
        <p:spPr bwMode="auto">
          <a:xfrm>
            <a:off x="7734557" y="4032185"/>
            <a:ext cx="186615" cy="135892"/>
          </a:xfrm>
          <a:custGeom>
            <a:avLst/>
            <a:gdLst/>
            <a:ahLst/>
            <a:cxnLst>
              <a:cxn ang="0">
                <a:pos x="207" y="2051"/>
              </a:cxn>
              <a:cxn ang="0">
                <a:pos x="502" y="2433"/>
              </a:cxn>
              <a:cxn ang="0">
                <a:pos x="858" y="2991"/>
              </a:cxn>
              <a:cxn ang="0">
                <a:pos x="1017" y="3151"/>
              </a:cxn>
              <a:cxn ang="0">
                <a:pos x="1189" y="3228"/>
              </a:cxn>
              <a:cxn ang="0">
                <a:pos x="1367" y="3299"/>
              </a:cxn>
              <a:cxn ang="0">
                <a:pos x="1698" y="3417"/>
              </a:cxn>
              <a:cxn ang="0">
                <a:pos x="1841" y="3460"/>
              </a:cxn>
              <a:cxn ang="0">
                <a:pos x="1884" y="3348"/>
              </a:cxn>
              <a:cxn ang="0">
                <a:pos x="2042" y="3108"/>
              </a:cxn>
              <a:cxn ang="0">
                <a:pos x="2181" y="2716"/>
              </a:cxn>
              <a:cxn ang="0">
                <a:pos x="2374" y="2396"/>
              </a:cxn>
              <a:cxn ang="0">
                <a:pos x="2501" y="2216"/>
              </a:cxn>
              <a:cxn ang="0">
                <a:pos x="2634" y="2126"/>
              </a:cxn>
              <a:cxn ang="0">
                <a:pos x="2725" y="2021"/>
              </a:cxn>
              <a:cxn ang="0">
                <a:pos x="2985" y="1743"/>
              </a:cxn>
              <a:cxn ang="0">
                <a:pos x="3350" y="1385"/>
              </a:cxn>
              <a:cxn ang="0">
                <a:pos x="3764" y="1076"/>
              </a:cxn>
              <a:cxn ang="0">
                <a:pos x="3975" y="956"/>
              </a:cxn>
              <a:cxn ang="0">
                <a:pos x="4166" y="801"/>
              </a:cxn>
              <a:cxn ang="0">
                <a:pos x="4276" y="746"/>
              </a:cxn>
              <a:cxn ang="0">
                <a:pos x="4452" y="590"/>
              </a:cxn>
              <a:cxn ang="0">
                <a:pos x="4597" y="435"/>
              </a:cxn>
              <a:cxn ang="0">
                <a:pos x="4745" y="341"/>
              </a:cxn>
              <a:cxn ang="0">
                <a:pos x="4873" y="280"/>
              </a:cxn>
              <a:cxn ang="0">
                <a:pos x="4849" y="246"/>
              </a:cxn>
              <a:cxn ang="0">
                <a:pos x="4761" y="283"/>
              </a:cxn>
              <a:cxn ang="0">
                <a:pos x="4662" y="363"/>
              </a:cxn>
              <a:cxn ang="0">
                <a:pos x="4441" y="517"/>
              </a:cxn>
              <a:cxn ang="0">
                <a:pos x="4314" y="546"/>
              </a:cxn>
              <a:cxn ang="0">
                <a:pos x="3938" y="816"/>
              </a:cxn>
              <a:cxn ang="0">
                <a:pos x="4014" y="708"/>
              </a:cxn>
              <a:cxn ang="0">
                <a:pos x="4113" y="626"/>
              </a:cxn>
              <a:cxn ang="0">
                <a:pos x="4233" y="505"/>
              </a:cxn>
              <a:cxn ang="0">
                <a:pos x="4255" y="426"/>
              </a:cxn>
              <a:cxn ang="0">
                <a:pos x="4389" y="289"/>
              </a:cxn>
              <a:cxn ang="0">
                <a:pos x="4204" y="343"/>
              </a:cxn>
              <a:cxn ang="0">
                <a:pos x="4366" y="200"/>
              </a:cxn>
              <a:cxn ang="0">
                <a:pos x="4322" y="169"/>
              </a:cxn>
              <a:cxn ang="0">
                <a:pos x="4208" y="279"/>
              </a:cxn>
              <a:cxn ang="0">
                <a:pos x="4203" y="163"/>
              </a:cxn>
              <a:cxn ang="0">
                <a:pos x="4289" y="48"/>
              </a:cxn>
              <a:cxn ang="0">
                <a:pos x="4191" y="26"/>
              </a:cxn>
              <a:cxn ang="0">
                <a:pos x="4085" y="136"/>
              </a:cxn>
              <a:cxn ang="0">
                <a:pos x="3828" y="287"/>
              </a:cxn>
              <a:cxn ang="0">
                <a:pos x="3122" y="783"/>
              </a:cxn>
              <a:cxn ang="0">
                <a:pos x="3124" y="739"/>
              </a:cxn>
              <a:cxn ang="0">
                <a:pos x="3171" y="677"/>
              </a:cxn>
              <a:cxn ang="0">
                <a:pos x="3862" y="221"/>
              </a:cxn>
              <a:cxn ang="0">
                <a:pos x="3913" y="142"/>
              </a:cxn>
              <a:cxn ang="0">
                <a:pos x="3668" y="242"/>
              </a:cxn>
              <a:cxn ang="0">
                <a:pos x="3225" y="529"/>
              </a:cxn>
              <a:cxn ang="0">
                <a:pos x="2781" y="836"/>
              </a:cxn>
              <a:cxn ang="0">
                <a:pos x="2153" y="1280"/>
              </a:cxn>
              <a:cxn ang="0">
                <a:pos x="1865" y="1621"/>
              </a:cxn>
              <a:cxn ang="0">
                <a:pos x="1577" y="1928"/>
              </a:cxn>
              <a:cxn ang="0">
                <a:pos x="1301" y="2011"/>
              </a:cxn>
              <a:cxn ang="0">
                <a:pos x="1036" y="1486"/>
              </a:cxn>
              <a:cxn ang="0">
                <a:pos x="740" y="1512"/>
              </a:cxn>
              <a:cxn ang="0">
                <a:pos x="512" y="1607"/>
              </a:cxn>
              <a:cxn ang="0">
                <a:pos x="237" y="1696"/>
              </a:cxn>
            </a:cxnLst>
            <a:rect l="0" t="0" r="r" b="b"/>
            <a:pathLst>
              <a:path w="4933" h="3474">
                <a:moveTo>
                  <a:pt x="0" y="1838"/>
                </a:moveTo>
                <a:lnTo>
                  <a:pt x="12" y="1853"/>
                </a:lnTo>
                <a:lnTo>
                  <a:pt x="25" y="1869"/>
                </a:lnTo>
                <a:lnTo>
                  <a:pt x="38" y="1884"/>
                </a:lnTo>
                <a:lnTo>
                  <a:pt x="53" y="1900"/>
                </a:lnTo>
                <a:lnTo>
                  <a:pt x="68" y="1914"/>
                </a:lnTo>
                <a:lnTo>
                  <a:pt x="83" y="1931"/>
                </a:lnTo>
                <a:lnTo>
                  <a:pt x="100" y="1946"/>
                </a:lnTo>
                <a:lnTo>
                  <a:pt x="116" y="1960"/>
                </a:lnTo>
                <a:lnTo>
                  <a:pt x="132" y="1976"/>
                </a:lnTo>
                <a:lnTo>
                  <a:pt x="148" y="1990"/>
                </a:lnTo>
                <a:lnTo>
                  <a:pt x="162" y="2005"/>
                </a:lnTo>
                <a:lnTo>
                  <a:pt x="179" y="2021"/>
                </a:lnTo>
                <a:lnTo>
                  <a:pt x="193" y="2036"/>
                </a:lnTo>
                <a:lnTo>
                  <a:pt x="207" y="2051"/>
                </a:lnTo>
                <a:lnTo>
                  <a:pt x="220" y="2066"/>
                </a:lnTo>
                <a:lnTo>
                  <a:pt x="231" y="2082"/>
                </a:lnTo>
                <a:lnTo>
                  <a:pt x="245" y="2110"/>
                </a:lnTo>
                <a:lnTo>
                  <a:pt x="262" y="2133"/>
                </a:lnTo>
                <a:lnTo>
                  <a:pt x="282" y="2151"/>
                </a:lnTo>
                <a:lnTo>
                  <a:pt x="302" y="2168"/>
                </a:lnTo>
                <a:lnTo>
                  <a:pt x="323" y="2184"/>
                </a:lnTo>
                <a:lnTo>
                  <a:pt x="343" y="2202"/>
                </a:lnTo>
                <a:lnTo>
                  <a:pt x="361" y="2224"/>
                </a:lnTo>
                <a:lnTo>
                  <a:pt x="376" y="2251"/>
                </a:lnTo>
                <a:lnTo>
                  <a:pt x="392" y="2280"/>
                </a:lnTo>
                <a:lnTo>
                  <a:pt x="416" y="2314"/>
                </a:lnTo>
                <a:lnTo>
                  <a:pt x="443" y="2352"/>
                </a:lnTo>
                <a:lnTo>
                  <a:pt x="472" y="2393"/>
                </a:lnTo>
                <a:lnTo>
                  <a:pt x="502" y="2433"/>
                </a:lnTo>
                <a:lnTo>
                  <a:pt x="529" y="2470"/>
                </a:lnTo>
                <a:lnTo>
                  <a:pt x="552" y="2504"/>
                </a:lnTo>
                <a:lnTo>
                  <a:pt x="571" y="2532"/>
                </a:lnTo>
                <a:lnTo>
                  <a:pt x="582" y="2555"/>
                </a:lnTo>
                <a:lnTo>
                  <a:pt x="599" y="2583"/>
                </a:lnTo>
                <a:lnTo>
                  <a:pt x="618" y="2617"/>
                </a:lnTo>
                <a:lnTo>
                  <a:pt x="640" y="2652"/>
                </a:lnTo>
                <a:lnTo>
                  <a:pt x="665" y="2693"/>
                </a:lnTo>
                <a:lnTo>
                  <a:pt x="691" y="2734"/>
                </a:lnTo>
                <a:lnTo>
                  <a:pt x="720" y="2778"/>
                </a:lnTo>
                <a:lnTo>
                  <a:pt x="750" y="2822"/>
                </a:lnTo>
                <a:lnTo>
                  <a:pt x="777" y="2866"/>
                </a:lnTo>
                <a:lnTo>
                  <a:pt x="806" y="2910"/>
                </a:lnTo>
                <a:lnTo>
                  <a:pt x="833" y="2952"/>
                </a:lnTo>
                <a:lnTo>
                  <a:pt x="858" y="2991"/>
                </a:lnTo>
                <a:lnTo>
                  <a:pt x="881" y="3027"/>
                </a:lnTo>
                <a:lnTo>
                  <a:pt x="900" y="3059"/>
                </a:lnTo>
                <a:lnTo>
                  <a:pt x="917" y="3088"/>
                </a:lnTo>
                <a:lnTo>
                  <a:pt x="929" y="3110"/>
                </a:lnTo>
                <a:lnTo>
                  <a:pt x="940" y="3112"/>
                </a:lnTo>
                <a:lnTo>
                  <a:pt x="950" y="3113"/>
                </a:lnTo>
                <a:lnTo>
                  <a:pt x="960" y="3115"/>
                </a:lnTo>
                <a:lnTo>
                  <a:pt x="969" y="3117"/>
                </a:lnTo>
                <a:lnTo>
                  <a:pt x="980" y="3117"/>
                </a:lnTo>
                <a:lnTo>
                  <a:pt x="991" y="3120"/>
                </a:lnTo>
                <a:lnTo>
                  <a:pt x="1000" y="3121"/>
                </a:lnTo>
                <a:lnTo>
                  <a:pt x="1010" y="3123"/>
                </a:lnTo>
                <a:lnTo>
                  <a:pt x="1012" y="3133"/>
                </a:lnTo>
                <a:lnTo>
                  <a:pt x="1015" y="3142"/>
                </a:lnTo>
                <a:lnTo>
                  <a:pt x="1017" y="3151"/>
                </a:lnTo>
                <a:lnTo>
                  <a:pt x="1019" y="3162"/>
                </a:lnTo>
                <a:lnTo>
                  <a:pt x="1029" y="3162"/>
                </a:lnTo>
                <a:lnTo>
                  <a:pt x="1037" y="3164"/>
                </a:lnTo>
                <a:lnTo>
                  <a:pt x="1046" y="3165"/>
                </a:lnTo>
                <a:lnTo>
                  <a:pt x="1055" y="3166"/>
                </a:lnTo>
                <a:lnTo>
                  <a:pt x="1064" y="3169"/>
                </a:lnTo>
                <a:lnTo>
                  <a:pt x="1073" y="3170"/>
                </a:lnTo>
                <a:lnTo>
                  <a:pt x="1083" y="3171"/>
                </a:lnTo>
                <a:lnTo>
                  <a:pt x="1091" y="3172"/>
                </a:lnTo>
                <a:lnTo>
                  <a:pt x="1108" y="3182"/>
                </a:lnTo>
                <a:lnTo>
                  <a:pt x="1125" y="3193"/>
                </a:lnTo>
                <a:lnTo>
                  <a:pt x="1141" y="3201"/>
                </a:lnTo>
                <a:lnTo>
                  <a:pt x="1156" y="3210"/>
                </a:lnTo>
                <a:lnTo>
                  <a:pt x="1172" y="3220"/>
                </a:lnTo>
                <a:lnTo>
                  <a:pt x="1189" y="3228"/>
                </a:lnTo>
                <a:lnTo>
                  <a:pt x="1206" y="3237"/>
                </a:lnTo>
                <a:lnTo>
                  <a:pt x="1222" y="3245"/>
                </a:lnTo>
                <a:lnTo>
                  <a:pt x="1233" y="3246"/>
                </a:lnTo>
                <a:lnTo>
                  <a:pt x="1244" y="3248"/>
                </a:lnTo>
                <a:lnTo>
                  <a:pt x="1255" y="3250"/>
                </a:lnTo>
                <a:lnTo>
                  <a:pt x="1267" y="3251"/>
                </a:lnTo>
                <a:lnTo>
                  <a:pt x="1278" y="3251"/>
                </a:lnTo>
                <a:lnTo>
                  <a:pt x="1289" y="3252"/>
                </a:lnTo>
                <a:lnTo>
                  <a:pt x="1302" y="3253"/>
                </a:lnTo>
                <a:lnTo>
                  <a:pt x="1313" y="3253"/>
                </a:lnTo>
                <a:lnTo>
                  <a:pt x="1321" y="3264"/>
                </a:lnTo>
                <a:lnTo>
                  <a:pt x="1330" y="3276"/>
                </a:lnTo>
                <a:lnTo>
                  <a:pt x="1340" y="3288"/>
                </a:lnTo>
                <a:lnTo>
                  <a:pt x="1348" y="3297"/>
                </a:lnTo>
                <a:lnTo>
                  <a:pt x="1367" y="3299"/>
                </a:lnTo>
                <a:lnTo>
                  <a:pt x="1388" y="3301"/>
                </a:lnTo>
                <a:lnTo>
                  <a:pt x="1407" y="3303"/>
                </a:lnTo>
                <a:lnTo>
                  <a:pt x="1427" y="3303"/>
                </a:lnTo>
                <a:lnTo>
                  <a:pt x="1448" y="3305"/>
                </a:lnTo>
                <a:lnTo>
                  <a:pt x="1467" y="3305"/>
                </a:lnTo>
                <a:lnTo>
                  <a:pt x="1487" y="3307"/>
                </a:lnTo>
                <a:lnTo>
                  <a:pt x="1507" y="3308"/>
                </a:lnTo>
                <a:lnTo>
                  <a:pt x="1531" y="3321"/>
                </a:lnTo>
                <a:lnTo>
                  <a:pt x="1552" y="3334"/>
                </a:lnTo>
                <a:lnTo>
                  <a:pt x="1577" y="3348"/>
                </a:lnTo>
                <a:lnTo>
                  <a:pt x="1600" y="3361"/>
                </a:lnTo>
                <a:lnTo>
                  <a:pt x="1625" y="3377"/>
                </a:lnTo>
                <a:lnTo>
                  <a:pt x="1649" y="3390"/>
                </a:lnTo>
                <a:lnTo>
                  <a:pt x="1673" y="3404"/>
                </a:lnTo>
                <a:lnTo>
                  <a:pt x="1698" y="3417"/>
                </a:lnTo>
                <a:lnTo>
                  <a:pt x="1707" y="3417"/>
                </a:lnTo>
                <a:lnTo>
                  <a:pt x="1717" y="3417"/>
                </a:lnTo>
                <a:lnTo>
                  <a:pt x="1727" y="3417"/>
                </a:lnTo>
                <a:lnTo>
                  <a:pt x="1738" y="3417"/>
                </a:lnTo>
                <a:lnTo>
                  <a:pt x="1748" y="3417"/>
                </a:lnTo>
                <a:lnTo>
                  <a:pt x="1757" y="3417"/>
                </a:lnTo>
                <a:lnTo>
                  <a:pt x="1768" y="3417"/>
                </a:lnTo>
                <a:lnTo>
                  <a:pt x="1778" y="3417"/>
                </a:lnTo>
                <a:lnTo>
                  <a:pt x="1786" y="3426"/>
                </a:lnTo>
                <a:lnTo>
                  <a:pt x="1796" y="3432"/>
                </a:lnTo>
                <a:lnTo>
                  <a:pt x="1806" y="3438"/>
                </a:lnTo>
                <a:lnTo>
                  <a:pt x="1815" y="3444"/>
                </a:lnTo>
                <a:lnTo>
                  <a:pt x="1823" y="3450"/>
                </a:lnTo>
                <a:lnTo>
                  <a:pt x="1832" y="3454"/>
                </a:lnTo>
                <a:lnTo>
                  <a:pt x="1841" y="3460"/>
                </a:lnTo>
                <a:lnTo>
                  <a:pt x="1850" y="3465"/>
                </a:lnTo>
                <a:lnTo>
                  <a:pt x="1877" y="3472"/>
                </a:lnTo>
                <a:lnTo>
                  <a:pt x="1896" y="3474"/>
                </a:lnTo>
                <a:lnTo>
                  <a:pt x="1907" y="3471"/>
                </a:lnTo>
                <a:lnTo>
                  <a:pt x="1911" y="3464"/>
                </a:lnTo>
                <a:lnTo>
                  <a:pt x="1911" y="3454"/>
                </a:lnTo>
                <a:lnTo>
                  <a:pt x="1905" y="3441"/>
                </a:lnTo>
                <a:lnTo>
                  <a:pt x="1898" y="3427"/>
                </a:lnTo>
                <a:lnTo>
                  <a:pt x="1890" y="3412"/>
                </a:lnTo>
                <a:lnTo>
                  <a:pt x="1883" y="3397"/>
                </a:lnTo>
                <a:lnTo>
                  <a:pt x="1874" y="3382"/>
                </a:lnTo>
                <a:lnTo>
                  <a:pt x="1870" y="3370"/>
                </a:lnTo>
                <a:lnTo>
                  <a:pt x="1869" y="3358"/>
                </a:lnTo>
                <a:lnTo>
                  <a:pt x="1873" y="3352"/>
                </a:lnTo>
                <a:lnTo>
                  <a:pt x="1884" y="3348"/>
                </a:lnTo>
                <a:lnTo>
                  <a:pt x="1902" y="3350"/>
                </a:lnTo>
                <a:lnTo>
                  <a:pt x="1929" y="3357"/>
                </a:lnTo>
                <a:lnTo>
                  <a:pt x="1942" y="3334"/>
                </a:lnTo>
                <a:lnTo>
                  <a:pt x="1953" y="3314"/>
                </a:lnTo>
                <a:lnTo>
                  <a:pt x="1964" y="3295"/>
                </a:lnTo>
                <a:lnTo>
                  <a:pt x="1972" y="3275"/>
                </a:lnTo>
                <a:lnTo>
                  <a:pt x="1982" y="3257"/>
                </a:lnTo>
                <a:lnTo>
                  <a:pt x="1991" y="3235"/>
                </a:lnTo>
                <a:lnTo>
                  <a:pt x="2002" y="3214"/>
                </a:lnTo>
                <a:lnTo>
                  <a:pt x="2014" y="3191"/>
                </a:lnTo>
                <a:lnTo>
                  <a:pt x="2015" y="3177"/>
                </a:lnTo>
                <a:lnTo>
                  <a:pt x="2020" y="3162"/>
                </a:lnTo>
                <a:lnTo>
                  <a:pt x="2026" y="3145"/>
                </a:lnTo>
                <a:lnTo>
                  <a:pt x="2033" y="3126"/>
                </a:lnTo>
                <a:lnTo>
                  <a:pt x="2042" y="3108"/>
                </a:lnTo>
                <a:lnTo>
                  <a:pt x="2048" y="3090"/>
                </a:lnTo>
                <a:lnTo>
                  <a:pt x="2052" y="3075"/>
                </a:lnTo>
                <a:lnTo>
                  <a:pt x="2053" y="3061"/>
                </a:lnTo>
                <a:lnTo>
                  <a:pt x="2066" y="3042"/>
                </a:lnTo>
                <a:lnTo>
                  <a:pt x="2079" y="3021"/>
                </a:lnTo>
                <a:lnTo>
                  <a:pt x="2092" y="3002"/>
                </a:lnTo>
                <a:lnTo>
                  <a:pt x="2103" y="2983"/>
                </a:lnTo>
                <a:lnTo>
                  <a:pt x="2114" y="2964"/>
                </a:lnTo>
                <a:lnTo>
                  <a:pt x="2126" y="2945"/>
                </a:lnTo>
                <a:lnTo>
                  <a:pt x="2137" y="2927"/>
                </a:lnTo>
                <a:lnTo>
                  <a:pt x="2149" y="2907"/>
                </a:lnTo>
                <a:lnTo>
                  <a:pt x="2156" y="2853"/>
                </a:lnTo>
                <a:lnTo>
                  <a:pt x="2167" y="2811"/>
                </a:lnTo>
                <a:lnTo>
                  <a:pt x="2178" y="2769"/>
                </a:lnTo>
                <a:lnTo>
                  <a:pt x="2181" y="2716"/>
                </a:lnTo>
                <a:lnTo>
                  <a:pt x="2195" y="2707"/>
                </a:lnTo>
                <a:lnTo>
                  <a:pt x="2209" y="2695"/>
                </a:lnTo>
                <a:lnTo>
                  <a:pt x="2224" y="2682"/>
                </a:lnTo>
                <a:lnTo>
                  <a:pt x="2240" y="2669"/>
                </a:lnTo>
                <a:lnTo>
                  <a:pt x="2255" y="2656"/>
                </a:lnTo>
                <a:lnTo>
                  <a:pt x="2270" y="2642"/>
                </a:lnTo>
                <a:lnTo>
                  <a:pt x="2284" y="2631"/>
                </a:lnTo>
                <a:lnTo>
                  <a:pt x="2297" y="2621"/>
                </a:lnTo>
                <a:lnTo>
                  <a:pt x="2306" y="2569"/>
                </a:lnTo>
                <a:lnTo>
                  <a:pt x="2312" y="2527"/>
                </a:lnTo>
                <a:lnTo>
                  <a:pt x="2317" y="2486"/>
                </a:lnTo>
                <a:lnTo>
                  <a:pt x="2328" y="2431"/>
                </a:lnTo>
                <a:lnTo>
                  <a:pt x="2338" y="2421"/>
                </a:lnTo>
                <a:lnTo>
                  <a:pt x="2355" y="2409"/>
                </a:lnTo>
                <a:lnTo>
                  <a:pt x="2374" y="2396"/>
                </a:lnTo>
                <a:lnTo>
                  <a:pt x="2397" y="2381"/>
                </a:lnTo>
                <a:lnTo>
                  <a:pt x="2420" y="2366"/>
                </a:lnTo>
                <a:lnTo>
                  <a:pt x="2440" y="2352"/>
                </a:lnTo>
                <a:lnTo>
                  <a:pt x="2456" y="2342"/>
                </a:lnTo>
                <a:lnTo>
                  <a:pt x="2465" y="2332"/>
                </a:lnTo>
                <a:lnTo>
                  <a:pt x="2463" y="2317"/>
                </a:lnTo>
                <a:lnTo>
                  <a:pt x="2463" y="2304"/>
                </a:lnTo>
                <a:lnTo>
                  <a:pt x="2468" y="2291"/>
                </a:lnTo>
                <a:lnTo>
                  <a:pt x="2471" y="2278"/>
                </a:lnTo>
                <a:lnTo>
                  <a:pt x="2476" y="2264"/>
                </a:lnTo>
                <a:lnTo>
                  <a:pt x="2479" y="2251"/>
                </a:lnTo>
                <a:lnTo>
                  <a:pt x="2481" y="2235"/>
                </a:lnTo>
                <a:lnTo>
                  <a:pt x="2479" y="2222"/>
                </a:lnTo>
                <a:lnTo>
                  <a:pt x="2490" y="2220"/>
                </a:lnTo>
                <a:lnTo>
                  <a:pt x="2501" y="2216"/>
                </a:lnTo>
                <a:lnTo>
                  <a:pt x="2513" y="2213"/>
                </a:lnTo>
                <a:lnTo>
                  <a:pt x="2525" y="2208"/>
                </a:lnTo>
                <a:lnTo>
                  <a:pt x="2536" y="2204"/>
                </a:lnTo>
                <a:lnTo>
                  <a:pt x="2547" y="2201"/>
                </a:lnTo>
                <a:lnTo>
                  <a:pt x="2558" y="2196"/>
                </a:lnTo>
                <a:lnTo>
                  <a:pt x="2569" y="2193"/>
                </a:lnTo>
                <a:lnTo>
                  <a:pt x="2574" y="2172"/>
                </a:lnTo>
                <a:lnTo>
                  <a:pt x="2581" y="2153"/>
                </a:lnTo>
                <a:lnTo>
                  <a:pt x="2589" y="2133"/>
                </a:lnTo>
                <a:lnTo>
                  <a:pt x="2598" y="2111"/>
                </a:lnTo>
                <a:lnTo>
                  <a:pt x="2606" y="2115"/>
                </a:lnTo>
                <a:lnTo>
                  <a:pt x="2612" y="2117"/>
                </a:lnTo>
                <a:lnTo>
                  <a:pt x="2619" y="2120"/>
                </a:lnTo>
                <a:lnTo>
                  <a:pt x="2627" y="2123"/>
                </a:lnTo>
                <a:lnTo>
                  <a:pt x="2634" y="2126"/>
                </a:lnTo>
                <a:lnTo>
                  <a:pt x="2643" y="2128"/>
                </a:lnTo>
                <a:lnTo>
                  <a:pt x="2651" y="2131"/>
                </a:lnTo>
                <a:lnTo>
                  <a:pt x="2659" y="2133"/>
                </a:lnTo>
                <a:lnTo>
                  <a:pt x="2667" y="2115"/>
                </a:lnTo>
                <a:lnTo>
                  <a:pt x="2673" y="2098"/>
                </a:lnTo>
                <a:lnTo>
                  <a:pt x="2677" y="2080"/>
                </a:lnTo>
                <a:lnTo>
                  <a:pt x="2682" y="2064"/>
                </a:lnTo>
                <a:lnTo>
                  <a:pt x="2687" y="2058"/>
                </a:lnTo>
                <a:lnTo>
                  <a:pt x="2692" y="2053"/>
                </a:lnTo>
                <a:lnTo>
                  <a:pt x="2698" y="2049"/>
                </a:lnTo>
                <a:lnTo>
                  <a:pt x="2704" y="2042"/>
                </a:lnTo>
                <a:lnTo>
                  <a:pt x="2710" y="2038"/>
                </a:lnTo>
                <a:lnTo>
                  <a:pt x="2715" y="2032"/>
                </a:lnTo>
                <a:lnTo>
                  <a:pt x="2721" y="2026"/>
                </a:lnTo>
                <a:lnTo>
                  <a:pt x="2725" y="2021"/>
                </a:lnTo>
                <a:lnTo>
                  <a:pt x="2735" y="2005"/>
                </a:lnTo>
                <a:lnTo>
                  <a:pt x="2746" y="1989"/>
                </a:lnTo>
                <a:lnTo>
                  <a:pt x="2757" y="1972"/>
                </a:lnTo>
                <a:lnTo>
                  <a:pt x="2769" y="1957"/>
                </a:lnTo>
                <a:lnTo>
                  <a:pt x="2781" y="1940"/>
                </a:lnTo>
                <a:lnTo>
                  <a:pt x="2793" y="1925"/>
                </a:lnTo>
                <a:lnTo>
                  <a:pt x="2807" y="1907"/>
                </a:lnTo>
                <a:lnTo>
                  <a:pt x="2821" y="1891"/>
                </a:lnTo>
                <a:lnTo>
                  <a:pt x="2844" y="1871"/>
                </a:lnTo>
                <a:lnTo>
                  <a:pt x="2869" y="1850"/>
                </a:lnTo>
                <a:lnTo>
                  <a:pt x="2892" y="1829"/>
                </a:lnTo>
                <a:lnTo>
                  <a:pt x="2916" y="1809"/>
                </a:lnTo>
                <a:lnTo>
                  <a:pt x="2940" y="1787"/>
                </a:lnTo>
                <a:lnTo>
                  <a:pt x="2963" y="1765"/>
                </a:lnTo>
                <a:lnTo>
                  <a:pt x="2985" y="1743"/>
                </a:lnTo>
                <a:lnTo>
                  <a:pt x="3008" y="1721"/>
                </a:lnTo>
                <a:lnTo>
                  <a:pt x="3030" y="1698"/>
                </a:lnTo>
                <a:lnTo>
                  <a:pt x="3054" y="1676"/>
                </a:lnTo>
                <a:lnTo>
                  <a:pt x="3077" y="1653"/>
                </a:lnTo>
                <a:lnTo>
                  <a:pt x="3100" y="1629"/>
                </a:lnTo>
                <a:lnTo>
                  <a:pt x="3122" y="1605"/>
                </a:lnTo>
                <a:lnTo>
                  <a:pt x="3146" y="1581"/>
                </a:lnTo>
                <a:lnTo>
                  <a:pt x="3171" y="1558"/>
                </a:lnTo>
                <a:lnTo>
                  <a:pt x="3194" y="1534"/>
                </a:lnTo>
                <a:lnTo>
                  <a:pt x="3219" y="1508"/>
                </a:lnTo>
                <a:lnTo>
                  <a:pt x="3244" y="1485"/>
                </a:lnTo>
                <a:lnTo>
                  <a:pt x="3270" y="1460"/>
                </a:lnTo>
                <a:lnTo>
                  <a:pt x="3296" y="1435"/>
                </a:lnTo>
                <a:lnTo>
                  <a:pt x="3322" y="1409"/>
                </a:lnTo>
                <a:lnTo>
                  <a:pt x="3350" y="1385"/>
                </a:lnTo>
                <a:lnTo>
                  <a:pt x="3380" y="1360"/>
                </a:lnTo>
                <a:lnTo>
                  <a:pt x="3409" y="1335"/>
                </a:lnTo>
                <a:lnTo>
                  <a:pt x="3439" y="1309"/>
                </a:lnTo>
                <a:lnTo>
                  <a:pt x="3470" y="1283"/>
                </a:lnTo>
                <a:lnTo>
                  <a:pt x="3501" y="1258"/>
                </a:lnTo>
                <a:lnTo>
                  <a:pt x="3535" y="1231"/>
                </a:lnTo>
                <a:lnTo>
                  <a:pt x="3569" y="1208"/>
                </a:lnTo>
                <a:lnTo>
                  <a:pt x="3604" y="1181"/>
                </a:lnTo>
                <a:lnTo>
                  <a:pt x="3641" y="1156"/>
                </a:lnTo>
                <a:lnTo>
                  <a:pt x="3679" y="1130"/>
                </a:lnTo>
                <a:lnTo>
                  <a:pt x="3695" y="1119"/>
                </a:lnTo>
                <a:lnTo>
                  <a:pt x="3712" y="1107"/>
                </a:lnTo>
                <a:lnTo>
                  <a:pt x="3730" y="1097"/>
                </a:lnTo>
                <a:lnTo>
                  <a:pt x="3746" y="1085"/>
                </a:lnTo>
                <a:lnTo>
                  <a:pt x="3764" y="1076"/>
                </a:lnTo>
                <a:lnTo>
                  <a:pt x="3781" y="1065"/>
                </a:lnTo>
                <a:lnTo>
                  <a:pt x="3799" y="1054"/>
                </a:lnTo>
                <a:lnTo>
                  <a:pt x="3818" y="1045"/>
                </a:lnTo>
                <a:lnTo>
                  <a:pt x="3827" y="1039"/>
                </a:lnTo>
                <a:lnTo>
                  <a:pt x="3839" y="1035"/>
                </a:lnTo>
                <a:lnTo>
                  <a:pt x="3849" y="1030"/>
                </a:lnTo>
                <a:lnTo>
                  <a:pt x="3859" y="1025"/>
                </a:lnTo>
                <a:lnTo>
                  <a:pt x="3869" y="1019"/>
                </a:lnTo>
                <a:lnTo>
                  <a:pt x="3880" y="1015"/>
                </a:lnTo>
                <a:lnTo>
                  <a:pt x="3890" y="1008"/>
                </a:lnTo>
                <a:lnTo>
                  <a:pt x="3901" y="1003"/>
                </a:lnTo>
                <a:lnTo>
                  <a:pt x="3920" y="991"/>
                </a:lnTo>
                <a:lnTo>
                  <a:pt x="3938" y="980"/>
                </a:lnTo>
                <a:lnTo>
                  <a:pt x="3957" y="970"/>
                </a:lnTo>
                <a:lnTo>
                  <a:pt x="3975" y="956"/>
                </a:lnTo>
                <a:lnTo>
                  <a:pt x="3994" y="946"/>
                </a:lnTo>
                <a:lnTo>
                  <a:pt x="4012" y="932"/>
                </a:lnTo>
                <a:lnTo>
                  <a:pt x="4031" y="922"/>
                </a:lnTo>
                <a:lnTo>
                  <a:pt x="4049" y="910"/>
                </a:lnTo>
                <a:lnTo>
                  <a:pt x="4061" y="901"/>
                </a:lnTo>
                <a:lnTo>
                  <a:pt x="4074" y="891"/>
                </a:lnTo>
                <a:lnTo>
                  <a:pt x="4085" y="882"/>
                </a:lnTo>
                <a:lnTo>
                  <a:pt x="4099" y="872"/>
                </a:lnTo>
                <a:lnTo>
                  <a:pt x="4112" y="863"/>
                </a:lnTo>
                <a:lnTo>
                  <a:pt x="4125" y="854"/>
                </a:lnTo>
                <a:lnTo>
                  <a:pt x="4137" y="845"/>
                </a:lnTo>
                <a:lnTo>
                  <a:pt x="4151" y="835"/>
                </a:lnTo>
                <a:lnTo>
                  <a:pt x="4156" y="823"/>
                </a:lnTo>
                <a:lnTo>
                  <a:pt x="4161" y="811"/>
                </a:lnTo>
                <a:lnTo>
                  <a:pt x="4166" y="801"/>
                </a:lnTo>
                <a:lnTo>
                  <a:pt x="4170" y="792"/>
                </a:lnTo>
                <a:lnTo>
                  <a:pt x="4179" y="783"/>
                </a:lnTo>
                <a:lnTo>
                  <a:pt x="4187" y="778"/>
                </a:lnTo>
                <a:lnTo>
                  <a:pt x="4195" y="770"/>
                </a:lnTo>
                <a:lnTo>
                  <a:pt x="4204" y="764"/>
                </a:lnTo>
                <a:lnTo>
                  <a:pt x="4212" y="756"/>
                </a:lnTo>
                <a:lnTo>
                  <a:pt x="4221" y="750"/>
                </a:lnTo>
                <a:lnTo>
                  <a:pt x="4230" y="743"/>
                </a:lnTo>
                <a:lnTo>
                  <a:pt x="4239" y="737"/>
                </a:lnTo>
                <a:lnTo>
                  <a:pt x="4242" y="743"/>
                </a:lnTo>
                <a:lnTo>
                  <a:pt x="4245" y="749"/>
                </a:lnTo>
                <a:lnTo>
                  <a:pt x="4248" y="755"/>
                </a:lnTo>
                <a:lnTo>
                  <a:pt x="4250" y="762"/>
                </a:lnTo>
                <a:lnTo>
                  <a:pt x="4264" y="752"/>
                </a:lnTo>
                <a:lnTo>
                  <a:pt x="4276" y="746"/>
                </a:lnTo>
                <a:lnTo>
                  <a:pt x="4290" y="737"/>
                </a:lnTo>
                <a:lnTo>
                  <a:pt x="4304" y="728"/>
                </a:lnTo>
                <a:lnTo>
                  <a:pt x="4317" y="721"/>
                </a:lnTo>
                <a:lnTo>
                  <a:pt x="4331" y="712"/>
                </a:lnTo>
                <a:lnTo>
                  <a:pt x="4345" y="705"/>
                </a:lnTo>
                <a:lnTo>
                  <a:pt x="4356" y="697"/>
                </a:lnTo>
                <a:lnTo>
                  <a:pt x="4366" y="683"/>
                </a:lnTo>
                <a:lnTo>
                  <a:pt x="4375" y="665"/>
                </a:lnTo>
                <a:lnTo>
                  <a:pt x="4385" y="649"/>
                </a:lnTo>
                <a:lnTo>
                  <a:pt x="4393" y="634"/>
                </a:lnTo>
                <a:lnTo>
                  <a:pt x="4404" y="624"/>
                </a:lnTo>
                <a:lnTo>
                  <a:pt x="4416" y="615"/>
                </a:lnTo>
                <a:lnTo>
                  <a:pt x="4429" y="606"/>
                </a:lnTo>
                <a:lnTo>
                  <a:pt x="4441" y="598"/>
                </a:lnTo>
                <a:lnTo>
                  <a:pt x="4452" y="590"/>
                </a:lnTo>
                <a:lnTo>
                  <a:pt x="4465" y="580"/>
                </a:lnTo>
                <a:lnTo>
                  <a:pt x="4475" y="570"/>
                </a:lnTo>
                <a:lnTo>
                  <a:pt x="4485" y="562"/>
                </a:lnTo>
                <a:lnTo>
                  <a:pt x="4490" y="547"/>
                </a:lnTo>
                <a:lnTo>
                  <a:pt x="4494" y="532"/>
                </a:lnTo>
                <a:lnTo>
                  <a:pt x="4499" y="517"/>
                </a:lnTo>
                <a:lnTo>
                  <a:pt x="4506" y="501"/>
                </a:lnTo>
                <a:lnTo>
                  <a:pt x="4516" y="492"/>
                </a:lnTo>
                <a:lnTo>
                  <a:pt x="4529" y="484"/>
                </a:lnTo>
                <a:lnTo>
                  <a:pt x="4541" y="477"/>
                </a:lnTo>
                <a:lnTo>
                  <a:pt x="4553" y="468"/>
                </a:lnTo>
                <a:lnTo>
                  <a:pt x="4564" y="459"/>
                </a:lnTo>
                <a:lnTo>
                  <a:pt x="4577" y="450"/>
                </a:lnTo>
                <a:lnTo>
                  <a:pt x="4587" y="443"/>
                </a:lnTo>
                <a:lnTo>
                  <a:pt x="4597" y="435"/>
                </a:lnTo>
                <a:lnTo>
                  <a:pt x="4611" y="430"/>
                </a:lnTo>
                <a:lnTo>
                  <a:pt x="4625" y="426"/>
                </a:lnTo>
                <a:lnTo>
                  <a:pt x="4638" y="422"/>
                </a:lnTo>
                <a:lnTo>
                  <a:pt x="4650" y="418"/>
                </a:lnTo>
                <a:lnTo>
                  <a:pt x="4664" y="413"/>
                </a:lnTo>
                <a:lnTo>
                  <a:pt x="4676" y="410"/>
                </a:lnTo>
                <a:lnTo>
                  <a:pt x="4688" y="405"/>
                </a:lnTo>
                <a:lnTo>
                  <a:pt x="4702" y="401"/>
                </a:lnTo>
                <a:lnTo>
                  <a:pt x="4708" y="393"/>
                </a:lnTo>
                <a:lnTo>
                  <a:pt x="4714" y="384"/>
                </a:lnTo>
                <a:lnTo>
                  <a:pt x="4720" y="377"/>
                </a:lnTo>
                <a:lnTo>
                  <a:pt x="4726" y="367"/>
                </a:lnTo>
                <a:lnTo>
                  <a:pt x="4733" y="359"/>
                </a:lnTo>
                <a:lnTo>
                  <a:pt x="4739" y="350"/>
                </a:lnTo>
                <a:lnTo>
                  <a:pt x="4745" y="341"/>
                </a:lnTo>
                <a:lnTo>
                  <a:pt x="4751" y="332"/>
                </a:lnTo>
                <a:lnTo>
                  <a:pt x="4761" y="326"/>
                </a:lnTo>
                <a:lnTo>
                  <a:pt x="4772" y="319"/>
                </a:lnTo>
                <a:lnTo>
                  <a:pt x="4781" y="312"/>
                </a:lnTo>
                <a:lnTo>
                  <a:pt x="4790" y="305"/>
                </a:lnTo>
                <a:lnTo>
                  <a:pt x="4800" y="298"/>
                </a:lnTo>
                <a:lnTo>
                  <a:pt x="4810" y="291"/>
                </a:lnTo>
                <a:lnTo>
                  <a:pt x="4819" y="283"/>
                </a:lnTo>
                <a:lnTo>
                  <a:pt x="4827" y="275"/>
                </a:lnTo>
                <a:lnTo>
                  <a:pt x="4833" y="280"/>
                </a:lnTo>
                <a:lnTo>
                  <a:pt x="4840" y="285"/>
                </a:lnTo>
                <a:lnTo>
                  <a:pt x="4848" y="292"/>
                </a:lnTo>
                <a:lnTo>
                  <a:pt x="4852" y="297"/>
                </a:lnTo>
                <a:lnTo>
                  <a:pt x="4862" y="289"/>
                </a:lnTo>
                <a:lnTo>
                  <a:pt x="4873" y="280"/>
                </a:lnTo>
                <a:lnTo>
                  <a:pt x="4882" y="272"/>
                </a:lnTo>
                <a:lnTo>
                  <a:pt x="4893" y="264"/>
                </a:lnTo>
                <a:lnTo>
                  <a:pt x="4902" y="253"/>
                </a:lnTo>
                <a:lnTo>
                  <a:pt x="4912" y="244"/>
                </a:lnTo>
                <a:lnTo>
                  <a:pt x="4923" y="236"/>
                </a:lnTo>
                <a:lnTo>
                  <a:pt x="4933" y="228"/>
                </a:lnTo>
                <a:lnTo>
                  <a:pt x="4921" y="233"/>
                </a:lnTo>
                <a:lnTo>
                  <a:pt x="4910" y="239"/>
                </a:lnTo>
                <a:lnTo>
                  <a:pt x="4898" y="246"/>
                </a:lnTo>
                <a:lnTo>
                  <a:pt x="4884" y="250"/>
                </a:lnTo>
                <a:lnTo>
                  <a:pt x="4873" y="257"/>
                </a:lnTo>
                <a:lnTo>
                  <a:pt x="4862" y="262"/>
                </a:lnTo>
                <a:lnTo>
                  <a:pt x="4850" y="267"/>
                </a:lnTo>
                <a:lnTo>
                  <a:pt x="4838" y="272"/>
                </a:lnTo>
                <a:lnTo>
                  <a:pt x="4849" y="246"/>
                </a:lnTo>
                <a:lnTo>
                  <a:pt x="4858" y="223"/>
                </a:lnTo>
                <a:lnTo>
                  <a:pt x="4864" y="199"/>
                </a:lnTo>
                <a:lnTo>
                  <a:pt x="4869" y="175"/>
                </a:lnTo>
                <a:lnTo>
                  <a:pt x="4861" y="182"/>
                </a:lnTo>
                <a:lnTo>
                  <a:pt x="4852" y="191"/>
                </a:lnTo>
                <a:lnTo>
                  <a:pt x="4842" y="200"/>
                </a:lnTo>
                <a:lnTo>
                  <a:pt x="4832" y="208"/>
                </a:lnTo>
                <a:lnTo>
                  <a:pt x="4823" y="216"/>
                </a:lnTo>
                <a:lnTo>
                  <a:pt x="4813" y="224"/>
                </a:lnTo>
                <a:lnTo>
                  <a:pt x="4801" y="233"/>
                </a:lnTo>
                <a:lnTo>
                  <a:pt x="4792" y="242"/>
                </a:lnTo>
                <a:lnTo>
                  <a:pt x="4785" y="252"/>
                </a:lnTo>
                <a:lnTo>
                  <a:pt x="4776" y="262"/>
                </a:lnTo>
                <a:lnTo>
                  <a:pt x="4768" y="272"/>
                </a:lnTo>
                <a:lnTo>
                  <a:pt x="4761" y="283"/>
                </a:lnTo>
                <a:lnTo>
                  <a:pt x="4754" y="295"/>
                </a:lnTo>
                <a:lnTo>
                  <a:pt x="4746" y="305"/>
                </a:lnTo>
                <a:lnTo>
                  <a:pt x="4739" y="317"/>
                </a:lnTo>
                <a:lnTo>
                  <a:pt x="4732" y="328"/>
                </a:lnTo>
                <a:lnTo>
                  <a:pt x="4724" y="332"/>
                </a:lnTo>
                <a:lnTo>
                  <a:pt x="4717" y="337"/>
                </a:lnTo>
                <a:lnTo>
                  <a:pt x="4710" y="343"/>
                </a:lnTo>
                <a:lnTo>
                  <a:pt x="4704" y="349"/>
                </a:lnTo>
                <a:lnTo>
                  <a:pt x="4696" y="354"/>
                </a:lnTo>
                <a:lnTo>
                  <a:pt x="4689" y="359"/>
                </a:lnTo>
                <a:lnTo>
                  <a:pt x="4683" y="363"/>
                </a:lnTo>
                <a:lnTo>
                  <a:pt x="4676" y="368"/>
                </a:lnTo>
                <a:lnTo>
                  <a:pt x="4671" y="367"/>
                </a:lnTo>
                <a:lnTo>
                  <a:pt x="4666" y="366"/>
                </a:lnTo>
                <a:lnTo>
                  <a:pt x="4662" y="363"/>
                </a:lnTo>
                <a:lnTo>
                  <a:pt x="4658" y="362"/>
                </a:lnTo>
                <a:lnTo>
                  <a:pt x="4653" y="361"/>
                </a:lnTo>
                <a:lnTo>
                  <a:pt x="4648" y="359"/>
                </a:lnTo>
                <a:lnTo>
                  <a:pt x="4642" y="357"/>
                </a:lnTo>
                <a:lnTo>
                  <a:pt x="4638" y="357"/>
                </a:lnTo>
                <a:lnTo>
                  <a:pt x="4616" y="374"/>
                </a:lnTo>
                <a:lnTo>
                  <a:pt x="4595" y="393"/>
                </a:lnTo>
                <a:lnTo>
                  <a:pt x="4573" y="412"/>
                </a:lnTo>
                <a:lnTo>
                  <a:pt x="4552" y="430"/>
                </a:lnTo>
                <a:lnTo>
                  <a:pt x="4529" y="449"/>
                </a:lnTo>
                <a:lnTo>
                  <a:pt x="4506" y="468"/>
                </a:lnTo>
                <a:lnTo>
                  <a:pt x="4484" y="487"/>
                </a:lnTo>
                <a:lnTo>
                  <a:pt x="4461" y="506"/>
                </a:lnTo>
                <a:lnTo>
                  <a:pt x="4450" y="511"/>
                </a:lnTo>
                <a:lnTo>
                  <a:pt x="4441" y="517"/>
                </a:lnTo>
                <a:lnTo>
                  <a:pt x="4431" y="521"/>
                </a:lnTo>
                <a:lnTo>
                  <a:pt x="4422" y="528"/>
                </a:lnTo>
                <a:lnTo>
                  <a:pt x="4411" y="532"/>
                </a:lnTo>
                <a:lnTo>
                  <a:pt x="4403" y="537"/>
                </a:lnTo>
                <a:lnTo>
                  <a:pt x="4393" y="543"/>
                </a:lnTo>
                <a:lnTo>
                  <a:pt x="4385" y="548"/>
                </a:lnTo>
                <a:lnTo>
                  <a:pt x="4378" y="546"/>
                </a:lnTo>
                <a:lnTo>
                  <a:pt x="4372" y="543"/>
                </a:lnTo>
                <a:lnTo>
                  <a:pt x="4366" y="541"/>
                </a:lnTo>
                <a:lnTo>
                  <a:pt x="4362" y="537"/>
                </a:lnTo>
                <a:lnTo>
                  <a:pt x="4355" y="535"/>
                </a:lnTo>
                <a:lnTo>
                  <a:pt x="4351" y="532"/>
                </a:lnTo>
                <a:lnTo>
                  <a:pt x="4345" y="530"/>
                </a:lnTo>
                <a:lnTo>
                  <a:pt x="4339" y="528"/>
                </a:lnTo>
                <a:lnTo>
                  <a:pt x="4314" y="546"/>
                </a:lnTo>
                <a:lnTo>
                  <a:pt x="4289" y="563"/>
                </a:lnTo>
                <a:lnTo>
                  <a:pt x="4264" y="581"/>
                </a:lnTo>
                <a:lnTo>
                  <a:pt x="4239" y="599"/>
                </a:lnTo>
                <a:lnTo>
                  <a:pt x="4215" y="617"/>
                </a:lnTo>
                <a:lnTo>
                  <a:pt x="4189" y="635"/>
                </a:lnTo>
                <a:lnTo>
                  <a:pt x="4164" y="653"/>
                </a:lnTo>
                <a:lnTo>
                  <a:pt x="4139" y="670"/>
                </a:lnTo>
                <a:lnTo>
                  <a:pt x="4114" y="688"/>
                </a:lnTo>
                <a:lnTo>
                  <a:pt x="4089" y="708"/>
                </a:lnTo>
                <a:lnTo>
                  <a:pt x="4064" y="724"/>
                </a:lnTo>
                <a:lnTo>
                  <a:pt x="4039" y="743"/>
                </a:lnTo>
                <a:lnTo>
                  <a:pt x="4014" y="761"/>
                </a:lnTo>
                <a:lnTo>
                  <a:pt x="3988" y="779"/>
                </a:lnTo>
                <a:lnTo>
                  <a:pt x="3964" y="798"/>
                </a:lnTo>
                <a:lnTo>
                  <a:pt x="3938" y="816"/>
                </a:lnTo>
                <a:lnTo>
                  <a:pt x="3932" y="808"/>
                </a:lnTo>
                <a:lnTo>
                  <a:pt x="3926" y="801"/>
                </a:lnTo>
                <a:lnTo>
                  <a:pt x="3920" y="791"/>
                </a:lnTo>
                <a:lnTo>
                  <a:pt x="3916" y="780"/>
                </a:lnTo>
                <a:lnTo>
                  <a:pt x="3926" y="773"/>
                </a:lnTo>
                <a:lnTo>
                  <a:pt x="3934" y="766"/>
                </a:lnTo>
                <a:lnTo>
                  <a:pt x="3944" y="756"/>
                </a:lnTo>
                <a:lnTo>
                  <a:pt x="3953" y="748"/>
                </a:lnTo>
                <a:lnTo>
                  <a:pt x="3963" y="739"/>
                </a:lnTo>
                <a:lnTo>
                  <a:pt x="3972" y="731"/>
                </a:lnTo>
                <a:lnTo>
                  <a:pt x="3982" y="721"/>
                </a:lnTo>
                <a:lnTo>
                  <a:pt x="3993" y="713"/>
                </a:lnTo>
                <a:lnTo>
                  <a:pt x="4000" y="711"/>
                </a:lnTo>
                <a:lnTo>
                  <a:pt x="4007" y="708"/>
                </a:lnTo>
                <a:lnTo>
                  <a:pt x="4014" y="708"/>
                </a:lnTo>
                <a:lnTo>
                  <a:pt x="4023" y="705"/>
                </a:lnTo>
                <a:lnTo>
                  <a:pt x="4031" y="702"/>
                </a:lnTo>
                <a:lnTo>
                  <a:pt x="4038" y="699"/>
                </a:lnTo>
                <a:lnTo>
                  <a:pt x="4047" y="696"/>
                </a:lnTo>
                <a:lnTo>
                  <a:pt x="4054" y="694"/>
                </a:lnTo>
                <a:lnTo>
                  <a:pt x="4058" y="687"/>
                </a:lnTo>
                <a:lnTo>
                  <a:pt x="4063" y="680"/>
                </a:lnTo>
                <a:lnTo>
                  <a:pt x="4069" y="674"/>
                </a:lnTo>
                <a:lnTo>
                  <a:pt x="4074" y="666"/>
                </a:lnTo>
                <a:lnTo>
                  <a:pt x="4078" y="659"/>
                </a:lnTo>
                <a:lnTo>
                  <a:pt x="4083" y="652"/>
                </a:lnTo>
                <a:lnTo>
                  <a:pt x="4089" y="644"/>
                </a:lnTo>
                <a:lnTo>
                  <a:pt x="4094" y="636"/>
                </a:lnTo>
                <a:lnTo>
                  <a:pt x="4104" y="632"/>
                </a:lnTo>
                <a:lnTo>
                  <a:pt x="4113" y="626"/>
                </a:lnTo>
                <a:lnTo>
                  <a:pt x="4123" y="621"/>
                </a:lnTo>
                <a:lnTo>
                  <a:pt x="4133" y="615"/>
                </a:lnTo>
                <a:lnTo>
                  <a:pt x="4141" y="609"/>
                </a:lnTo>
                <a:lnTo>
                  <a:pt x="4151" y="604"/>
                </a:lnTo>
                <a:lnTo>
                  <a:pt x="4161" y="598"/>
                </a:lnTo>
                <a:lnTo>
                  <a:pt x="4170" y="593"/>
                </a:lnTo>
                <a:lnTo>
                  <a:pt x="4177" y="579"/>
                </a:lnTo>
                <a:lnTo>
                  <a:pt x="4185" y="566"/>
                </a:lnTo>
                <a:lnTo>
                  <a:pt x="4191" y="552"/>
                </a:lnTo>
                <a:lnTo>
                  <a:pt x="4199" y="537"/>
                </a:lnTo>
                <a:lnTo>
                  <a:pt x="4205" y="530"/>
                </a:lnTo>
                <a:lnTo>
                  <a:pt x="4212" y="524"/>
                </a:lnTo>
                <a:lnTo>
                  <a:pt x="4219" y="517"/>
                </a:lnTo>
                <a:lnTo>
                  <a:pt x="4226" y="511"/>
                </a:lnTo>
                <a:lnTo>
                  <a:pt x="4233" y="505"/>
                </a:lnTo>
                <a:lnTo>
                  <a:pt x="4241" y="499"/>
                </a:lnTo>
                <a:lnTo>
                  <a:pt x="4249" y="492"/>
                </a:lnTo>
                <a:lnTo>
                  <a:pt x="4256" y="486"/>
                </a:lnTo>
                <a:lnTo>
                  <a:pt x="4250" y="484"/>
                </a:lnTo>
                <a:lnTo>
                  <a:pt x="4245" y="481"/>
                </a:lnTo>
                <a:lnTo>
                  <a:pt x="4239" y="479"/>
                </a:lnTo>
                <a:lnTo>
                  <a:pt x="4233" y="475"/>
                </a:lnTo>
                <a:lnTo>
                  <a:pt x="4228" y="473"/>
                </a:lnTo>
                <a:lnTo>
                  <a:pt x="4221" y="469"/>
                </a:lnTo>
                <a:lnTo>
                  <a:pt x="4216" y="466"/>
                </a:lnTo>
                <a:lnTo>
                  <a:pt x="4210" y="461"/>
                </a:lnTo>
                <a:lnTo>
                  <a:pt x="4221" y="453"/>
                </a:lnTo>
                <a:lnTo>
                  <a:pt x="4232" y="444"/>
                </a:lnTo>
                <a:lnTo>
                  <a:pt x="4243" y="436"/>
                </a:lnTo>
                <a:lnTo>
                  <a:pt x="4255" y="426"/>
                </a:lnTo>
                <a:lnTo>
                  <a:pt x="4267" y="418"/>
                </a:lnTo>
                <a:lnTo>
                  <a:pt x="4278" y="410"/>
                </a:lnTo>
                <a:lnTo>
                  <a:pt x="4289" y="401"/>
                </a:lnTo>
                <a:lnTo>
                  <a:pt x="4300" y="392"/>
                </a:lnTo>
                <a:lnTo>
                  <a:pt x="4306" y="386"/>
                </a:lnTo>
                <a:lnTo>
                  <a:pt x="4314" y="381"/>
                </a:lnTo>
                <a:lnTo>
                  <a:pt x="4322" y="374"/>
                </a:lnTo>
                <a:lnTo>
                  <a:pt x="4327" y="367"/>
                </a:lnTo>
                <a:lnTo>
                  <a:pt x="4336" y="357"/>
                </a:lnTo>
                <a:lnTo>
                  <a:pt x="4347" y="346"/>
                </a:lnTo>
                <a:lnTo>
                  <a:pt x="4354" y="334"/>
                </a:lnTo>
                <a:lnTo>
                  <a:pt x="4362" y="323"/>
                </a:lnTo>
                <a:lnTo>
                  <a:pt x="4371" y="311"/>
                </a:lnTo>
                <a:lnTo>
                  <a:pt x="4380" y="300"/>
                </a:lnTo>
                <a:lnTo>
                  <a:pt x="4389" y="289"/>
                </a:lnTo>
                <a:lnTo>
                  <a:pt x="4397" y="277"/>
                </a:lnTo>
                <a:lnTo>
                  <a:pt x="4375" y="288"/>
                </a:lnTo>
                <a:lnTo>
                  <a:pt x="4356" y="297"/>
                </a:lnTo>
                <a:lnTo>
                  <a:pt x="4335" y="306"/>
                </a:lnTo>
                <a:lnTo>
                  <a:pt x="4316" y="315"/>
                </a:lnTo>
                <a:lnTo>
                  <a:pt x="4294" y="326"/>
                </a:lnTo>
                <a:lnTo>
                  <a:pt x="4274" y="335"/>
                </a:lnTo>
                <a:lnTo>
                  <a:pt x="4252" y="347"/>
                </a:lnTo>
                <a:lnTo>
                  <a:pt x="4232" y="357"/>
                </a:lnTo>
                <a:lnTo>
                  <a:pt x="4228" y="354"/>
                </a:lnTo>
                <a:lnTo>
                  <a:pt x="4224" y="351"/>
                </a:lnTo>
                <a:lnTo>
                  <a:pt x="4218" y="350"/>
                </a:lnTo>
                <a:lnTo>
                  <a:pt x="4214" y="348"/>
                </a:lnTo>
                <a:lnTo>
                  <a:pt x="4208" y="347"/>
                </a:lnTo>
                <a:lnTo>
                  <a:pt x="4204" y="343"/>
                </a:lnTo>
                <a:lnTo>
                  <a:pt x="4200" y="343"/>
                </a:lnTo>
                <a:lnTo>
                  <a:pt x="4195" y="342"/>
                </a:lnTo>
                <a:lnTo>
                  <a:pt x="4201" y="336"/>
                </a:lnTo>
                <a:lnTo>
                  <a:pt x="4208" y="330"/>
                </a:lnTo>
                <a:lnTo>
                  <a:pt x="4214" y="324"/>
                </a:lnTo>
                <a:lnTo>
                  <a:pt x="4219" y="317"/>
                </a:lnTo>
                <a:lnTo>
                  <a:pt x="4226" y="310"/>
                </a:lnTo>
                <a:lnTo>
                  <a:pt x="4232" y="304"/>
                </a:lnTo>
                <a:lnTo>
                  <a:pt x="4239" y="298"/>
                </a:lnTo>
                <a:lnTo>
                  <a:pt x="4247" y="292"/>
                </a:lnTo>
                <a:lnTo>
                  <a:pt x="4266" y="277"/>
                </a:lnTo>
                <a:lnTo>
                  <a:pt x="4287" y="259"/>
                </a:lnTo>
                <a:lnTo>
                  <a:pt x="4312" y="239"/>
                </a:lnTo>
                <a:lnTo>
                  <a:pt x="4339" y="219"/>
                </a:lnTo>
                <a:lnTo>
                  <a:pt x="4366" y="200"/>
                </a:lnTo>
                <a:lnTo>
                  <a:pt x="4391" y="181"/>
                </a:lnTo>
                <a:lnTo>
                  <a:pt x="4413" y="165"/>
                </a:lnTo>
                <a:lnTo>
                  <a:pt x="4430" y="150"/>
                </a:lnTo>
                <a:lnTo>
                  <a:pt x="4434" y="126"/>
                </a:lnTo>
                <a:lnTo>
                  <a:pt x="4431" y="115"/>
                </a:lnTo>
                <a:lnTo>
                  <a:pt x="4424" y="115"/>
                </a:lnTo>
                <a:lnTo>
                  <a:pt x="4414" y="121"/>
                </a:lnTo>
                <a:lnTo>
                  <a:pt x="4402" y="129"/>
                </a:lnTo>
                <a:lnTo>
                  <a:pt x="4391" y="137"/>
                </a:lnTo>
                <a:lnTo>
                  <a:pt x="4383" y="143"/>
                </a:lnTo>
                <a:lnTo>
                  <a:pt x="4375" y="142"/>
                </a:lnTo>
                <a:lnTo>
                  <a:pt x="4366" y="149"/>
                </a:lnTo>
                <a:lnTo>
                  <a:pt x="4353" y="155"/>
                </a:lnTo>
                <a:lnTo>
                  <a:pt x="4337" y="163"/>
                </a:lnTo>
                <a:lnTo>
                  <a:pt x="4322" y="169"/>
                </a:lnTo>
                <a:lnTo>
                  <a:pt x="4306" y="177"/>
                </a:lnTo>
                <a:lnTo>
                  <a:pt x="4290" y="182"/>
                </a:lnTo>
                <a:lnTo>
                  <a:pt x="4276" y="191"/>
                </a:lnTo>
                <a:lnTo>
                  <a:pt x="4266" y="199"/>
                </a:lnTo>
                <a:lnTo>
                  <a:pt x="4261" y="208"/>
                </a:lnTo>
                <a:lnTo>
                  <a:pt x="4258" y="218"/>
                </a:lnTo>
                <a:lnTo>
                  <a:pt x="4255" y="229"/>
                </a:lnTo>
                <a:lnTo>
                  <a:pt x="4252" y="239"/>
                </a:lnTo>
                <a:lnTo>
                  <a:pt x="4247" y="244"/>
                </a:lnTo>
                <a:lnTo>
                  <a:pt x="4242" y="250"/>
                </a:lnTo>
                <a:lnTo>
                  <a:pt x="4236" y="257"/>
                </a:lnTo>
                <a:lnTo>
                  <a:pt x="4230" y="262"/>
                </a:lnTo>
                <a:lnTo>
                  <a:pt x="4221" y="268"/>
                </a:lnTo>
                <a:lnTo>
                  <a:pt x="4216" y="273"/>
                </a:lnTo>
                <a:lnTo>
                  <a:pt x="4208" y="279"/>
                </a:lnTo>
                <a:lnTo>
                  <a:pt x="4201" y="284"/>
                </a:lnTo>
                <a:lnTo>
                  <a:pt x="4195" y="277"/>
                </a:lnTo>
                <a:lnTo>
                  <a:pt x="4191" y="270"/>
                </a:lnTo>
                <a:lnTo>
                  <a:pt x="4185" y="264"/>
                </a:lnTo>
                <a:lnTo>
                  <a:pt x="4177" y="257"/>
                </a:lnTo>
                <a:lnTo>
                  <a:pt x="4172" y="249"/>
                </a:lnTo>
                <a:lnTo>
                  <a:pt x="4164" y="243"/>
                </a:lnTo>
                <a:lnTo>
                  <a:pt x="4158" y="237"/>
                </a:lnTo>
                <a:lnTo>
                  <a:pt x="4153" y="231"/>
                </a:lnTo>
                <a:lnTo>
                  <a:pt x="4161" y="217"/>
                </a:lnTo>
                <a:lnTo>
                  <a:pt x="4168" y="205"/>
                </a:lnTo>
                <a:lnTo>
                  <a:pt x="4175" y="191"/>
                </a:lnTo>
                <a:lnTo>
                  <a:pt x="4185" y="177"/>
                </a:lnTo>
                <a:lnTo>
                  <a:pt x="4195" y="171"/>
                </a:lnTo>
                <a:lnTo>
                  <a:pt x="4203" y="163"/>
                </a:lnTo>
                <a:lnTo>
                  <a:pt x="4211" y="155"/>
                </a:lnTo>
                <a:lnTo>
                  <a:pt x="4219" y="148"/>
                </a:lnTo>
                <a:lnTo>
                  <a:pt x="4229" y="140"/>
                </a:lnTo>
                <a:lnTo>
                  <a:pt x="4237" y="132"/>
                </a:lnTo>
                <a:lnTo>
                  <a:pt x="4245" y="125"/>
                </a:lnTo>
                <a:lnTo>
                  <a:pt x="4252" y="118"/>
                </a:lnTo>
                <a:lnTo>
                  <a:pt x="4259" y="109"/>
                </a:lnTo>
                <a:lnTo>
                  <a:pt x="4264" y="101"/>
                </a:lnTo>
                <a:lnTo>
                  <a:pt x="4270" y="92"/>
                </a:lnTo>
                <a:lnTo>
                  <a:pt x="4275" y="84"/>
                </a:lnTo>
                <a:lnTo>
                  <a:pt x="4281" y="74"/>
                </a:lnTo>
                <a:lnTo>
                  <a:pt x="4286" y="66"/>
                </a:lnTo>
                <a:lnTo>
                  <a:pt x="4292" y="56"/>
                </a:lnTo>
                <a:lnTo>
                  <a:pt x="4298" y="47"/>
                </a:lnTo>
                <a:lnTo>
                  <a:pt x="4289" y="48"/>
                </a:lnTo>
                <a:lnTo>
                  <a:pt x="4279" y="51"/>
                </a:lnTo>
                <a:lnTo>
                  <a:pt x="4270" y="53"/>
                </a:lnTo>
                <a:lnTo>
                  <a:pt x="4259" y="53"/>
                </a:lnTo>
                <a:lnTo>
                  <a:pt x="4249" y="56"/>
                </a:lnTo>
                <a:lnTo>
                  <a:pt x="4239" y="57"/>
                </a:lnTo>
                <a:lnTo>
                  <a:pt x="4229" y="60"/>
                </a:lnTo>
                <a:lnTo>
                  <a:pt x="4218" y="61"/>
                </a:lnTo>
                <a:lnTo>
                  <a:pt x="4221" y="44"/>
                </a:lnTo>
                <a:lnTo>
                  <a:pt x="4226" y="30"/>
                </a:lnTo>
                <a:lnTo>
                  <a:pt x="4228" y="15"/>
                </a:lnTo>
                <a:lnTo>
                  <a:pt x="4230" y="0"/>
                </a:lnTo>
                <a:lnTo>
                  <a:pt x="4219" y="6"/>
                </a:lnTo>
                <a:lnTo>
                  <a:pt x="4210" y="12"/>
                </a:lnTo>
                <a:lnTo>
                  <a:pt x="4200" y="18"/>
                </a:lnTo>
                <a:lnTo>
                  <a:pt x="4191" y="26"/>
                </a:lnTo>
                <a:lnTo>
                  <a:pt x="4181" y="33"/>
                </a:lnTo>
                <a:lnTo>
                  <a:pt x="4172" y="41"/>
                </a:lnTo>
                <a:lnTo>
                  <a:pt x="4164" y="48"/>
                </a:lnTo>
                <a:lnTo>
                  <a:pt x="4154" y="56"/>
                </a:lnTo>
                <a:lnTo>
                  <a:pt x="4149" y="64"/>
                </a:lnTo>
                <a:lnTo>
                  <a:pt x="4143" y="74"/>
                </a:lnTo>
                <a:lnTo>
                  <a:pt x="4137" y="84"/>
                </a:lnTo>
                <a:lnTo>
                  <a:pt x="4133" y="94"/>
                </a:lnTo>
                <a:lnTo>
                  <a:pt x="4127" y="104"/>
                </a:lnTo>
                <a:lnTo>
                  <a:pt x="4122" y="115"/>
                </a:lnTo>
                <a:lnTo>
                  <a:pt x="4116" y="125"/>
                </a:lnTo>
                <a:lnTo>
                  <a:pt x="4112" y="136"/>
                </a:lnTo>
                <a:lnTo>
                  <a:pt x="4102" y="136"/>
                </a:lnTo>
                <a:lnTo>
                  <a:pt x="4094" y="136"/>
                </a:lnTo>
                <a:lnTo>
                  <a:pt x="4085" y="136"/>
                </a:lnTo>
                <a:lnTo>
                  <a:pt x="4078" y="136"/>
                </a:lnTo>
                <a:lnTo>
                  <a:pt x="4069" y="136"/>
                </a:lnTo>
                <a:lnTo>
                  <a:pt x="4061" y="136"/>
                </a:lnTo>
                <a:lnTo>
                  <a:pt x="4052" y="136"/>
                </a:lnTo>
                <a:lnTo>
                  <a:pt x="4044" y="135"/>
                </a:lnTo>
                <a:lnTo>
                  <a:pt x="4030" y="146"/>
                </a:lnTo>
                <a:lnTo>
                  <a:pt x="4014" y="157"/>
                </a:lnTo>
                <a:lnTo>
                  <a:pt x="4000" y="169"/>
                </a:lnTo>
                <a:lnTo>
                  <a:pt x="3985" y="179"/>
                </a:lnTo>
                <a:lnTo>
                  <a:pt x="3970" y="190"/>
                </a:lnTo>
                <a:lnTo>
                  <a:pt x="3955" y="202"/>
                </a:lnTo>
                <a:lnTo>
                  <a:pt x="3941" y="212"/>
                </a:lnTo>
                <a:lnTo>
                  <a:pt x="3924" y="223"/>
                </a:lnTo>
                <a:lnTo>
                  <a:pt x="3877" y="257"/>
                </a:lnTo>
                <a:lnTo>
                  <a:pt x="3828" y="287"/>
                </a:lnTo>
                <a:lnTo>
                  <a:pt x="3781" y="314"/>
                </a:lnTo>
                <a:lnTo>
                  <a:pt x="3733" y="339"/>
                </a:lnTo>
                <a:lnTo>
                  <a:pt x="3685" y="365"/>
                </a:lnTo>
                <a:lnTo>
                  <a:pt x="3638" y="390"/>
                </a:lnTo>
                <a:lnTo>
                  <a:pt x="3589" y="415"/>
                </a:lnTo>
                <a:lnTo>
                  <a:pt x="3542" y="439"/>
                </a:lnTo>
                <a:lnTo>
                  <a:pt x="3495" y="467"/>
                </a:lnTo>
                <a:lnTo>
                  <a:pt x="3448" y="497"/>
                </a:lnTo>
                <a:lnTo>
                  <a:pt x="3400" y="529"/>
                </a:lnTo>
                <a:lnTo>
                  <a:pt x="3353" y="563"/>
                </a:lnTo>
                <a:lnTo>
                  <a:pt x="3307" y="604"/>
                </a:lnTo>
                <a:lnTo>
                  <a:pt x="3261" y="649"/>
                </a:lnTo>
                <a:lnTo>
                  <a:pt x="3214" y="698"/>
                </a:lnTo>
                <a:lnTo>
                  <a:pt x="3166" y="754"/>
                </a:lnTo>
                <a:lnTo>
                  <a:pt x="3122" y="783"/>
                </a:lnTo>
                <a:lnTo>
                  <a:pt x="3088" y="806"/>
                </a:lnTo>
                <a:lnTo>
                  <a:pt x="3063" y="823"/>
                </a:lnTo>
                <a:lnTo>
                  <a:pt x="3046" y="832"/>
                </a:lnTo>
                <a:lnTo>
                  <a:pt x="3038" y="835"/>
                </a:lnTo>
                <a:lnTo>
                  <a:pt x="3036" y="834"/>
                </a:lnTo>
                <a:lnTo>
                  <a:pt x="3038" y="829"/>
                </a:lnTo>
                <a:lnTo>
                  <a:pt x="3045" y="820"/>
                </a:lnTo>
                <a:lnTo>
                  <a:pt x="3055" y="810"/>
                </a:lnTo>
                <a:lnTo>
                  <a:pt x="3066" y="798"/>
                </a:lnTo>
                <a:lnTo>
                  <a:pt x="3080" y="785"/>
                </a:lnTo>
                <a:lnTo>
                  <a:pt x="3094" y="773"/>
                </a:lnTo>
                <a:lnTo>
                  <a:pt x="3105" y="762"/>
                </a:lnTo>
                <a:lnTo>
                  <a:pt x="3115" y="750"/>
                </a:lnTo>
                <a:lnTo>
                  <a:pt x="3122" y="743"/>
                </a:lnTo>
                <a:lnTo>
                  <a:pt x="3124" y="739"/>
                </a:lnTo>
                <a:lnTo>
                  <a:pt x="3147" y="727"/>
                </a:lnTo>
                <a:lnTo>
                  <a:pt x="3165" y="717"/>
                </a:lnTo>
                <a:lnTo>
                  <a:pt x="3178" y="708"/>
                </a:lnTo>
                <a:lnTo>
                  <a:pt x="3186" y="702"/>
                </a:lnTo>
                <a:lnTo>
                  <a:pt x="3191" y="698"/>
                </a:lnTo>
                <a:lnTo>
                  <a:pt x="3194" y="694"/>
                </a:lnTo>
                <a:lnTo>
                  <a:pt x="3191" y="692"/>
                </a:lnTo>
                <a:lnTo>
                  <a:pt x="3188" y="691"/>
                </a:lnTo>
                <a:lnTo>
                  <a:pt x="3184" y="691"/>
                </a:lnTo>
                <a:lnTo>
                  <a:pt x="3180" y="691"/>
                </a:lnTo>
                <a:lnTo>
                  <a:pt x="3175" y="690"/>
                </a:lnTo>
                <a:lnTo>
                  <a:pt x="3171" y="688"/>
                </a:lnTo>
                <a:lnTo>
                  <a:pt x="3168" y="686"/>
                </a:lnTo>
                <a:lnTo>
                  <a:pt x="3168" y="683"/>
                </a:lnTo>
                <a:lnTo>
                  <a:pt x="3171" y="677"/>
                </a:lnTo>
                <a:lnTo>
                  <a:pt x="3176" y="670"/>
                </a:lnTo>
                <a:lnTo>
                  <a:pt x="3184" y="661"/>
                </a:lnTo>
                <a:lnTo>
                  <a:pt x="3196" y="649"/>
                </a:lnTo>
                <a:lnTo>
                  <a:pt x="3214" y="635"/>
                </a:lnTo>
                <a:lnTo>
                  <a:pt x="3236" y="618"/>
                </a:lnTo>
                <a:lnTo>
                  <a:pt x="3264" y="598"/>
                </a:lnTo>
                <a:lnTo>
                  <a:pt x="3299" y="574"/>
                </a:lnTo>
                <a:lnTo>
                  <a:pt x="3339" y="546"/>
                </a:lnTo>
                <a:lnTo>
                  <a:pt x="3387" y="515"/>
                </a:lnTo>
                <a:lnTo>
                  <a:pt x="3444" y="477"/>
                </a:lnTo>
                <a:lnTo>
                  <a:pt x="3507" y="437"/>
                </a:lnTo>
                <a:lnTo>
                  <a:pt x="3581" y="392"/>
                </a:lnTo>
                <a:lnTo>
                  <a:pt x="3664" y="339"/>
                </a:lnTo>
                <a:lnTo>
                  <a:pt x="3757" y="284"/>
                </a:lnTo>
                <a:lnTo>
                  <a:pt x="3862" y="221"/>
                </a:lnTo>
                <a:lnTo>
                  <a:pt x="3976" y="153"/>
                </a:lnTo>
                <a:lnTo>
                  <a:pt x="4003" y="135"/>
                </a:lnTo>
                <a:lnTo>
                  <a:pt x="4025" y="118"/>
                </a:lnTo>
                <a:lnTo>
                  <a:pt x="4043" y="101"/>
                </a:lnTo>
                <a:lnTo>
                  <a:pt x="4056" y="86"/>
                </a:lnTo>
                <a:lnTo>
                  <a:pt x="4064" y="72"/>
                </a:lnTo>
                <a:lnTo>
                  <a:pt x="4069" y="62"/>
                </a:lnTo>
                <a:lnTo>
                  <a:pt x="4069" y="55"/>
                </a:lnTo>
                <a:lnTo>
                  <a:pt x="4064" y="53"/>
                </a:lnTo>
                <a:lnTo>
                  <a:pt x="4039" y="57"/>
                </a:lnTo>
                <a:lnTo>
                  <a:pt x="4012" y="70"/>
                </a:lnTo>
                <a:lnTo>
                  <a:pt x="3985" y="90"/>
                </a:lnTo>
                <a:lnTo>
                  <a:pt x="3958" y="109"/>
                </a:lnTo>
                <a:lnTo>
                  <a:pt x="3934" y="128"/>
                </a:lnTo>
                <a:lnTo>
                  <a:pt x="3913" y="142"/>
                </a:lnTo>
                <a:lnTo>
                  <a:pt x="3896" y="146"/>
                </a:lnTo>
                <a:lnTo>
                  <a:pt x="3884" y="135"/>
                </a:lnTo>
                <a:lnTo>
                  <a:pt x="3870" y="157"/>
                </a:lnTo>
                <a:lnTo>
                  <a:pt x="3868" y="165"/>
                </a:lnTo>
                <a:lnTo>
                  <a:pt x="3870" y="163"/>
                </a:lnTo>
                <a:lnTo>
                  <a:pt x="3874" y="154"/>
                </a:lnTo>
                <a:lnTo>
                  <a:pt x="3871" y="146"/>
                </a:lnTo>
                <a:lnTo>
                  <a:pt x="3858" y="146"/>
                </a:lnTo>
                <a:lnTo>
                  <a:pt x="3826" y="155"/>
                </a:lnTo>
                <a:lnTo>
                  <a:pt x="3772" y="181"/>
                </a:lnTo>
                <a:lnTo>
                  <a:pt x="3755" y="191"/>
                </a:lnTo>
                <a:lnTo>
                  <a:pt x="3735" y="202"/>
                </a:lnTo>
                <a:lnTo>
                  <a:pt x="3714" y="213"/>
                </a:lnTo>
                <a:lnTo>
                  <a:pt x="3691" y="228"/>
                </a:lnTo>
                <a:lnTo>
                  <a:pt x="3668" y="242"/>
                </a:lnTo>
                <a:lnTo>
                  <a:pt x="3643" y="257"/>
                </a:lnTo>
                <a:lnTo>
                  <a:pt x="3616" y="273"/>
                </a:lnTo>
                <a:lnTo>
                  <a:pt x="3589" y="291"/>
                </a:lnTo>
                <a:lnTo>
                  <a:pt x="3561" y="308"/>
                </a:lnTo>
                <a:lnTo>
                  <a:pt x="3532" y="326"/>
                </a:lnTo>
                <a:lnTo>
                  <a:pt x="3503" y="346"/>
                </a:lnTo>
                <a:lnTo>
                  <a:pt x="3472" y="365"/>
                </a:lnTo>
                <a:lnTo>
                  <a:pt x="3443" y="384"/>
                </a:lnTo>
                <a:lnTo>
                  <a:pt x="3412" y="405"/>
                </a:lnTo>
                <a:lnTo>
                  <a:pt x="3380" y="425"/>
                </a:lnTo>
                <a:lnTo>
                  <a:pt x="3349" y="446"/>
                </a:lnTo>
                <a:lnTo>
                  <a:pt x="3318" y="467"/>
                </a:lnTo>
                <a:lnTo>
                  <a:pt x="3285" y="487"/>
                </a:lnTo>
                <a:lnTo>
                  <a:pt x="3256" y="508"/>
                </a:lnTo>
                <a:lnTo>
                  <a:pt x="3225" y="529"/>
                </a:lnTo>
                <a:lnTo>
                  <a:pt x="3195" y="548"/>
                </a:lnTo>
                <a:lnTo>
                  <a:pt x="3165" y="570"/>
                </a:lnTo>
                <a:lnTo>
                  <a:pt x="3138" y="588"/>
                </a:lnTo>
                <a:lnTo>
                  <a:pt x="3109" y="608"/>
                </a:lnTo>
                <a:lnTo>
                  <a:pt x="3082" y="626"/>
                </a:lnTo>
                <a:lnTo>
                  <a:pt x="3057" y="644"/>
                </a:lnTo>
                <a:lnTo>
                  <a:pt x="3032" y="661"/>
                </a:lnTo>
                <a:lnTo>
                  <a:pt x="3008" y="677"/>
                </a:lnTo>
                <a:lnTo>
                  <a:pt x="2985" y="694"/>
                </a:lnTo>
                <a:lnTo>
                  <a:pt x="2965" y="708"/>
                </a:lnTo>
                <a:lnTo>
                  <a:pt x="2946" y="721"/>
                </a:lnTo>
                <a:lnTo>
                  <a:pt x="2928" y="733"/>
                </a:lnTo>
                <a:lnTo>
                  <a:pt x="2879" y="768"/>
                </a:lnTo>
                <a:lnTo>
                  <a:pt x="2829" y="803"/>
                </a:lnTo>
                <a:lnTo>
                  <a:pt x="2781" y="836"/>
                </a:lnTo>
                <a:lnTo>
                  <a:pt x="2732" y="868"/>
                </a:lnTo>
                <a:lnTo>
                  <a:pt x="2684" y="901"/>
                </a:lnTo>
                <a:lnTo>
                  <a:pt x="2637" y="932"/>
                </a:lnTo>
                <a:lnTo>
                  <a:pt x="2590" y="963"/>
                </a:lnTo>
                <a:lnTo>
                  <a:pt x="2544" y="994"/>
                </a:lnTo>
                <a:lnTo>
                  <a:pt x="2499" y="1025"/>
                </a:lnTo>
                <a:lnTo>
                  <a:pt x="2455" y="1057"/>
                </a:lnTo>
                <a:lnTo>
                  <a:pt x="2410" y="1087"/>
                </a:lnTo>
                <a:lnTo>
                  <a:pt x="2367" y="1117"/>
                </a:lnTo>
                <a:lnTo>
                  <a:pt x="2324" y="1146"/>
                </a:lnTo>
                <a:lnTo>
                  <a:pt x="2281" y="1177"/>
                </a:lnTo>
                <a:lnTo>
                  <a:pt x="2240" y="1208"/>
                </a:lnTo>
                <a:lnTo>
                  <a:pt x="2199" y="1237"/>
                </a:lnTo>
                <a:lnTo>
                  <a:pt x="2175" y="1258"/>
                </a:lnTo>
                <a:lnTo>
                  <a:pt x="2153" y="1280"/>
                </a:lnTo>
                <a:lnTo>
                  <a:pt x="2132" y="1303"/>
                </a:lnTo>
                <a:lnTo>
                  <a:pt x="2111" y="1326"/>
                </a:lnTo>
                <a:lnTo>
                  <a:pt x="2092" y="1349"/>
                </a:lnTo>
                <a:lnTo>
                  <a:pt x="2072" y="1372"/>
                </a:lnTo>
                <a:lnTo>
                  <a:pt x="2055" y="1396"/>
                </a:lnTo>
                <a:lnTo>
                  <a:pt x="2036" y="1419"/>
                </a:lnTo>
                <a:lnTo>
                  <a:pt x="2017" y="1443"/>
                </a:lnTo>
                <a:lnTo>
                  <a:pt x="2001" y="1466"/>
                </a:lnTo>
                <a:lnTo>
                  <a:pt x="1982" y="1490"/>
                </a:lnTo>
                <a:lnTo>
                  <a:pt x="1964" y="1512"/>
                </a:lnTo>
                <a:lnTo>
                  <a:pt x="1945" y="1536"/>
                </a:lnTo>
                <a:lnTo>
                  <a:pt x="1927" y="1556"/>
                </a:lnTo>
                <a:lnTo>
                  <a:pt x="1907" y="1578"/>
                </a:lnTo>
                <a:lnTo>
                  <a:pt x="1888" y="1599"/>
                </a:lnTo>
                <a:lnTo>
                  <a:pt x="1865" y="1621"/>
                </a:lnTo>
                <a:lnTo>
                  <a:pt x="1841" y="1647"/>
                </a:lnTo>
                <a:lnTo>
                  <a:pt x="1817" y="1679"/>
                </a:lnTo>
                <a:lnTo>
                  <a:pt x="1792" y="1714"/>
                </a:lnTo>
                <a:lnTo>
                  <a:pt x="1768" y="1747"/>
                </a:lnTo>
                <a:lnTo>
                  <a:pt x="1744" y="1778"/>
                </a:lnTo>
                <a:lnTo>
                  <a:pt x="1722" y="1805"/>
                </a:lnTo>
                <a:lnTo>
                  <a:pt x="1703" y="1824"/>
                </a:lnTo>
                <a:lnTo>
                  <a:pt x="1675" y="1845"/>
                </a:lnTo>
                <a:lnTo>
                  <a:pt x="1657" y="1860"/>
                </a:lnTo>
                <a:lnTo>
                  <a:pt x="1643" y="1869"/>
                </a:lnTo>
                <a:lnTo>
                  <a:pt x="1634" y="1876"/>
                </a:lnTo>
                <a:lnTo>
                  <a:pt x="1624" y="1882"/>
                </a:lnTo>
                <a:lnTo>
                  <a:pt x="1613" y="1893"/>
                </a:lnTo>
                <a:lnTo>
                  <a:pt x="1598" y="1906"/>
                </a:lnTo>
                <a:lnTo>
                  <a:pt x="1577" y="1928"/>
                </a:lnTo>
                <a:lnTo>
                  <a:pt x="1555" y="1962"/>
                </a:lnTo>
                <a:lnTo>
                  <a:pt x="1537" y="1996"/>
                </a:lnTo>
                <a:lnTo>
                  <a:pt x="1519" y="2034"/>
                </a:lnTo>
                <a:lnTo>
                  <a:pt x="1504" y="2073"/>
                </a:lnTo>
                <a:lnTo>
                  <a:pt x="1487" y="2109"/>
                </a:lnTo>
                <a:lnTo>
                  <a:pt x="1471" y="2146"/>
                </a:lnTo>
                <a:lnTo>
                  <a:pt x="1457" y="2183"/>
                </a:lnTo>
                <a:lnTo>
                  <a:pt x="1440" y="2216"/>
                </a:lnTo>
                <a:lnTo>
                  <a:pt x="1425" y="2187"/>
                </a:lnTo>
                <a:lnTo>
                  <a:pt x="1406" y="2158"/>
                </a:lnTo>
                <a:lnTo>
                  <a:pt x="1388" y="2128"/>
                </a:lnTo>
                <a:lnTo>
                  <a:pt x="1367" y="2098"/>
                </a:lnTo>
                <a:lnTo>
                  <a:pt x="1345" y="2070"/>
                </a:lnTo>
                <a:lnTo>
                  <a:pt x="1323" y="2040"/>
                </a:lnTo>
                <a:lnTo>
                  <a:pt x="1301" y="2011"/>
                </a:lnTo>
                <a:lnTo>
                  <a:pt x="1278" y="1982"/>
                </a:lnTo>
                <a:lnTo>
                  <a:pt x="1255" y="1952"/>
                </a:lnTo>
                <a:lnTo>
                  <a:pt x="1234" y="1922"/>
                </a:lnTo>
                <a:lnTo>
                  <a:pt x="1214" y="1894"/>
                </a:lnTo>
                <a:lnTo>
                  <a:pt x="1196" y="1864"/>
                </a:lnTo>
                <a:lnTo>
                  <a:pt x="1178" y="1835"/>
                </a:lnTo>
                <a:lnTo>
                  <a:pt x="1163" y="1806"/>
                </a:lnTo>
                <a:lnTo>
                  <a:pt x="1150" y="1776"/>
                </a:lnTo>
                <a:lnTo>
                  <a:pt x="1141" y="1748"/>
                </a:lnTo>
                <a:lnTo>
                  <a:pt x="1125" y="1708"/>
                </a:lnTo>
                <a:lnTo>
                  <a:pt x="1109" y="1665"/>
                </a:lnTo>
                <a:lnTo>
                  <a:pt x="1090" y="1621"/>
                </a:lnTo>
                <a:lnTo>
                  <a:pt x="1072" y="1576"/>
                </a:lnTo>
                <a:lnTo>
                  <a:pt x="1053" y="1531"/>
                </a:lnTo>
                <a:lnTo>
                  <a:pt x="1036" y="1486"/>
                </a:lnTo>
                <a:lnTo>
                  <a:pt x="1019" y="1443"/>
                </a:lnTo>
                <a:lnTo>
                  <a:pt x="1006" y="1401"/>
                </a:lnTo>
                <a:lnTo>
                  <a:pt x="982" y="1410"/>
                </a:lnTo>
                <a:lnTo>
                  <a:pt x="961" y="1421"/>
                </a:lnTo>
                <a:lnTo>
                  <a:pt x="938" y="1429"/>
                </a:lnTo>
                <a:lnTo>
                  <a:pt x="917" y="1438"/>
                </a:lnTo>
                <a:lnTo>
                  <a:pt x="894" y="1447"/>
                </a:lnTo>
                <a:lnTo>
                  <a:pt x="873" y="1454"/>
                </a:lnTo>
                <a:lnTo>
                  <a:pt x="850" y="1462"/>
                </a:lnTo>
                <a:lnTo>
                  <a:pt x="828" y="1472"/>
                </a:lnTo>
                <a:lnTo>
                  <a:pt x="811" y="1480"/>
                </a:lnTo>
                <a:lnTo>
                  <a:pt x="793" y="1487"/>
                </a:lnTo>
                <a:lnTo>
                  <a:pt x="775" y="1496"/>
                </a:lnTo>
                <a:lnTo>
                  <a:pt x="758" y="1505"/>
                </a:lnTo>
                <a:lnTo>
                  <a:pt x="740" y="1512"/>
                </a:lnTo>
                <a:lnTo>
                  <a:pt x="724" y="1521"/>
                </a:lnTo>
                <a:lnTo>
                  <a:pt x="706" y="1528"/>
                </a:lnTo>
                <a:lnTo>
                  <a:pt x="689" y="1537"/>
                </a:lnTo>
                <a:lnTo>
                  <a:pt x="672" y="1545"/>
                </a:lnTo>
                <a:lnTo>
                  <a:pt x="654" y="1553"/>
                </a:lnTo>
                <a:lnTo>
                  <a:pt x="638" y="1561"/>
                </a:lnTo>
                <a:lnTo>
                  <a:pt x="621" y="1570"/>
                </a:lnTo>
                <a:lnTo>
                  <a:pt x="604" y="1576"/>
                </a:lnTo>
                <a:lnTo>
                  <a:pt x="588" y="1585"/>
                </a:lnTo>
                <a:lnTo>
                  <a:pt x="571" y="1593"/>
                </a:lnTo>
                <a:lnTo>
                  <a:pt x="555" y="1601"/>
                </a:lnTo>
                <a:lnTo>
                  <a:pt x="551" y="1601"/>
                </a:lnTo>
                <a:lnTo>
                  <a:pt x="543" y="1601"/>
                </a:lnTo>
                <a:lnTo>
                  <a:pt x="529" y="1603"/>
                </a:lnTo>
                <a:lnTo>
                  <a:pt x="512" y="1607"/>
                </a:lnTo>
                <a:lnTo>
                  <a:pt x="493" y="1611"/>
                </a:lnTo>
                <a:lnTo>
                  <a:pt x="470" y="1617"/>
                </a:lnTo>
                <a:lnTo>
                  <a:pt x="447" y="1625"/>
                </a:lnTo>
                <a:lnTo>
                  <a:pt x="422" y="1632"/>
                </a:lnTo>
                <a:lnTo>
                  <a:pt x="397" y="1638"/>
                </a:lnTo>
                <a:lnTo>
                  <a:pt x="374" y="1645"/>
                </a:lnTo>
                <a:lnTo>
                  <a:pt x="352" y="1653"/>
                </a:lnTo>
                <a:lnTo>
                  <a:pt x="334" y="1657"/>
                </a:lnTo>
                <a:lnTo>
                  <a:pt x="316" y="1661"/>
                </a:lnTo>
                <a:lnTo>
                  <a:pt x="305" y="1665"/>
                </a:lnTo>
                <a:lnTo>
                  <a:pt x="298" y="1665"/>
                </a:lnTo>
                <a:lnTo>
                  <a:pt x="295" y="1663"/>
                </a:lnTo>
                <a:lnTo>
                  <a:pt x="275" y="1674"/>
                </a:lnTo>
                <a:lnTo>
                  <a:pt x="257" y="1685"/>
                </a:lnTo>
                <a:lnTo>
                  <a:pt x="237" y="1696"/>
                </a:lnTo>
                <a:lnTo>
                  <a:pt x="220" y="1708"/>
                </a:lnTo>
                <a:lnTo>
                  <a:pt x="199" y="1718"/>
                </a:lnTo>
                <a:lnTo>
                  <a:pt x="181" y="1728"/>
                </a:lnTo>
                <a:lnTo>
                  <a:pt x="161" y="1739"/>
                </a:lnTo>
                <a:lnTo>
                  <a:pt x="143" y="1750"/>
                </a:lnTo>
                <a:lnTo>
                  <a:pt x="124" y="1761"/>
                </a:lnTo>
                <a:lnTo>
                  <a:pt x="106" y="1773"/>
                </a:lnTo>
                <a:lnTo>
                  <a:pt x="88" y="1783"/>
                </a:lnTo>
                <a:lnTo>
                  <a:pt x="70" y="1794"/>
                </a:lnTo>
                <a:lnTo>
                  <a:pt x="53" y="1805"/>
                </a:lnTo>
                <a:lnTo>
                  <a:pt x="35" y="1816"/>
                </a:lnTo>
                <a:lnTo>
                  <a:pt x="18" y="1827"/>
                </a:lnTo>
                <a:lnTo>
                  <a:pt x="0" y="1838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US" sz="1000" b="1">
              <a:solidFill>
                <a:srgbClr val="C00000"/>
              </a:solidFill>
              <a:highlight>
                <a:srgbClr val="FFFF00"/>
              </a:highlight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CE0166B3-514A-C5D5-A9E8-8F20D5E773CC}"/>
              </a:ext>
            </a:extLst>
          </p:cNvPr>
          <p:cNvSpPr/>
          <p:nvPr/>
        </p:nvSpPr>
        <p:spPr>
          <a:xfrm>
            <a:off x="7908026" y="3939999"/>
            <a:ext cx="1516154" cy="672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  <a:t>현금 및 보유용지 多 </a:t>
            </a:r>
            <a:b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</a:rPr>
            </a:br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 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유동성 </a:t>
            </a:r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Risk</a:t>
            </a:r>
            <a:r>
              <a:rPr lang="ko-KR" altLang="en-US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 낮은 편</a:t>
            </a:r>
            <a:r>
              <a:rPr lang="en-US" altLang="ko-KR" sz="1000" b="1">
                <a:solidFill>
                  <a:schemeClr val="tx1"/>
                </a:solidFill>
                <a:latin typeface="KoPub돋움체 Bold" panose="00000800000000000000" pitchFamily="2" charset="-127"/>
                <a:ea typeface="KoPub돋움체 Bold" panose="00000800000000000000" pitchFamily="2" charset="-127"/>
                <a:sym typeface="Wingdings" panose="05000000000000000000" pitchFamily="2" charset="2"/>
              </a:rPr>
              <a:t> </a:t>
            </a:r>
            <a:endParaRPr lang="ko-KR" altLang="en-US" sz="1000" b="1">
              <a:solidFill>
                <a:srgbClr val="1E49E2"/>
              </a:solidFill>
              <a:latin typeface="KoPub돋움체 Bold" panose="00000800000000000000" pitchFamily="2" charset="-127"/>
              <a:ea typeface="KoPub돋움체 Bold" panose="00000800000000000000" pitchFamily="2" charset="-127"/>
            </a:endParaRPr>
          </a:p>
        </p:txBody>
      </p:sp>
      <p:sp>
        <p:nvSpPr>
          <p:cNvPr id="10" name="왼쪽 대괄호 9">
            <a:extLst>
              <a:ext uri="{FF2B5EF4-FFF2-40B4-BE49-F238E27FC236}">
                <a16:creationId xmlns:a16="http://schemas.microsoft.com/office/drawing/2014/main" id="{0FEB3B1D-D487-1066-4B32-5D2815ABA67B}"/>
              </a:ext>
            </a:extLst>
          </p:cNvPr>
          <p:cNvSpPr/>
          <p:nvPr/>
        </p:nvSpPr>
        <p:spPr>
          <a:xfrm>
            <a:off x="7496377" y="1655999"/>
            <a:ext cx="102513" cy="3773251"/>
          </a:xfrm>
          <a:prstGeom prst="leftBracket">
            <a:avLst/>
          </a:prstGeom>
          <a:ln w="63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E96B835-8FBA-4D67-7C7A-6065415D54F2}"/>
              </a:ext>
            </a:extLst>
          </p:cNvPr>
          <p:cNvSpPr txBox="1"/>
          <p:nvPr/>
        </p:nvSpPr>
        <p:spPr>
          <a:xfrm>
            <a:off x="488948" y="6139094"/>
            <a:ext cx="4155840" cy="1231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534988" indent="-534988" defTabSz="762000" eaLnBrk="0" hangingPunct="0">
              <a:spcBef>
                <a:spcPts val="200"/>
              </a:spcBef>
              <a:tabLst>
                <a:tab pos="355600" algn="l"/>
              </a:tabLst>
              <a:defRPr sz="800" i="1">
                <a:solidFill>
                  <a:srgbClr val="0091DA"/>
                </a:solidFill>
                <a:latin typeface="KoPub돋움체 Light" panose="02020603020101020101" pitchFamily="18" charset="-127"/>
                <a:ea typeface="KoPub돋움체 Light" panose="02020603020101020101" pitchFamily="18" charset="-127"/>
                <a:cs typeface="Arial" pitchFamily="34" charset="0"/>
              </a:defRPr>
            </a:lvl1pPr>
          </a:lstStyle>
          <a:p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Source: </a:t>
            </a:r>
            <a:r>
              <a:rPr lang="ko-KR" altLang="en-US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언론보도종합</a:t>
            </a:r>
            <a:r>
              <a:rPr lang="en-US" altLang="ko-KR" i="0">
                <a:solidFill>
                  <a:srgbClr val="00338D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, DART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235A285F-FF45-C99D-8FD5-1667F741CA12}"/>
              </a:ext>
            </a:extLst>
          </p:cNvPr>
          <p:cNvSpPr/>
          <p:nvPr/>
        </p:nvSpPr>
        <p:spPr>
          <a:xfrm>
            <a:off x="7697487" y="69409"/>
            <a:ext cx="2143125" cy="2066260"/>
          </a:xfrm>
          <a:prstGeom prst="rect">
            <a:avLst/>
          </a:prstGeom>
          <a:solidFill>
            <a:srgbClr val="00C0A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부영주택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매출액 및 실적이 급격하게 감소한 점을 추가적으로 부각시키는 건 어떨까요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? </a:t>
            </a:r>
            <a:b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</a:b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이자보상배율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1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미만이라는 점과 보유용지가 많다는 점을 별도 꼭지로 다는 것 고려</a:t>
            </a:r>
            <a:endParaRPr lang="en-US" altLang="ko-KR" sz="10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228600" indent="-228600">
              <a:buAutoNum type="arabicPeriod"/>
            </a:pP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광영토건 </a:t>
            </a:r>
            <a:r>
              <a:rPr lang="en-US" altLang="ko-KR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– </a:t>
            </a:r>
            <a:r>
              <a:rPr lang="ko-KR" altLang="en-US" sz="1000" b="1">
                <a:solidFill>
                  <a:schemeClr val="bg1"/>
                </a:solidFill>
                <a:latin typeface="KoPub돋움체 Medium" panose="00000600000000000000" pitchFamily="2" charset="-127"/>
                <a:ea typeface="KoPub돋움체 Medium" panose="00000600000000000000" pitchFamily="2" charset="-127"/>
              </a:rPr>
              <a:t>제외 고려</a:t>
            </a:r>
            <a:endParaRPr lang="en-US" altLang="ko-KR" sz="1000" b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  <a:p>
            <a:pPr marL="228600" indent="-228600">
              <a:buAutoNum type="arabicPeriod"/>
            </a:pPr>
            <a:endParaRPr lang="ko-KR" altLang="en-US" sz="1000" b="1" err="1">
              <a:solidFill>
                <a:schemeClr val="bg1"/>
              </a:solidFill>
              <a:latin typeface="KoPub돋움체 Medium" panose="00000600000000000000" pitchFamily="2" charset="-127"/>
              <a:ea typeface="KoPub돋움체 Medium" panose="00000600000000000000" pitchFamily="2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80485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USED" val="KPMGFONT"/>
  <p:tag name="CREATEDBY" val="Global PowerPoint Toolbar"/>
  <p:tag name="TOOLBARVERSION" val="6.0"/>
  <p:tag name="TYPE" val="Report"/>
  <p:tag name="KEYWORD" val="REPORT"/>
  <p:tag name="TEMPLATEVERSION" val="11/11/2022 10:07:2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DRAFT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,93157"/>
  <p:tag name="ADV_LEFT" val="207,154"/>
  <p:tag name="ADV_HEIGHT" val="62,85496"/>
  <p:tag name="ADV_WIDTH" val="34,0468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 Report (A4) Feb 2022">
  <a:themeElements>
    <a:clrScheme name="Custom 41">
      <a:dk1>
        <a:srgbClr val="000000"/>
      </a:dk1>
      <a:lt1>
        <a:sysClr val="window" lastClr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KPMG New Brand 2022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Cobalt Blue">
      <a:srgbClr val="1E49E2"/>
    </a:custClr>
    <a:custClr name="Dark Blue">
      <a:srgbClr val="0C233C"/>
    </a:custClr>
    <a:custClr name="Light Blue">
      <a:srgbClr val="ACEAFF"/>
    </a:custClr>
    <a:custClr name="Pacific Blue">
      <a:srgbClr val="00B8F5"/>
    </a:custClr>
    <a:custClr name="Purple">
      <a:srgbClr val="7213EA"/>
    </a:custClr>
    <a:custClr name="Pink">
      <a:srgbClr val="FD349C"/>
    </a:custClr>
    <a:custClr name="Dark Grey">
      <a:srgbClr val="666666"/>
    </a:custClr>
    <a:custClr name="Grey">
      <a:srgbClr val="E5E5E5"/>
    </a:custClr>
    <a:custClr name="Blue">
      <a:srgbClr val="76D2FF"/>
    </a:custClr>
    <a:custClr name="Dark Purple">
      <a:srgbClr val="510DBC"/>
    </a:custClr>
    <a:custClr name="Light Purple">
      <a:srgbClr val="B497FF"/>
    </a:custClr>
    <a:custClr name="Dark Pink">
      <a:srgbClr val="AB0D82"/>
    </a:custClr>
    <a:custClr name="Light Pink">
      <a:srgbClr val="FFA3DA"/>
    </a:custClr>
    <a:custClr name="Dark Green">
      <a:srgbClr val="00C0AE"/>
    </a:custClr>
    <a:custClr name="Green">
      <a:srgbClr val="00C0AE"/>
    </a:custClr>
    <a:custClr name="Light Green">
      <a:srgbClr val="63EBDA"/>
    </a:custClr>
  </a:custClrLst>
  <a:extLst>
    <a:ext uri="{05A4C25C-085E-4340-85A3-A5531E510DB2}">
      <thm15:themeFamily xmlns:thm15="http://schemas.microsoft.com/office/thememl/2012/main" name="Report.pptx" id="{0E77A574-1F51-4CCA-968F-E87E8747D7A0}" vid="{C59D59E5-6D21-4BC1-A9C9-A748F05E33D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77386C0D47124CABEC8D663EB2631F" ma:contentTypeVersion="12" ma:contentTypeDescription="Create a new document." ma:contentTypeScope="" ma:versionID="0086f267d7986ce55e4057d01aa760d1">
  <xsd:schema xmlns:xsd="http://www.w3.org/2001/XMLSchema" xmlns:xs="http://www.w3.org/2001/XMLSchema" xmlns:p="http://schemas.microsoft.com/office/2006/metadata/properties" xmlns:ns2="da1207d4-a4a2-4134-936f-07aa70b91ff6" xmlns:ns3="d84d88f0-d431-497b-82de-83cf50d55861" targetNamespace="http://schemas.microsoft.com/office/2006/metadata/properties" ma:root="true" ma:fieldsID="4b7b6da0d01dfa50c7277510f7fa9523" ns2:_="" ns3:_="">
    <xsd:import namespace="da1207d4-a4a2-4134-936f-07aa70b91ff6"/>
    <xsd:import namespace="d84d88f0-d431-497b-82de-83cf50d558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1207d4-a4a2-4134-936f-07aa70b91f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4d88f0-d431-497b-82de-83cf50d5586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5a152f59-2c8c-49fa-8521-65f422397a95}" ma:internalName="TaxCatchAll" ma:showField="CatchAllData" ma:web="d84d88f0-d431-497b-82de-83cf50d558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84d88f0-d431-497b-82de-83cf50d55861" xsi:nil="true"/>
    <lcf76f155ced4ddcb4097134ff3c332f xmlns="da1207d4-a4a2-4134-936f-07aa70b91ff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7E15271-1032-4A28-82F8-21544C73DDA9}">
  <ds:schemaRefs>
    <ds:schemaRef ds:uri="d84d88f0-d431-497b-82de-83cf50d55861"/>
    <ds:schemaRef ds:uri="da1207d4-a4a2-4134-936f-07aa70b91ff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C01C251-0C30-44F7-B399-618C9CAEBF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6EB8F3-1467-4DA9-BFC1-8AFB44AB9004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da1207d4-a4a2-4134-936f-07aa70b91ff6"/>
    <ds:schemaRef ds:uri="http://schemas.openxmlformats.org/package/2006/metadata/core-properties"/>
    <ds:schemaRef ds:uri="http://purl.org/dc/dcmitype/"/>
    <ds:schemaRef ds:uri="http://purl.org/dc/terms/"/>
    <ds:schemaRef ds:uri="d84d88f0-d431-497b-82de-83cf50d55861"/>
    <ds:schemaRef ds:uri="http://schemas.microsoft.com/office/2006/metadata/properties"/>
  </ds:schemaRefs>
</ds:datastoreItem>
</file>

<file path=docMetadata/LabelInfo.xml><?xml version="1.0" encoding="utf-8"?>
<clbl:labelList xmlns:clbl="http://schemas.microsoft.com/office/2020/mipLabelMetadata"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PMG Report Standard Template</Template>
  <TotalTime>1709</TotalTime>
  <Words>20525</Words>
  <Application>Microsoft Office PowerPoint</Application>
  <PresentationFormat>A4 용지(210x297mm)</PresentationFormat>
  <Paragraphs>5576</Paragraphs>
  <Slides>109</Slides>
  <Notes>68</Notes>
  <HiddenSlides>15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9</vt:i4>
      </vt:variant>
    </vt:vector>
  </HeadingPairs>
  <TitlesOfParts>
    <vt:vector size="119" baseType="lpstr">
      <vt:lpstr>KoPub돋움체 Bold</vt:lpstr>
      <vt:lpstr>KoPub돋움체 Light</vt:lpstr>
      <vt:lpstr>KoPub돋움체 Medium</vt:lpstr>
      <vt:lpstr>맑은 고딕</vt:lpstr>
      <vt:lpstr>Arial</vt:lpstr>
      <vt:lpstr>Calibri</vt:lpstr>
      <vt:lpstr>KPMG Bold</vt:lpstr>
      <vt:lpstr>Wingdings</vt:lpstr>
      <vt:lpstr>KPMG Report (A4) Feb 2022</vt:lpstr>
      <vt:lpstr>think-cell Slide</vt:lpstr>
      <vt:lpstr>대규모기업집단 자금조달 Needs</vt:lpstr>
      <vt:lpstr>Executive Summary</vt:lpstr>
      <vt:lpstr>자금조달 필요성 – 주요 그룹사 현황</vt:lpstr>
      <vt:lpstr>자금조달 필요성 – 주요 그룹사 현황</vt:lpstr>
      <vt:lpstr>자금조달 필요성 – 주요 그룹사 현황</vt:lpstr>
      <vt:lpstr>자금조달 필요성 – 주요 그룹사 현황</vt:lpstr>
      <vt:lpstr>자금조달 필요성 – 주요 그룹사 현황</vt:lpstr>
      <vt:lpstr>자금조달 필요성 – 주요 그룹사 현황</vt:lpstr>
      <vt:lpstr>자금조달 필요성 – 네이버그룹</vt:lpstr>
      <vt:lpstr>기업집단 상세현황</vt:lpstr>
      <vt:lpstr>롯데그룹</vt:lpstr>
      <vt:lpstr>롯데그룹 Needs 요약</vt:lpstr>
      <vt:lpstr>롯데그룹 개요</vt:lpstr>
      <vt:lpstr>롯데그룹 지분구조</vt:lpstr>
      <vt:lpstr>롯데그룹 주요 계열사 (롯데케미칼)</vt:lpstr>
      <vt:lpstr>롯데그룹 주요 계열사 (롯데에너지머터리얼즈)</vt:lpstr>
      <vt:lpstr>롯데그룹 주요 계열사 (롯데건설)</vt:lpstr>
      <vt:lpstr>롯데그룹 주요 계열사 (롯데쇼핑)</vt:lpstr>
      <vt:lpstr>애경그룹</vt:lpstr>
      <vt:lpstr>애경그룹 Needs 요약</vt:lpstr>
      <vt:lpstr>애경그룹 개요</vt:lpstr>
      <vt:lpstr>애경그룹 지분구조</vt:lpstr>
      <vt:lpstr>애경그룹 주요 계열사 (애경산업)</vt:lpstr>
      <vt:lpstr>애경그룹 주요 계열사 (애경케미칼)</vt:lpstr>
      <vt:lpstr>애경그룹 주요 계열사 (제주항공)</vt:lpstr>
      <vt:lpstr>애경그룹 주요 계열사 (에이케이에스앤디)</vt:lpstr>
      <vt:lpstr>부영그룹</vt:lpstr>
      <vt:lpstr>부영그룹 Needs 요약</vt:lpstr>
      <vt:lpstr>부영그룹 개요</vt:lpstr>
      <vt:lpstr>부영그룹 지분구조</vt:lpstr>
      <vt:lpstr>부영그룹 주요 계열사 (부영주택)</vt:lpstr>
      <vt:lpstr>부영그룹 주요 계열사 (대화도시가스, 광영토건)</vt:lpstr>
      <vt:lpstr>넷마블그룹</vt:lpstr>
      <vt:lpstr>넷마블그룹 Needs 요약</vt:lpstr>
      <vt:lpstr>넷마블그룹 개요</vt:lpstr>
      <vt:lpstr>넷마블그룹 지분구조</vt:lpstr>
      <vt:lpstr>넷마블그룹 주요 계열사 (넷마블)</vt:lpstr>
      <vt:lpstr>넷마블그룹 주요 계열사 (코웨이)</vt:lpstr>
      <vt:lpstr>엠디엠그룹</vt:lpstr>
      <vt:lpstr>엠디엠그룹 Needs 요약</vt:lpstr>
      <vt:lpstr>엠디엠그룹 개요</vt:lpstr>
      <vt:lpstr>엠디엠그룹 지분구조</vt:lpstr>
      <vt:lpstr>엠디엠그룹 주요 계열사 (엠디엠플러스)</vt:lpstr>
      <vt:lpstr>엠디엠그룹 주요 계열사 (한국자산신탁)</vt:lpstr>
      <vt:lpstr>엠디엠그룹 주요 계열사 (한국자산캐피탈)</vt:lpstr>
      <vt:lpstr>HDC그룹</vt:lpstr>
      <vt:lpstr>HDC그룹 Needs 요약</vt:lpstr>
      <vt:lpstr>HDC그룹 개요</vt:lpstr>
      <vt:lpstr>HDC그룹 지분구조</vt:lpstr>
      <vt:lpstr>HDC 주요 계열사 (HDC현대산업개발)</vt:lpstr>
      <vt:lpstr>HDC 주요 계열사 (HDC현대EP, HDC랩스)</vt:lpstr>
      <vt:lpstr>HDC 주요 계열사 (신라면세점)</vt:lpstr>
      <vt:lpstr>신영그룹</vt:lpstr>
      <vt:lpstr>신영그룹 Needs 요약</vt:lpstr>
      <vt:lpstr>신영그룹 개요</vt:lpstr>
      <vt:lpstr>신영그룹 지분구조</vt:lpstr>
      <vt:lpstr>신영그룹 주요 계열사 (신영)</vt:lpstr>
      <vt:lpstr>신영그룹 주요 계열사 (신영씨앤디)</vt:lpstr>
      <vt:lpstr>신영그룹 주요 계열사 (신영PFV제1호, 청주테크노폴리스)</vt:lpstr>
      <vt:lpstr>신영그룹 주요 계열사 (여의도엠비씨부지복합개발PFV, 대농)</vt:lpstr>
      <vt:lpstr>유진그룹</vt:lpstr>
      <vt:lpstr>유진그룹 Needs 요약</vt:lpstr>
      <vt:lpstr>유진그룹 개요</vt:lpstr>
      <vt:lpstr>유진그룹 지분구조</vt:lpstr>
      <vt:lpstr>유진그룹 주요 계열사 (유진투자증권)</vt:lpstr>
      <vt:lpstr>유진그룹 주요 계열사 (유진기업, 동양)</vt:lpstr>
      <vt:lpstr>아이에스지주그룹</vt:lpstr>
      <vt:lpstr>아이에스지주그룹 Needs 요약</vt:lpstr>
      <vt:lpstr>아이에스지주그룹 개요</vt:lpstr>
      <vt:lpstr>아이에스지주그룹 지분구조</vt:lpstr>
      <vt:lpstr>HL그룹</vt:lpstr>
      <vt:lpstr>HL그룹 Needs 요약</vt:lpstr>
      <vt:lpstr>HL그룹 개요</vt:lpstr>
      <vt:lpstr>HL그룹 지분구조</vt:lpstr>
      <vt:lpstr>HL그룹 주요 계열사 (에이치엘만도)</vt:lpstr>
      <vt:lpstr>HL그룹 주요 계열사 (에이치엘디앤아이한라)</vt:lpstr>
      <vt:lpstr>HL그룹 주요 계열사 (에이치엘클레무브)</vt:lpstr>
      <vt:lpstr>태영그룹</vt:lpstr>
      <vt:lpstr>태영그룹 Needs 요약</vt:lpstr>
      <vt:lpstr>태영그룹 개요</vt:lpstr>
      <vt:lpstr>태영그룹 지분구조</vt:lpstr>
      <vt:lpstr>태영그룹 주요 계열사 (태영건설)</vt:lpstr>
      <vt:lpstr>태영그룹 주요 계열사 (SBS)</vt:lpstr>
      <vt:lpstr>[별첨] 태영 SBS 지분 매물화 가능성</vt:lpstr>
      <vt:lpstr>스타트업 소수지분 보유 집단  (1) 네이버 </vt:lpstr>
      <vt:lpstr>자금조달 필요성 – 네이버그룹</vt:lpstr>
      <vt:lpstr>네이버그룹 개요</vt:lpstr>
      <vt:lpstr>네이버그룹 지분구조</vt:lpstr>
      <vt:lpstr>네이버그룹 매각 추진 주요 스타트업 보유지분</vt:lpstr>
      <vt:lpstr>카카오그룹 개요</vt:lpstr>
      <vt:lpstr>카카오그룹 지분구조</vt:lpstr>
      <vt:lpstr>자금조달 필요성 – 카카오그룹</vt:lpstr>
      <vt:lpstr>카카오그룹 매각 추진 주요 스타트업 보유지분</vt:lpstr>
      <vt:lpstr>대규모 기업집단 목록</vt:lpstr>
      <vt:lpstr>대규모 기업집단 List (1/4)</vt:lpstr>
      <vt:lpstr>대규모 기업집단 List (2/4)</vt:lpstr>
      <vt:lpstr>대규모 기업집단 List (3/4)</vt:lpstr>
      <vt:lpstr>대규모 기업집단 List (4/4)</vt:lpstr>
      <vt:lpstr>부영그룹 Needs 요약</vt:lpstr>
      <vt:lpstr>선제적 구조조정 – 주요 그룹사 현황</vt:lpstr>
      <vt:lpstr>롯데그룹 지분구조</vt:lpstr>
      <vt:lpstr>석유화학 업황 (1/2) - 중국發 공급과잉 + 중국 수요부진</vt:lpstr>
      <vt:lpstr>에이치디씨 지분구조</vt:lpstr>
      <vt:lpstr>엠디엠그룹 주요 계열사 (엠디엠)</vt:lpstr>
      <vt:lpstr>부영그룹 지분구조</vt:lpstr>
      <vt:lpstr>넷마블 지분구조</vt:lpstr>
      <vt:lpstr>애경 지분구조</vt:lpstr>
      <vt:lpstr>신영 지분구조</vt:lpstr>
      <vt:lpstr>유진 지분구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 DRAFT</dc:title>
  <dc:creator>Lindholm, Jani</dc:creator>
  <cp:lastModifiedBy>Ko, Seung-Suk (KR/Deal Adv1)</cp:lastModifiedBy>
  <cp:revision>7</cp:revision>
  <cp:lastPrinted>2023-07-07T01:33:58Z</cp:lastPrinted>
  <dcterms:created xsi:type="dcterms:W3CDTF">2023-02-27T07:35:58Z</dcterms:created>
  <dcterms:modified xsi:type="dcterms:W3CDTF">2023-10-24T07:44:38Z</dcterms:modified>
  <cp:category>KPMG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77386C0D47124CABEC8D663EB2631F</vt:lpwstr>
  </property>
  <property fmtid="{D5CDD505-2E9C-101B-9397-08002B2CF9AE}" pid="3" name="KPMG_LayoutGrid">
    <vt:lpwstr>0</vt:lpwstr>
  </property>
  <property fmtid="{D5CDD505-2E9C-101B-9397-08002B2CF9AE}" pid="4" name="MediaServiceImageTags">
    <vt:lpwstr/>
  </property>
</Properties>
</file>